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6.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xml" ContentType="application/vnd.openxmlformats-officedocument.themeOverr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Lst>
  <p:notesMasterIdLst>
    <p:notesMasterId r:id="rId53"/>
  </p:notesMasterIdLst>
  <p:handoutMasterIdLst>
    <p:handoutMasterId r:id="rId54"/>
  </p:handoutMasterIdLst>
  <p:sldIdLst>
    <p:sldId id="256" r:id="rId2"/>
    <p:sldId id="464" r:id="rId3"/>
    <p:sldId id="812" r:id="rId4"/>
    <p:sldId id="849" r:id="rId5"/>
    <p:sldId id="872" r:id="rId6"/>
    <p:sldId id="877" r:id="rId7"/>
    <p:sldId id="878" r:id="rId8"/>
    <p:sldId id="850" r:id="rId9"/>
    <p:sldId id="848" r:id="rId10"/>
    <p:sldId id="897" r:id="rId11"/>
    <p:sldId id="853" r:id="rId12"/>
    <p:sldId id="879" r:id="rId13"/>
    <p:sldId id="880" r:id="rId14"/>
    <p:sldId id="881" r:id="rId15"/>
    <p:sldId id="882" r:id="rId16"/>
    <p:sldId id="883" r:id="rId17"/>
    <p:sldId id="884" r:id="rId18"/>
    <p:sldId id="898" r:id="rId19"/>
    <p:sldId id="899" r:id="rId20"/>
    <p:sldId id="900" r:id="rId21"/>
    <p:sldId id="901" r:id="rId22"/>
    <p:sldId id="841" r:id="rId23"/>
    <p:sldId id="885" r:id="rId24"/>
    <p:sldId id="886" r:id="rId25"/>
    <p:sldId id="887" r:id="rId26"/>
    <p:sldId id="888" r:id="rId27"/>
    <p:sldId id="889" r:id="rId28"/>
    <p:sldId id="890" r:id="rId29"/>
    <p:sldId id="891" r:id="rId30"/>
    <p:sldId id="892" r:id="rId31"/>
    <p:sldId id="893" r:id="rId32"/>
    <p:sldId id="894" r:id="rId33"/>
    <p:sldId id="851" r:id="rId34"/>
    <p:sldId id="896" r:id="rId35"/>
    <p:sldId id="852" r:id="rId36"/>
    <p:sldId id="840" r:id="rId37"/>
    <p:sldId id="819" r:id="rId38"/>
    <p:sldId id="804" r:id="rId39"/>
    <p:sldId id="805" r:id="rId40"/>
    <p:sldId id="462" r:id="rId41"/>
    <p:sldId id="902" r:id="rId42"/>
    <p:sldId id="903" r:id="rId43"/>
    <p:sldId id="904" r:id="rId44"/>
    <p:sldId id="895" r:id="rId45"/>
    <p:sldId id="909" r:id="rId46"/>
    <p:sldId id="857" r:id="rId47"/>
    <p:sldId id="871" r:id="rId48"/>
    <p:sldId id="905" r:id="rId49"/>
    <p:sldId id="906" r:id="rId50"/>
    <p:sldId id="907" r:id="rId51"/>
    <p:sldId id="908" r:id="rId52"/>
  </p:sldIdLst>
  <p:sldSz cx="12192000" cy="6858000"/>
  <p:notesSz cx="6858000" cy="9144000"/>
  <p:custDataLst>
    <p:tags r:id="rId5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2" pos="384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A4B"/>
    <a:srgbClr val="FFFFFF"/>
    <a:srgbClr val="E0E0E0"/>
    <a:srgbClr val="F2F2F2"/>
    <a:srgbClr val="FEA15E"/>
    <a:srgbClr val="EED3BF"/>
    <a:srgbClr val="2B2D38"/>
    <a:srgbClr val="1E467D"/>
    <a:srgbClr val="7F7F7F"/>
    <a:srgbClr val="3E8A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1BE59E-B8F2-40A9-A893-292783D0DBA7}" v="4" dt="2021-07-27T20:09:31.423"/>
    <p1510:client id="{DD85E389-4DC1-4302-BB19-9C64E6D761A6}" v="599" dt="2021-07-28T08:38:47.790"/>
    <p1510:client id="{E6A689C8-EF41-D041-AC41-CB4ABB701675}" v="279" dt="2021-07-28T08:40:50.15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342" y="120"/>
      </p:cViewPr>
      <p:guideLst>
        <p:guide orient="horz" pos="867"/>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o Schmid" userId="6c91b3366b297831" providerId="LiveId" clId="{E6A689C8-EF41-D041-AC41-CB4ABB701675}"/>
    <pc:docChg chg="undo custSel modSld">
      <pc:chgData name="Carlo Schmid" userId="6c91b3366b297831" providerId="LiveId" clId="{E6A689C8-EF41-D041-AC41-CB4ABB701675}" dt="2021-07-28T08:40:50.155" v="278"/>
      <pc:docMkLst>
        <pc:docMk/>
      </pc:docMkLst>
      <pc:sldChg chg="modSp mod">
        <pc:chgData name="Carlo Schmid" userId="6c91b3366b297831" providerId="LiveId" clId="{E6A689C8-EF41-D041-AC41-CB4ABB701675}" dt="2021-07-27T19:29:31.640" v="275" actId="14100"/>
        <pc:sldMkLst>
          <pc:docMk/>
          <pc:sldMk cId="3295041596" sldId="833"/>
        </pc:sldMkLst>
        <pc:spChg chg="mod">
          <ac:chgData name="Carlo Schmid" userId="6c91b3366b297831" providerId="LiveId" clId="{E6A689C8-EF41-D041-AC41-CB4ABB701675}" dt="2021-07-27T19:29:31.640" v="275" actId="14100"/>
          <ac:spMkLst>
            <pc:docMk/>
            <pc:sldMk cId="3295041596" sldId="833"/>
            <ac:spMk id="13" creationId="{D43067D7-B40D-448A-ADCE-BE5B179DE00D}"/>
          </ac:spMkLst>
        </pc:spChg>
        <pc:spChg chg="mod">
          <ac:chgData name="Carlo Schmid" userId="6c91b3366b297831" providerId="LiveId" clId="{E6A689C8-EF41-D041-AC41-CB4ABB701675}" dt="2021-07-27T19:29:27.064" v="274" actId="14100"/>
          <ac:spMkLst>
            <pc:docMk/>
            <pc:sldMk cId="3295041596" sldId="833"/>
            <ac:spMk id="17" creationId="{E2E53833-0BA3-4434-A19C-F0700CEB89C1}"/>
          </ac:spMkLst>
        </pc:spChg>
        <pc:spChg chg="mod">
          <ac:chgData name="Carlo Schmid" userId="6c91b3366b297831" providerId="LiveId" clId="{E6A689C8-EF41-D041-AC41-CB4ABB701675}" dt="2021-07-27T19:29:23.083" v="273" actId="14100"/>
          <ac:spMkLst>
            <pc:docMk/>
            <pc:sldMk cId="3295041596" sldId="833"/>
            <ac:spMk id="21" creationId="{EF04D7AC-B6A0-45BB-A150-74DFFE67983B}"/>
          </ac:spMkLst>
        </pc:spChg>
        <pc:spChg chg="mod">
          <ac:chgData name="Carlo Schmid" userId="6c91b3366b297831" providerId="LiveId" clId="{E6A689C8-EF41-D041-AC41-CB4ABB701675}" dt="2021-07-27T19:29:18.822" v="272" actId="14100"/>
          <ac:spMkLst>
            <pc:docMk/>
            <pc:sldMk cId="3295041596" sldId="833"/>
            <ac:spMk id="41" creationId="{2634672E-8DAB-4EFD-8B6A-F376CB264944}"/>
          </ac:spMkLst>
        </pc:spChg>
      </pc:sldChg>
      <pc:sldChg chg="modNotesTx">
        <pc:chgData name="Carlo Schmid" userId="6c91b3366b297831" providerId="LiveId" clId="{E6A689C8-EF41-D041-AC41-CB4ABB701675}" dt="2021-07-27T19:14:19.119" v="221" actId="5793"/>
        <pc:sldMkLst>
          <pc:docMk/>
          <pc:sldMk cId="3589578453" sldId="848"/>
        </pc:sldMkLst>
      </pc:sldChg>
      <pc:sldChg chg="modTransition">
        <pc:chgData name="Carlo Schmid" userId="6c91b3366b297831" providerId="LiveId" clId="{E6A689C8-EF41-D041-AC41-CB4ABB701675}" dt="2021-07-28T08:40:50.155" v="278"/>
        <pc:sldMkLst>
          <pc:docMk/>
          <pc:sldMk cId="1681842009" sldId="849"/>
        </pc:sldMkLst>
      </pc:sldChg>
      <pc:sldChg chg="delSp modSp mod modNotesTx">
        <pc:chgData name="Carlo Schmid" userId="6c91b3366b297831" providerId="LiveId" clId="{E6A689C8-EF41-D041-AC41-CB4ABB701675}" dt="2021-07-27T19:04:33.580" v="8" actId="478"/>
        <pc:sldMkLst>
          <pc:docMk/>
          <pc:sldMk cId="2294414068" sldId="850"/>
        </pc:sldMkLst>
        <pc:spChg chg="del">
          <ac:chgData name="Carlo Schmid" userId="6c91b3366b297831" providerId="LiveId" clId="{E6A689C8-EF41-D041-AC41-CB4ABB701675}" dt="2021-07-27T19:04:33.580" v="8" actId="478"/>
          <ac:spMkLst>
            <pc:docMk/>
            <pc:sldMk cId="2294414068" sldId="850"/>
            <ac:spMk id="5" creationId="{341F8D5A-E1B2-43B4-9E46-38D44F50DD5C}"/>
          </ac:spMkLst>
        </pc:spChg>
        <pc:spChg chg="mod">
          <ac:chgData name="Carlo Schmid" userId="6c91b3366b297831" providerId="LiveId" clId="{E6A689C8-EF41-D041-AC41-CB4ABB701675}" dt="2021-07-27T19:04:21.408" v="7" actId="14100"/>
          <ac:spMkLst>
            <pc:docMk/>
            <pc:sldMk cId="2294414068" sldId="850"/>
            <ac:spMk id="16" creationId="{0BE7118D-5179-4119-B84B-9C9042EF7353}"/>
          </ac:spMkLst>
        </pc:spChg>
      </pc:sldChg>
      <pc:sldChg chg="modSp mod">
        <pc:chgData name="Carlo Schmid" userId="6c91b3366b297831" providerId="LiveId" clId="{E6A689C8-EF41-D041-AC41-CB4ABB701675}" dt="2021-07-28T07:20:38.562" v="277" actId="1076"/>
        <pc:sldMkLst>
          <pc:docMk/>
          <pc:sldMk cId="3872513413" sldId="853"/>
        </pc:sldMkLst>
        <pc:spChg chg="mod">
          <ac:chgData name="Carlo Schmid" userId="6c91b3366b297831" providerId="LiveId" clId="{E6A689C8-EF41-D041-AC41-CB4ABB701675}" dt="2021-07-28T07:20:38.562" v="277" actId="1076"/>
          <ac:spMkLst>
            <pc:docMk/>
            <pc:sldMk cId="3872513413" sldId="853"/>
            <ac:spMk id="41" creationId="{BC7DB575-D972-4AA8-8703-FD1BB4D0AD36}"/>
          </ac:spMkLst>
        </pc:spChg>
        <pc:spChg chg="mod">
          <ac:chgData name="Carlo Schmid" userId="6c91b3366b297831" providerId="LiveId" clId="{E6A689C8-EF41-D041-AC41-CB4ABB701675}" dt="2021-07-28T07:20:38.562" v="277" actId="1076"/>
          <ac:spMkLst>
            <pc:docMk/>
            <pc:sldMk cId="3872513413" sldId="853"/>
            <ac:spMk id="85" creationId="{7A1FA9EF-D7EC-4D20-89BF-CFF2D543F190}"/>
          </ac:spMkLst>
        </pc:spChg>
        <pc:grpChg chg="mod">
          <ac:chgData name="Carlo Schmid" userId="6c91b3366b297831" providerId="LiveId" clId="{E6A689C8-EF41-D041-AC41-CB4ABB701675}" dt="2021-07-28T07:20:38.562" v="277" actId="1076"/>
          <ac:grpSpMkLst>
            <pc:docMk/>
            <pc:sldMk cId="3872513413" sldId="853"/>
            <ac:grpSpMk id="2" creationId="{DBC13BED-C13F-4C40-A77A-921BA7D51457}"/>
          </ac:grpSpMkLst>
        </pc:grpChg>
        <pc:graphicFrameChg chg="mod">
          <ac:chgData name="Carlo Schmid" userId="6c91b3366b297831" providerId="LiveId" clId="{E6A689C8-EF41-D041-AC41-CB4ABB701675}" dt="2021-07-28T07:20:38.562" v="277" actId="1076"/>
          <ac:graphicFrameMkLst>
            <pc:docMk/>
            <pc:sldMk cId="3872513413" sldId="853"/>
            <ac:graphicFrameMk id="72" creationId="{6FA6E251-9029-4AC3-9D85-BEC1DDEB7555}"/>
          </ac:graphicFrameMkLst>
        </pc:graphicFrameChg>
      </pc:sldChg>
    </pc:docChg>
  </pc:docChgLst>
  <pc:docChgLst>
    <pc:chgData name="Klara Hinze" userId="216d571a76224879" providerId="LiveId" clId="{DD85E389-4DC1-4302-BB19-9C64E6D761A6}"/>
    <pc:docChg chg="undo redo custSel addSld delSld modSld sldOrd">
      <pc:chgData name="Klara Hinze" userId="216d571a76224879" providerId="LiveId" clId="{DD85E389-4DC1-4302-BB19-9C64E6D761A6}" dt="2021-07-28T08:38:47.790" v="986" actId="20577"/>
      <pc:docMkLst>
        <pc:docMk/>
      </pc:docMkLst>
      <pc:sldChg chg="del">
        <pc:chgData name="Klara Hinze" userId="216d571a76224879" providerId="LiveId" clId="{DD85E389-4DC1-4302-BB19-9C64E6D761A6}" dt="2021-07-28T06:54:56.082" v="651" actId="47"/>
        <pc:sldMkLst>
          <pc:docMk/>
          <pc:sldMk cId="1727321592" sldId="270"/>
        </pc:sldMkLst>
      </pc:sldChg>
      <pc:sldChg chg="del">
        <pc:chgData name="Klara Hinze" userId="216d571a76224879" providerId="LiveId" clId="{DD85E389-4DC1-4302-BB19-9C64E6D761A6}" dt="2021-07-28T06:54:55.369" v="650" actId="47"/>
        <pc:sldMkLst>
          <pc:docMk/>
          <pc:sldMk cId="1451756850" sldId="274"/>
        </pc:sldMkLst>
      </pc:sldChg>
      <pc:sldChg chg="addSp modSp mod">
        <pc:chgData name="Klara Hinze" userId="216d571a76224879" providerId="LiveId" clId="{DD85E389-4DC1-4302-BB19-9C64E6D761A6}" dt="2021-07-28T06:51:47.743" v="623" actId="1076"/>
        <pc:sldMkLst>
          <pc:docMk/>
          <pc:sldMk cId="212740841" sldId="464"/>
        </pc:sldMkLst>
        <pc:spChg chg="add mod">
          <ac:chgData name="Klara Hinze" userId="216d571a76224879" providerId="LiveId" clId="{DD85E389-4DC1-4302-BB19-9C64E6D761A6}" dt="2021-07-28T06:51:33.090" v="618" actId="1076"/>
          <ac:spMkLst>
            <pc:docMk/>
            <pc:sldMk cId="212740841" sldId="464"/>
            <ac:spMk id="19" creationId="{26C0BF15-CF25-47CE-BC38-640D02EFE8A4}"/>
          </ac:spMkLst>
        </pc:spChg>
        <pc:picChg chg="mod">
          <ac:chgData name="Klara Hinze" userId="216d571a76224879" providerId="LiveId" clId="{DD85E389-4DC1-4302-BB19-9C64E6D761A6}" dt="2021-07-28T06:51:29.629" v="617" actId="1076"/>
          <ac:picMkLst>
            <pc:docMk/>
            <pc:sldMk cId="212740841" sldId="464"/>
            <ac:picMk id="10" creationId="{1E65145D-48E3-264D-B223-F488EC8208FC}"/>
          </ac:picMkLst>
        </pc:picChg>
        <pc:picChg chg="mod">
          <ac:chgData name="Klara Hinze" userId="216d571a76224879" providerId="LiveId" clId="{DD85E389-4DC1-4302-BB19-9C64E6D761A6}" dt="2021-07-28T06:51:40.910" v="621" actId="1076"/>
          <ac:picMkLst>
            <pc:docMk/>
            <pc:sldMk cId="212740841" sldId="464"/>
            <ac:picMk id="11" creationId="{4E101B2B-5FD6-46D7-B713-FD4D2F614E42}"/>
          </ac:picMkLst>
        </pc:picChg>
        <pc:picChg chg="mod">
          <ac:chgData name="Klara Hinze" userId="216d571a76224879" providerId="LiveId" clId="{DD85E389-4DC1-4302-BB19-9C64E6D761A6}" dt="2021-07-28T06:51:47.743" v="623" actId="1076"/>
          <ac:picMkLst>
            <pc:docMk/>
            <pc:sldMk cId="212740841" sldId="464"/>
            <ac:picMk id="13" creationId="{12C4581A-178C-4186-806A-E97345EAF519}"/>
          </ac:picMkLst>
        </pc:picChg>
      </pc:sldChg>
      <pc:sldChg chg="modSp mod">
        <pc:chgData name="Klara Hinze" userId="216d571a76224879" providerId="LiveId" clId="{DD85E389-4DC1-4302-BB19-9C64E6D761A6}" dt="2021-07-28T08:37:33.485" v="972" actId="1036"/>
        <pc:sldMkLst>
          <pc:docMk/>
          <pc:sldMk cId="3459817347" sldId="819"/>
        </pc:sldMkLst>
        <pc:spChg chg="mod">
          <ac:chgData name="Klara Hinze" userId="216d571a76224879" providerId="LiveId" clId="{DD85E389-4DC1-4302-BB19-9C64E6D761A6}" dt="2021-07-28T08:37:33.485" v="972" actId="1036"/>
          <ac:spMkLst>
            <pc:docMk/>
            <pc:sldMk cId="3459817347" sldId="819"/>
            <ac:spMk id="4" creationId="{A3314679-F18E-9646-B9CA-78908381F666}"/>
          </ac:spMkLst>
        </pc:spChg>
      </pc:sldChg>
      <pc:sldChg chg="del">
        <pc:chgData name="Klara Hinze" userId="216d571a76224879" providerId="LiveId" clId="{DD85E389-4DC1-4302-BB19-9C64E6D761A6}" dt="2021-07-28T06:54:33.050" v="646" actId="47"/>
        <pc:sldMkLst>
          <pc:docMk/>
          <pc:sldMk cId="3688650557" sldId="830"/>
        </pc:sldMkLst>
      </pc:sldChg>
      <pc:sldChg chg="del">
        <pc:chgData name="Klara Hinze" userId="216d571a76224879" providerId="LiveId" clId="{DD85E389-4DC1-4302-BB19-9C64E6D761A6}" dt="2021-07-28T06:52:14.289" v="625" actId="47"/>
        <pc:sldMkLst>
          <pc:docMk/>
          <pc:sldMk cId="3295041596" sldId="833"/>
        </pc:sldMkLst>
      </pc:sldChg>
      <pc:sldChg chg="del">
        <pc:chgData name="Klara Hinze" userId="216d571a76224879" providerId="LiveId" clId="{DD85E389-4DC1-4302-BB19-9C64E6D761A6}" dt="2021-07-27T18:40:47.772" v="303" actId="47"/>
        <pc:sldMkLst>
          <pc:docMk/>
          <pc:sldMk cId="2366702157" sldId="838"/>
        </pc:sldMkLst>
      </pc:sldChg>
      <pc:sldChg chg="addSp delSp modSp mod setBg modNotesTx">
        <pc:chgData name="Klara Hinze" userId="216d571a76224879" providerId="LiveId" clId="{DD85E389-4DC1-4302-BB19-9C64E6D761A6}" dt="2021-07-27T19:03:01.609" v="524" actId="14100"/>
        <pc:sldMkLst>
          <pc:docMk/>
          <pc:sldMk cId="286395782" sldId="840"/>
        </pc:sldMkLst>
        <pc:spChg chg="mod">
          <ac:chgData name="Klara Hinze" userId="216d571a76224879" providerId="LiveId" clId="{DD85E389-4DC1-4302-BB19-9C64E6D761A6}" dt="2021-07-27T19:02:02.111" v="519" actId="12"/>
          <ac:spMkLst>
            <pc:docMk/>
            <pc:sldMk cId="286395782" sldId="840"/>
            <ac:spMk id="16" creationId="{94ED55AC-7E53-48ED-949D-CFEF2380577B}"/>
          </ac:spMkLst>
        </pc:spChg>
        <pc:spChg chg="mod">
          <ac:chgData name="Klara Hinze" userId="216d571a76224879" providerId="LiveId" clId="{DD85E389-4DC1-4302-BB19-9C64E6D761A6}" dt="2021-07-27T18:36:23.600" v="297" actId="1036"/>
          <ac:spMkLst>
            <pc:docMk/>
            <pc:sldMk cId="286395782" sldId="840"/>
            <ac:spMk id="24" creationId="{38E3E4EE-73C1-4CC6-A3ED-DCF04E6231D9}"/>
          </ac:spMkLst>
        </pc:spChg>
        <pc:spChg chg="mod">
          <ac:chgData name="Klara Hinze" userId="216d571a76224879" providerId="LiveId" clId="{DD85E389-4DC1-4302-BB19-9C64E6D761A6}" dt="2021-07-27T19:03:01.609" v="524" actId="14100"/>
          <ac:spMkLst>
            <pc:docMk/>
            <pc:sldMk cId="286395782" sldId="840"/>
            <ac:spMk id="31" creationId="{583C69DA-3BB6-43A2-B351-1A84361E0639}"/>
          </ac:spMkLst>
        </pc:spChg>
        <pc:spChg chg="mod">
          <ac:chgData name="Klara Hinze" userId="216d571a76224879" providerId="LiveId" clId="{DD85E389-4DC1-4302-BB19-9C64E6D761A6}" dt="2021-07-27T19:02:57.376" v="523" actId="14100"/>
          <ac:spMkLst>
            <pc:docMk/>
            <pc:sldMk cId="286395782" sldId="840"/>
            <ac:spMk id="32" creationId="{1FDF5808-CD6A-4C68-8BDF-EA520BCBEEF4}"/>
          </ac:spMkLst>
        </pc:spChg>
        <pc:spChg chg="mod">
          <ac:chgData name="Klara Hinze" userId="216d571a76224879" providerId="LiveId" clId="{DD85E389-4DC1-4302-BB19-9C64E6D761A6}" dt="2021-07-27T19:01:50.538" v="518" actId="12"/>
          <ac:spMkLst>
            <pc:docMk/>
            <pc:sldMk cId="286395782" sldId="840"/>
            <ac:spMk id="33" creationId="{BF28A5E6-3400-469C-AE23-8C9D30C18DE8}"/>
          </ac:spMkLst>
        </pc:spChg>
        <pc:spChg chg="mod">
          <ac:chgData name="Klara Hinze" userId="216d571a76224879" providerId="LiveId" clId="{DD85E389-4DC1-4302-BB19-9C64E6D761A6}" dt="2021-07-27T19:01:37.082" v="517" actId="12"/>
          <ac:spMkLst>
            <pc:docMk/>
            <pc:sldMk cId="286395782" sldId="840"/>
            <ac:spMk id="35" creationId="{E9F37DD7-E57C-4817-AB5F-82F897512F06}"/>
          </ac:spMkLst>
        </pc:spChg>
        <pc:spChg chg="mod">
          <ac:chgData name="Klara Hinze" userId="216d571a76224879" providerId="LiveId" clId="{DD85E389-4DC1-4302-BB19-9C64E6D761A6}" dt="2021-07-27T18:36:34.088" v="298" actId="14100"/>
          <ac:spMkLst>
            <pc:docMk/>
            <pc:sldMk cId="286395782" sldId="840"/>
            <ac:spMk id="36" creationId="{2B988B5F-E1A3-449E-8DEE-7C7A4743529F}"/>
          </ac:spMkLst>
        </pc:spChg>
        <pc:spChg chg="mod">
          <ac:chgData name="Klara Hinze" userId="216d571a76224879" providerId="LiveId" clId="{DD85E389-4DC1-4302-BB19-9C64E6D761A6}" dt="2021-07-27T18:29:39.512" v="7"/>
          <ac:spMkLst>
            <pc:docMk/>
            <pc:sldMk cId="286395782" sldId="840"/>
            <ac:spMk id="38" creationId="{FFD2AB7C-6FEC-4AD5-A608-A22BB6326C5E}"/>
          </ac:spMkLst>
        </pc:spChg>
        <pc:spChg chg="mod">
          <ac:chgData name="Klara Hinze" userId="216d571a76224879" providerId="LiveId" clId="{DD85E389-4DC1-4302-BB19-9C64E6D761A6}" dt="2021-07-27T18:29:39.512" v="7"/>
          <ac:spMkLst>
            <pc:docMk/>
            <pc:sldMk cId="286395782" sldId="840"/>
            <ac:spMk id="42" creationId="{8A132AA6-3840-4BA0-B90D-42C5C7B9BAFB}"/>
          </ac:spMkLst>
        </pc:spChg>
        <pc:spChg chg="mod">
          <ac:chgData name="Klara Hinze" userId="216d571a76224879" providerId="LiveId" clId="{DD85E389-4DC1-4302-BB19-9C64E6D761A6}" dt="2021-07-27T18:51:23.057" v="304"/>
          <ac:spMkLst>
            <pc:docMk/>
            <pc:sldMk cId="286395782" sldId="840"/>
            <ac:spMk id="46" creationId="{7C370C25-F3AB-4661-AA28-A1BB495982F7}"/>
          </ac:spMkLst>
        </pc:spChg>
        <pc:spChg chg="mod">
          <ac:chgData name="Klara Hinze" userId="216d571a76224879" providerId="LiveId" clId="{DD85E389-4DC1-4302-BB19-9C64E6D761A6}" dt="2021-07-27T18:52:00.485" v="307"/>
          <ac:spMkLst>
            <pc:docMk/>
            <pc:sldMk cId="286395782" sldId="840"/>
            <ac:spMk id="50" creationId="{C2D7B1E8-44ED-4CEE-B8FF-358EE488198E}"/>
          </ac:spMkLst>
        </pc:spChg>
        <pc:spChg chg="mod">
          <ac:chgData name="Klara Hinze" userId="216d571a76224879" providerId="LiveId" clId="{DD85E389-4DC1-4302-BB19-9C64E6D761A6}" dt="2021-07-27T18:52:32.092" v="315"/>
          <ac:spMkLst>
            <pc:docMk/>
            <pc:sldMk cId="286395782" sldId="840"/>
            <ac:spMk id="55" creationId="{3B2FA0A0-CF3B-4916-B603-053B6A394A83}"/>
          </ac:spMkLst>
        </pc:spChg>
        <pc:spChg chg="mod">
          <ac:chgData name="Klara Hinze" userId="216d571a76224879" providerId="LiveId" clId="{DD85E389-4DC1-4302-BB19-9C64E6D761A6}" dt="2021-07-27T18:52:37.256" v="318"/>
          <ac:spMkLst>
            <pc:docMk/>
            <pc:sldMk cId="286395782" sldId="840"/>
            <ac:spMk id="59" creationId="{02ED3B51-CB34-41FE-A7F7-CE34776D66F5}"/>
          </ac:spMkLst>
        </pc:spChg>
        <pc:spChg chg="mod">
          <ac:chgData name="Klara Hinze" userId="216d571a76224879" providerId="LiveId" clId="{DD85E389-4DC1-4302-BB19-9C64E6D761A6}" dt="2021-07-27T19:00:12.861" v="464"/>
          <ac:spMkLst>
            <pc:docMk/>
            <pc:sldMk cId="286395782" sldId="840"/>
            <ac:spMk id="65" creationId="{F90F84A3-3335-4FDC-A86D-95DC7744228C}"/>
          </ac:spMkLst>
        </pc:spChg>
        <pc:spChg chg="mod">
          <ac:chgData name="Klara Hinze" userId="216d571a76224879" providerId="LiveId" clId="{DD85E389-4DC1-4302-BB19-9C64E6D761A6}" dt="2021-07-27T19:00:12.861" v="464"/>
          <ac:spMkLst>
            <pc:docMk/>
            <pc:sldMk cId="286395782" sldId="840"/>
            <ac:spMk id="67" creationId="{8A409843-9902-406E-8201-549961C3D12A}"/>
          </ac:spMkLst>
        </pc:spChg>
        <pc:grpChg chg="mod">
          <ac:chgData name="Klara Hinze" userId="216d571a76224879" providerId="LiveId" clId="{DD85E389-4DC1-4302-BB19-9C64E6D761A6}" dt="2021-07-27T18:32:20.459" v="81" actId="1076"/>
          <ac:grpSpMkLst>
            <pc:docMk/>
            <pc:sldMk cId="286395782" sldId="840"/>
            <ac:grpSpMk id="22" creationId="{98D2BC5E-042C-4E55-B4A9-C271C83CBAEC}"/>
          </ac:grpSpMkLst>
        </pc:grpChg>
        <pc:grpChg chg="add mod">
          <ac:chgData name="Klara Hinze" userId="216d571a76224879" providerId="LiveId" clId="{DD85E389-4DC1-4302-BB19-9C64E6D761A6}" dt="2021-07-27T18:37:11.230" v="301" actId="1076"/>
          <ac:grpSpMkLst>
            <pc:docMk/>
            <pc:sldMk cId="286395782" sldId="840"/>
            <ac:grpSpMk id="37" creationId="{27D1960D-D751-422A-A797-1762E8FE7E0C}"/>
          </ac:grpSpMkLst>
        </pc:grpChg>
        <pc:grpChg chg="add mod">
          <ac:chgData name="Klara Hinze" userId="216d571a76224879" providerId="LiveId" clId="{DD85E389-4DC1-4302-BB19-9C64E6D761A6}" dt="2021-07-27T18:37:11.230" v="301" actId="1076"/>
          <ac:grpSpMkLst>
            <pc:docMk/>
            <pc:sldMk cId="286395782" sldId="840"/>
            <ac:grpSpMk id="41" creationId="{A9B7493F-F023-4107-9B06-7B80034C6CF1}"/>
          </ac:grpSpMkLst>
        </pc:grpChg>
        <pc:grpChg chg="add del mod">
          <ac:chgData name="Klara Hinze" userId="216d571a76224879" providerId="LiveId" clId="{DD85E389-4DC1-4302-BB19-9C64E6D761A6}" dt="2021-07-27T18:51:59.336" v="306" actId="478"/>
          <ac:grpSpMkLst>
            <pc:docMk/>
            <pc:sldMk cId="286395782" sldId="840"/>
            <ac:grpSpMk id="45" creationId="{8B688A6C-6342-469D-85C2-AFD1D6099371}"/>
          </ac:grpSpMkLst>
        </pc:grpChg>
        <pc:grpChg chg="add del mod">
          <ac:chgData name="Klara Hinze" userId="216d571a76224879" providerId="LiveId" clId="{DD85E389-4DC1-4302-BB19-9C64E6D761A6}" dt="2021-07-27T18:52:03.185" v="310"/>
          <ac:grpSpMkLst>
            <pc:docMk/>
            <pc:sldMk cId="286395782" sldId="840"/>
            <ac:grpSpMk id="49" creationId="{D87F7C0F-66D9-4FD4-AA0B-6B7DD16C497D}"/>
          </ac:grpSpMkLst>
        </pc:grpChg>
        <pc:grpChg chg="add del mod">
          <ac:chgData name="Klara Hinze" userId="216d571a76224879" providerId="LiveId" clId="{DD85E389-4DC1-4302-BB19-9C64E6D761A6}" dt="2021-07-27T18:52:35.297" v="317" actId="478"/>
          <ac:grpSpMkLst>
            <pc:docMk/>
            <pc:sldMk cId="286395782" sldId="840"/>
            <ac:grpSpMk id="54" creationId="{76FF8500-5736-42CE-9C7C-61FD0F185E9A}"/>
          </ac:grpSpMkLst>
        </pc:grpChg>
        <pc:grpChg chg="add del mod">
          <ac:chgData name="Klara Hinze" userId="216d571a76224879" providerId="LiveId" clId="{DD85E389-4DC1-4302-BB19-9C64E6D761A6}" dt="2021-07-27T18:52:41.068" v="321"/>
          <ac:grpSpMkLst>
            <pc:docMk/>
            <pc:sldMk cId="286395782" sldId="840"/>
            <ac:grpSpMk id="58" creationId="{90213226-457B-4465-B87B-F30FB2C26D65}"/>
          </ac:grpSpMkLst>
        </pc:grpChg>
        <pc:grpChg chg="add mod">
          <ac:chgData name="Klara Hinze" userId="216d571a76224879" providerId="LiveId" clId="{DD85E389-4DC1-4302-BB19-9C64E6D761A6}" dt="2021-07-27T19:00:12.861" v="464"/>
          <ac:grpSpMkLst>
            <pc:docMk/>
            <pc:sldMk cId="286395782" sldId="840"/>
            <ac:grpSpMk id="63" creationId="{16D181B8-10B7-416C-BA53-54B7A94263F4}"/>
          </ac:grpSpMkLst>
        </pc:grpChg>
        <pc:grpChg chg="mod">
          <ac:chgData name="Klara Hinze" userId="216d571a76224879" providerId="LiveId" clId="{DD85E389-4DC1-4302-BB19-9C64E6D761A6}" dt="2021-07-27T19:00:12.861" v="464"/>
          <ac:grpSpMkLst>
            <pc:docMk/>
            <pc:sldMk cId="286395782" sldId="840"/>
            <ac:grpSpMk id="64" creationId="{0AACA9B1-37AD-4F6F-8325-76D3D074BA2B}"/>
          </ac:grpSpMkLst>
        </pc:grpChg>
        <pc:picChg chg="mod">
          <ac:chgData name="Klara Hinze" userId="216d571a76224879" providerId="LiveId" clId="{DD85E389-4DC1-4302-BB19-9C64E6D761A6}" dt="2021-07-27T18:36:23.600" v="297" actId="1036"/>
          <ac:picMkLst>
            <pc:docMk/>
            <pc:sldMk cId="286395782" sldId="840"/>
            <ac:picMk id="29" creationId="{37BE630F-9568-4B36-AB55-D32B776101F9}"/>
          </ac:picMkLst>
        </pc:picChg>
        <pc:picChg chg="mod">
          <ac:chgData name="Klara Hinze" userId="216d571a76224879" providerId="LiveId" clId="{DD85E389-4DC1-4302-BB19-9C64E6D761A6}" dt="2021-07-27T18:29:39.512" v="7"/>
          <ac:picMkLst>
            <pc:docMk/>
            <pc:sldMk cId="286395782" sldId="840"/>
            <ac:picMk id="39" creationId="{7BBB627D-BC20-4FEA-82C9-D164A6DDEC4E}"/>
          </ac:picMkLst>
        </pc:picChg>
        <pc:picChg chg="mod">
          <ac:chgData name="Klara Hinze" userId="216d571a76224879" providerId="LiveId" clId="{DD85E389-4DC1-4302-BB19-9C64E6D761A6}" dt="2021-07-27T18:29:39.512" v="7"/>
          <ac:picMkLst>
            <pc:docMk/>
            <pc:sldMk cId="286395782" sldId="840"/>
            <ac:picMk id="40" creationId="{C4BCABE1-5399-43C4-9776-59DC842DC195}"/>
          </ac:picMkLst>
        </pc:picChg>
        <pc:picChg chg="mod">
          <ac:chgData name="Klara Hinze" userId="216d571a76224879" providerId="LiveId" clId="{DD85E389-4DC1-4302-BB19-9C64E6D761A6}" dt="2021-07-27T18:29:39.512" v="7"/>
          <ac:picMkLst>
            <pc:docMk/>
            <pc:sldMk cId="286395782" sldId="840"/>
            <ac:picMk id="43" creationId="{336D7C0D-CC14-4A2B-A8E7-2B4F8F0E0FD1}"/>
          </ac:picMkLst>
        </pc:picChg>
        <pc:picChg chg="mod">
          <ac:chgData name="Klara Hinze" userId="216d571a76224879" providerId="LiveId" clId="{DD85E389-4DC1-4302-BB19-9C64E6D761A6}" dt="2021-07-27T18:29:39.512" v="7"/>
          <ac:picMkLst>
            <pc:docMk/>
            <pc:sldMk cId="286395782" sldId="840"/>
            <ac:picMk id="44" creationId="{0D0539A6-25F8-42F0-A76A-1487860CB5B0}"/>
          </ac:picMkLst>
        </pc:picChg>
        <pc:picChg chg="mod">
          <ac:chgData name="Klara Hinze" userId="216d571a76224879" providerId="LiveId" clId="{DD85E389-4DC1-4302-BB19-9C64E6D761A6}" dt="2021-07-27T18:51:23.057" v="304"/>
          <ac:picMkLst>
            <pc:docMk/>
            <pc:sldMk cId="286395782" sldId="840"/>
            <ac:picMk id="47" creationId="{0648E4A9-CFD6-40E5-B3CD-05691AED830D}"/>
          </ac:picMkLst>
        </pc:picChg>
        <pc:picChg chg="mod">
          <ac:chgData name="Klara Hinze" userId="216d571a76224879" providerId="LiveId" clId="{DD85E389-4DC1-4302-BB19-9C64E6D761A6}" dt="2021-07-27T18:51:23.057" v="304"/>
          <ac:picMkLst>
            <pc:docMk/>
            <pc:sldMk cId="286395782" sldId="840"/>
            <ac:picMk id="48" creationId="{9B31444B-9D2C-47C3-80B0-1DCC70900D83}"/>
          </ac:picMkLst>
        </pc:picChg>
        <pc:picChg chg="mod">
          <ac:chgData name="Klara Hinze" userId="216d571a76224879" providerId="LiveId" clId="{DD85E389-4DC1-4302-BB19-9C64E6D761A6}" dt="2021-07-27T18:52:00.485" v="307"/>
          <ac:picMkLst>
            <pc:docMk/>
            <pc:sldMk cId="286395782" sldId="840"/>
            <ac:picMk id="51" creationId="{83990AC6-5188-4C6B-97AE-1DE8FDB48249}"/>
          </ac:picMkLst>
        </pc:picChg>
        <pc:picChg chg="mod">
          <ac:chgData name="Klara Hinze" userId="216d571a76224879" providerId="LiveId" clId="{DD85E389-4DC1-4302-BB19-9C64E6D761A6}" dt="2021-07-27T18:52:00.485" v="307"/>
          <ac:picMkLst>
            <pc:docMk/>
            <pc:sldMk cId="286395782" sldId="840"/>
            <ac:picMk id="52" creationId="{8CC74292-1A14-43BD-A752-1608C5EEBFEF}"/>
          </ac:picMkLst>
        </pc:picChg>
        <pc:picChg chg="add mod">
          <ac:chgData name="Klara Hinze" userId="216d571a76224879" providerId="LiveId" clId="{DD85E389-4DC1-4302-BB19-9C64E6D761A6}" dt="2021-07-27T19:02:46.005" v="521" actId="1076"/>
          <ac:picMkLst>
            <pc:docMk/>
            <pc:sldMk cId="286395782" sldId="840"/>
            <ac:picMk id="53" creationId="{BAED3ECF-4EC6-451B-9EA8-DD2897E3827B}"/>
          </ac:picMkLst>
        </pc:picChg>
        <pc:picChg chg="mod">
          <ac:chgData name="Klara Hinze" userId="216d571a76224879" providerId="LiveId" clId="{DD85E389-4DC1-4302-BB19-9C64E6D761A6}" dt="2021-07-27T18:52:32.092" v="315"/>
          <ac:picMkLst>
            <pc:docMk/>
            <pc:sldMk cId="286395782" sldId="840"/>
            <ac:picMk id="56" creationId="{A9055B56-73EC-463C-A631-330858679BDE}"/>
          </ac:picMkLst>
        </pc:picChg>
        <pc:picChg chg="mod">
          <ac:chgData name="Klara Hinze" userId="216d571a76224879" providerId="LiveId" clId="{DD85E389-4DC1-4302-BB19-9C64E6D761A6}" dt="2021-07-27T18:52:32.092" v="315"/>
          <ac:picMkLst>
            <pc:docMk/>
            <pc:sldMk cId="286395782" sldId="840"/>
            <ac:picMk id="57" creationId="{8D1353C4-B095-4DC4-BEB7-8FC3151E95F5}"/>
          </ac:picMkLst>
        </pc:picChg>
        <pc:picChg chg="mod">
          <ac:chgData name="Klara Hinze" userId="216d571a76224879" providerId="LiveId" clId="{DD85E389-4DC1-4302-BB19-9C64E6D761A6}" dt="2021-07-27T18:52:37.256" v="318"/>
          <ac:picMkLst>
            <pc:docMk/>
            <pc:sldMk cId="286395782" sldId="840"/>
            <ac:picMk id="60" creationId="{B0343EE7-7175-442C-9BB7-CBC7C89D955D}"/>
          </ac:picMkLst>
        </pc:picChg>
        <pc:picChg chg="mod">
          <ac:chgData name="Klara Hinze" userId="216d571a76224879" providerId="LiveId" clId="{DD85E389-4DC1-4302-BB19-9C64E6D761A6}" dt="2021-07-27T18:52:37.256" v="318"/>
          <ac:picMkLst>
            <pc:docMk/>
            <pc:sldMk cId="286395782" sldId="840"/>
            <ac:picMk id="61" creationId="{70414026-3715-4777-ABA1-9AD1FB9E1DFB}"/>
          </ac:picMkLst>
        </pc:picChg>
        <pc:picChg chg="add mod">
          <ac:chgData name="Klara Hinze" userId="216d571a76224879" providerId="LiveId" clId="{DD85E389-4DC1-4302-BB19-9C64E6D761A6}" dt="2021-07-27T19:02:50.639" v="522" actId="1076"/>
          <ac:picMkLst>
            <pc:docMk/>
            <pc:sldMk cId="286395782" sldId="840"/>
            <ac:picMk id="62" creationId="{B7870886-AB3D-4FC6-8D3C-82F40BAE17F1}"/>
          </ac:picMkLst>
        </pc:picChg>
        <pc:picChg chg="mod">
          <ac:chgData name="Klara Hinze" userId="216d571a76224879" providerId="LiveId" clId="{DD85E389-4DC1-4302-BB19-9C64E6D761A6}" dt="2021-07-27T19:00:12.861" v="464"/>
          <ac:picMkLst>
            <pc:docMk/>
            <pc:sldMk cId="286395782" sldId="840"/>
            <ac:picMk id="66" creationId="{045A5E96-C900-4020-B97A-C493E6244B85}"/>
          </ac:picMkLst>
        </pc:picChg>
        <pc:picChg chg="add del mod">
          <ac:chgData name="Klara Hinze" userId="216d571a76224879" providerId="LiveId" clId="{DD85E389-4DC1-4302-BB19-9C64E6D761A6}" dt="2021-07-27T19:00:41.018" v="468" actId="478"/>
          <ac:picMkLst>
            <pc:docMk/>
            <pc:sldMk cId="286395782" sldId="840"/>
            <ac:picMk id="68" creationId="{53A0346D-E90D-45FB-AF4A-4B7CF04FD0A4}"/>
          </ac:picMkLst>
        </pc:picChg>
      </pc:sldChg>
      <pc:sldChg chg="del">
        <pc:chgData name="Klara Hinze" userId="216d571a76224879" providerId="LiveId" clId="{DD85E389-4DC1-4302-BB19-9C64E6D761A6}" dt="2021-07-28T06:52:53.687" v="629" actId="47"/>
        <pc:sldMkLst>
          <pc:docMk/>
          <pc:sldMk cId="4263996967" sldId="845"/>
        </pc:sldMkLst>
      </pc:sldChg>
      <pc:sldChg chg="del">
        <pc:chgData name="Klara Hinze" userId="216d571a76224879" providerId="LiveId" clId="{DD85E389-4DC1-4302-BB19-9C64E6D761A6}" dt="2021-07-28T06:52:54.291" v="630" actId="47"/>
        <pc:sldMkLst>
          <pc:docMk/>
          <pc:sldMk cId="2793489219" sldId="856"/>
        </pc:sldMkLst>
      </pc:sldChg>
      <pc:sldChg chg="addSp delSp modSp mod">
        <pc:chgData name="Klara Hinze" userId="216d571a76224879" providerId="LiveId" clId="{DD85E389-4DC1-4302-BB19-9C64E6D761A6}" dt="2021-07-28T07:09:08.804" v="862" actId="5793"/>
        <pc:sldMkLst>
          <pc:docMk/>
          <pc:sldMk cId="3675972719" sldId="857"/>
        </pc:sldMkLst>
        <pc:spChg chg="mod">
          <ac:chgData name="Klara Hinze" userId="216d571a76224879" providerId="LiveId" clId="{DD85E389-4DC1-4302-BB19-9C64E6D761A6}" dt="2021-07-28T07:09:08.804" v="862" actId="5793"/>
          <ac:spMkLst>
            <pc:docMk/>
            <pc:sldMk cId="3675972719" sldId="857"/>
            <ac:spMk id="2" creationId="{DF656BD7-99BD-40B4-BF98-44E09741B016}"/>
          </ac:spMkLst>
        </pc:spChg>
        <pc:spChg chg="add del mod">
          <ac:chgData name="Klara Hinze" userId="216d571a76224879" providerId="LiveId" clId="{DD85E389-4DC1-4302-BB19-9C64E6D761A6}" dt="2021-07-28T07:06:52.004" v="772" actId="478"/>
          <ac:spMkLst>
            <pc:docMk/>
            <pc:sldMk cId="3675972719" sldId="857"/>
            <ac:spMk id="7" creationId="{B5854E3E-DD37-4274-9301-BC6DCE3ED456}"/>
          </ac:spMkLst>
        </pc:spChg>
        <pc:spChg chg="add mod">
          <ac:chgData name="Klara Hinze" userId="216d571a76224879" providerId="LiveId" clId="{DD85E389-4DC1-4302-BB19-9C64E6D761A6}" dt="2021-07-28T07:07:57.025" v="784"/>
          <ac:spMkLst>
            <pc:docMk/>
            <pc:sldMk cId="3675972719" sldId="857"/>
            <ac:spMk id="9" creationId="{FB6AE99C-394F-4C30-8261-CDF5E99FBFC3}"/>
          </ac:spMkLst>
        </pc:spChg>
        <pc:picChg chg="add del mod">
          <ac:chgData name="Klara Hinze" userId="216d571a76224879" providerId="LiveId" clId="{DD85E389-4DC1-4302-BB19-9C64E6D761A6}" dt="2021-07-28T07:06:52.004" v="772" actId="478"/>
          <ac:picMkLst>
            <pc:docMk/>
            <pc:sldMk cId="3675972719" sldId="857"/>
            <ac:picMk id="8" creationId="{9F54065F-EB3E-4E36-B7C7-CE35C425DBFD}"/>
          </ac:picMkLst>
        </pc:picChg>
        <pc:picChg chg="add mod">
          <ac:chgData name="Klara Hinze" userId="216d571a76224879" providerId="LiveId" clId="{DD85E389-4DC1-4302-BB19-9C64E6D761A6}" dt="2021-07-28T07:07:57.025" v="784"/>
          <ac:picMkLst>
            <pc:docMk/>
            <pc:sldMk cId="3675972719" sldId="857"/>
            <ac:picMk id="10" creationId="{1AC4A00A-CDC1-4673-910B-68A61555D78D}"/>
          </ac:picMkLst>
        </pc:picChg>
      </pc:sldChg>
      <pc:sldChg chg="addSp delSp modSp mod">
        <pc:chgData name="Klara Hinze" userId="216d571a76224879" providerId="LiveId" clId="{DD85E389-4DC1-4302-BB19-9C64E6D761A6}" dt="2021-07-28T07:09:16.814" v="863"/>
        <pc:sldMkLst>
          <pc:docMk/>
          <pc:sldMk cId="922910177" sldId="871"/>
        </pc:sldMkLst>
        <pc:spChg chg="mod">
          <ac:chgData name="Klara Hinze" userId="216d571a76224879" providerId="LiveId" clId="{DD85E389-4DC1-4302-BB19-9C64E6D761A6}" dt="2021-07-28T07:09:16.814" v="863"/>
          <ac:spMkLst>
            <pc:docMk/>
            <pc:sldMk cId="922910177" sldId="871"/>
            <ac:spMk id="2" creationId="{DF656BD7-99BD-40B4-BF98-44E09741B016}"/>
          </ac:spMkLst>
        </pc:spChg>
        <pc:spChg chg="add del mod">
          <ac:chgData name="Klara Hinze" userId="216d571a76224879" providerId="LiveId" clId="{DD85E389-4DC1-4302-BB19-9C64E6D761A6}" dt="2021-07-28T07:06:55.050" v="774" actId="478"/>
          <ac:spMkLst>
            <pc:docMk/>
            <pc:sldMk cId="922910177" sldId="871"/>
            <ac:spMk id="6" creationId="{B7CAE632-B835-447E-934F-D5F242B7CCC4}"/>
          </ac:spMkLst>
        </pc:spChg>
        <pc:spChg chg="add mod">
          <ac:chgData name="Klara Hinze" userId="216d571a76224879" providerId="LiveId" clId="{DD85E389-4DC1-4302-BB19-9C64E6D761A6}" dt="2021-07-28T07:07:58.302" v="785"/>
          <ac:spMkLst>
            <pc:docMk/>
            <pc:sldMk cId="922910177" sldId="871"/>
            <ac:spMk id="9" creationId="{E10C9721-1850-4A51-870B-F3413010755E}"/>
          </ac:spMkLst>
        </pc:spChg>
        <pc:picChg chg="add del mod">
          <ac:chgData name="Klara Hinze" userId="216d571a76224879" providerId="LiveId" clId="{DD85E389-4DC1-4302-BB19-9C64E6D761A6}" dt="2021-07-28T07:06:55.050" v="774" actId="478"/>
          <ac:picMkLst>
            <pc:docMk/>
            <pc:sldMk cId="922910177" sldId="871"/>
            <ac:picMk id="7" creationId="{20564F62-D5F7-477C-8C23-1DE51796CADB}"/>
          </ac:picMkLst>
        </pc:picChg>
        <pc:picChg chg="add mod">
          <ac:chgData name="Klara Hinze" userId="216d571a76224879" providerId="LiveId" clId="{DD85E389-4DC1-4302-BB19-9C64E6D761A6}" dt="2021-07-28T07:07:58.302" v="785"/>
          <ac:picMkLst>
            <pc:docMk/>
            <pc:sldMk cId="922910177" sldId="871"/>
            <ac:picMk id="10" creationId="{F689A2F3-80B7-4662-BFD4-72EC89CE9E54}"/>
          </ac:picMkLst>
        </pc:picChg>
      </pc:sldChg>
      <pc:sldChg chg="del">
        <pc:chgData name="Klara Hinze" userId="216d571a76224879" providerId="LiveId" clId="{DD85E389-4DC1-4302-BB19-9C64E6D761A6}" dt="2021-07-28T06:53:54.530" v="639" actId="47"/>
        <pc:sldMkLst>
          <pc:docMk/>
          <pc:sldMk cId="4286820312" sldId="873"/>
        </pc:sldMkLst>
      </pc:sldChg>
      <pc:sldChg chg="del">
        <pc:chgData name="Klara Hinze" userId="216d571a76224879" providerId="LiveId" clId="{DD85E389-4DC1-4302-BB19-9C64E6D761A6}" dt="2021-07-28T06:52:55.266" v="631" actId="47"/>
        <pc:sldMkLst>
          <pc:docMk/>
          <pc:sldMk cId="2391853715" sldId="874"/>
        </pc:sldMkLst>
      </pc:sldChg>
      <pc:sldChg chg="del">
        <pc:chgData name="Klara Hinze" userId="216d571a76224879" providerId="LiveId" clId="{DD85E389-4DC1-4302-BB19-9C64E6D761A6}" dt="2021-07-28T06:54:48.986" v="649" actId="47"/>
        <pc:sldMkLst>
          <pc:docMk/>
          <pc:sldMk cId="1991106625" sldId="876"/>
        </pc:sldMkLst>
      </pc:sldChg>
      <pc:sldChg chg="addSp delSp modSp mod">
        <pc:chgData name="Klara Hinze" userId="216d571a76224879" providerId="LiveId" clId="{DD85E389-4DC1-4302-BB19-9C64E6D761A6}" dt="2021-07-27T20:03:01.049" v="605" actId="20577"/>
        <pc:sldMkLst>
          <pc:docMk/>
          <pc:sldMk cId="3882295341" sldId="878"/>
        </pc:sldMkLst>
        <pc:spChg chg="mod">
          <ac:chgData name="Klara Hinze" userId="216d571a76224879" providerId="LiveId" clId="{DD85E389-4DC1-4302-BB19-9C64E6D761A6}" dt="2021-07-27T20:01:08.763" v="525" actId="6549"/>
          <ac:spMkLst>
            <pc:docMk/>
            <pc:sldMk cId="3882295341" sldId="878"/>
            <ac:spMk id="115" creationId="{A037AF45-8688-4D28-B9F6-EB8FE4A74669}"/>
          </ac:spMkLst>
        </pc:spChg>
        <pc:spChg chg="mod">
          <ac:chgData name="Klara Hinze" userId="216d571a76224879" providerId="LiveId" clId="{DD85E389-4DC1-4302-BB19-9C64E6D761A6}" dt="2021-07-27T20:01:13.974" v="526" actId="20577"/>
          <ac:spMkLst>
            <pc:docMk/>
            <pc:sldMk cId="3882295341" sldId="878"/>
            <ac:spMk id="116" creationId="{121510AB-EC4F-43B7-8193-13808FAB3BA7}"/>
          </ac:spMkLst>
        </pc:spChg>
        <pc:spChg chg="mod">
          <ac:chgData name="Klara Hinze" userId="216d571a76224879" providerId="LiveId" clId="{DD85E389-4DC1-4302-BB19-9C64E6D761A6}" dt="2021-07-27T20:03:01.049" v="605" actId="20577"/>
          <ac:spMkLst>
            <pc:docMk/>
            <pc:sldMk cId="3882295341" sldId="878"/>
            <ac:spMk id="422" creationId="{D8D1D3A0-F7FD-440E-96A3-8944EAFEF199}"/>
          </ac:spMkLst>
        </pc:spChg>
        <pc:spChg chg="add mod">
          <ac:chgData name="Klara Hinze" userId="216d571a76224879" providerId="LiveId" clId="{DD85E389-4DC1-4302-BB19-9C64E6D761A6}" dt="2021-07-27T18:29:06.940" v="2" actId="164"/>
          <ac:spMkLst>
            <pc:docMk/>
            <pc:sldMk cId="3882295341" sldId="878"/>
            <ac:spMk id="449" creationId="{A3F3E8D2-3C27-4B7B-8220-EB1B752275BB}"/>
          </ac:spMkLst>
        </pc:spChg>
        <pc:spChg chg="add mod">
          <ac:chgData name="Klara Hinze" userId="216d571a76224879" providerId="LiveId" clId="{DD85E389-4DC1-4302-BB19-9C64E6D761A6}" dt="2021-07-27T18:29:31.396" v="5" actId="164"/>
          <ac:spMkLst>
            <pc:docMk/>
            <pc:sldMk cId="3882295341" sldId="878"/>
            <ac:spMk id="453" creationId="{D27FE1AA-37F0-474E-8E39-FF5581F1F4ED}"/>
          </ac:spMkLst>
        </pc:spChg>
        <pc:grpChg chg="add del mod">
          <ac:chgData name="Klara Hinze" userId="216d571a76224879" providerId="LiveId" clId="{DD85E389-4DC1-4302-BB19-9C64E6D761A6}" dt="2021-07-27T18:29:33.763" v="6" actId="21"/>
          <ac:grpSpMkLst>
            <pc:docMk/>
            <pc:sldMk cId="3882295341" sldId="878"/>
            <ac:grpSpMk id="452" creationId="{2E0FEFE9-BF6A-45B5-A507-21A7521B65B5}"/>
          </ac:grpSpMkLst>
        </pc:grpChg>
        <pc:grpChg chg="add del mod">
          <ac:chgData name="Klara Hinze" userId="216d571a76224879" providerId="LiveId" clId="{DD85E389-4DC1-4302-BB19-9C64E6D761A6}" dt="2021-07-27T18:29:33.763" v="6" actId="21"/>
          <ac:grpSpMkLst>
            <pc:docMk/>
            <pc:sldMk cId="3882295341" sldId="878"/>
            <ac:grpSpMk id="456" creationId="{E6A2A568-7189-4B8B-B828-CA974C235146}"/>
          </ac:grpSpMkLst>
        </pc:grpChg>
        <pc:picChg chg="add mod">
          <ac:chgData name="Klara Hinze" userId="216d571a76224879" providerId="LiveId" clId="{DD85E389-4DC1-4302-BB19-9C64E6D761A6}" dt="2021-07-27T18:29:06.940" v="2" actId="164"/>
          <ac:picMkLst>
            <pc:docMk/>
            <pc:sldMk cId="3882295341" sldId="878"/>
            <ac:picMk id="450" creationId="{A7830A15-004A-4AD8-A034-2B9D0340E7ED}"/>
          </ac:picMkLst>
        </pc:picChg>
        <pc:picChg chg="add mod">
          <ac:chgData name="Klara Hinze" userId="216d571a76224879" providerId="LiveId" clId="{DD85E389-4DC1-4302-BB19-9C64E6D761A6}" dt="2021-07-27T18:29:06.940" v="2" actId="164"/>
          <ac:picMkLst>
            <pc:docMk/>
            <pc:sldMk cId="3882295341" sldId="878"/>
            <ac:picMk id="451" creationId="{FCC0A485-F3A1-4DD6-8D52-6F18E98E818F}"/>
          </ac:picMkLst>
        </pc:picChg>
        <pc:picChg chg="add mod">
          <ac:chgData name="Klara Hinze" userId="216d571a76224879" providerId="LiveId" clId="{DD85E389-4DC1-4302-BB19-9C64E6D761A6}" dt="2021-07-27T18:29:31.396" v="5" actId="164"/>
          <ac:picMkLst>
            <pc:docMk/>
            <pc:sldMk cId="3882295341" sldId="878"/>
            <ac:picMk id="454" creationId="{03656AFC-1CC4-44F3-8966-8A53326DC9B5}"/>
          </ac:picMkLst>
        </pc:picChg>
        <pc:picChg chg="add mod">
          <ac:chgData name="Klara Hinze" userId="216d571a76224879" providerId="LiveId" clId="{DD85E389-4DC1-4302-BB19-9C64E6D761A6}" dt="2021-07-27T18:29:31.396" v="5" actId="164"/>
          <ac:picMkLst>
            <pc:docMk/>
            <pc:sldMk cId="3882295341" sldId="878"/>
            <ac:picMk id="455" creationId="{C054C17E-8915-4DC4-8282-5EB4341D25F5}"/>
          </ac:picMkLst>
        </pc:picChg>
      </pc:sldChg>
      <pc:sldChg chg="modSp mod">
        <pc:chgData name="Klara Hinze" userId="216d571a76224879" providerId="LiveId" clId="{DD85E389-4DC1-4302-BB19-9C64E6D761A6}" dt="2021-07-28T08:24:15.946" v="866" actId="207"/>
        <pc:sldMkLst>
          <pc:docMk/>
          <pc:sldMk cId="2775997456" sldId="885"/>
        </pc:sldMkLst>
        <pc:spChg chg="mod">
          <ac:chgData name="Klara Hinze" userId="216d571a76224879" providerId="LiveId" clId="{DD85E389-4DC1-4302-BB19-9C64E6D761A6}" dt="2021-07-28T08:24:15.946" v="866" actId="207"/>
          <ac:spMkLst>
            <pc:docMk/>
            <pc:sldMk cId="2775997456" sldId="885"/>
            <ac:spMk id="15" creationId="{C6761216-745B-4A0F-A7A0-525F8F784498}"/>
          </ac:spMkLst>
        </pc:spChg>
      </pc:sldChg>
      <pc:sldChg chg="modSp mod">
        <pc:chgData name="Klara Hinze" userId="216d571a76224879" providerId="LiveId" clId="{DD85E389-4DC1-4302-BB19-9C64E6D761A6}" dt="2021-07-28T08:24:05.201" v="865" actId="207"/>
        <pc:sldMkLst>
          <pc:docMk/>
          <pc:sldMk cId="2126655366" sldId="889"/>
        </pc:sldMkLst>
        <pc:spChg chg="mod">
          <ac:chgData name="Klara Hinze" userId="216d571a76224879" providerId="LiveId" clId="{DD85E389-4DC1-4302-BB19-9C64E6D761A6}" dt="2021-07-28T08:24:05.201" v="865" actId="207"/>
          <ac:spMkLst>
            <pc:docMk/>
            <pc:sldMk cId="2126655366" sldId="889"/>
            <ac:spMk id="15" creationId="{C6761216-745B-4A0F-A7A0-525F8F784498}"/>
          </ac:spMkLst>
        </pc:spChg>
      </pc:sldChg>
      <pc:sldChg chg="addSp delSp modSp mod ord">
        <pc:chgData name="Klara Hinze" userId="216d571a76224879" providerId="LiveId" clId="{DD85E389-4DC1-4302-BB19-9C64E6D761A6}" dt="2021-07-28T07:08:56.707" v="827" actId="5793"/>
        <pc:sldMkLst>
          <pc:docMk/>
          <pc:sldMk cId="1536672001" sldId="895"/>
        </pc:sldMkLst>
        <pc:spChg chg="add del mod">
          <ac:chgData name="Klara Hinze" userId="216d571a76224879" providerId="LiveId" clId="{DD85E389-4DC1-4302-BB19-9C64E6D761A6}" dt="2021-07-28T07:06:42.612" v="769" actId="478"/>
          <ac:spMkLst>
            <pc:docMk/>
            <pc:sldMk cId="1536672001" sldId="895"/>
            <ac:spMk id="13" creationId="{23A53ED2-8B6D-4C23-B79B-C15F0D175D47}"/>
          </ac:spMkLst>
        </pc:spChg>
        <pc:spChg chg="add mod">
          <ac:chgData name="Klara Hinze" userId="216d571a76224879" providerId="LiveId" clId="{DD85E389-4DC1-4302-BB19-9C64E6D761A6}" dt="2021-07-28T07:07:54.030" v="782"/>
          <ac:spMkLst>
            <pc:docMk/>
            <pc:sldMk cId="1536672001" sldId="895"/>
            <ac:spMk id="15" creationId="{739234EF-8AAD-4DB7-9578-5D4D4F1AB21F}"/>
          </ac:spMkLst>
        </pc:spChg>
        <pc:spChg chg="mod">
          <ac:chgData name="Klara Hinze" userId="216d571a76224879" providerId="LiveId" clId="{DD85E389-4DC1-4302-BB19-9C64E6D761A6}" dt="2021-07-28T07:08:56.707" v="827" actId="5793"/>
          <ac:spMkLst>
            <pc:docMk/>
            <pc:sldMk cId="1536672001" sldId="895"/>
            <ac:spMk id="39" creationId="{C221C785-4474-4A5B-9E59-9A62999DA099}"/>
          </ac:spMkLst>
        </pc:spChg>
        <pc:picChg chg="add del mod">
          <ac:chgData name="Klara Hinze" userId="216d571a76224879" providerId="LiveId" clId="{DD85E389-4DC1-4302-BB19-9C64E6D761A6}" dt="2021-07-28T07:06:42.612" v="769" actId="478"/>
          <ac:picMkLst>
            <pc:docMk/>
            <pc:sldMk cId="1536672001" sldId="895"/>
            <ac:picMk id="14" creationId="{B4306B65-D551-4BFD-93C8-E386558E39D2}"/>
          </ac:picMkLst>
        </pc:picChg>
        <pc:picChg chg="add mod">
          <ac:chgData name="Klara Hinze" userId="216d571a76224879" providerId="LiveId" clId="{DD85E389-4DC1-4302-BB19-9C64E6D761A6}" dt="2021-07-28T07:07:54.030" v="782"/>
          <ac:picMkLst>
            <pc:docMk/>
            <pc:sldMk cId="1536672001" sldId="895"/>
            <ac:picMk id="16" creationId="{BF7C203A-CF7E-4FDB-A7F9-71560D7B9833}"/>
          </ac:picMkLst>
        </pc:picChg>
      </pc:sldChg>
      <pc:sldChg chg="addSp delSp modSp mod">
        <pc:chgData name="Klara Hinze" userId="216d571a76224879" providerId="LiveId" clId="{DD85E389-4DC1-4302-BB19-9C64E6D761A6}" dt="2021-07-27T20:02:41.323" v="574" actId="14100"/>
        <pc:sldMkLst>
          <pc:docMk/>
          <pc:sldMk cId="2538660200" sldId="896"/>
        </pc:sldMkLst>
        <pc:spChg chg="mod">
          <ac:chgData name="Klara Hinze" userId="216d571a76224879" providerId="LiveId" clId="{DD85E389-4DC1-4302-BB19-9C64E6D761A6}" dt="2021-07-27T20:02:16.541" v="565"/>
          <ac:spMkLst>
            <pc:docMk/>
            <pc:sldMk cId="2538660200" sldId="896"/>
            <ac:spMk id="111" creationId="{472191C6-247A-4A40-9D19-76E24D93CB17}"/>
          </ac:spMkLst>
        </pc:spChg>
        <pc:spChg chg="mod">
          <ac:chgData name="Klara Hinze" userId="216d571a76224879" providerId="LiveId" clId="{DD85E389-4DC1-4302-BB19-9C64E6D761A6}" dt="2021-07-27T20:01:56.507" v="530" actId="20577"/>
          <ac:spMkLst>
            <pc:docMk/>
            <pc:sldMk cId="2538660200" sldId="896"/>
            <ac:spMk id="115" creationId="{A037AF45-8688-4D28-B9F6-EB8FE4A74669}"/>
          </ac:spMkLst>
        </pc:spChg>
        <pc:spChg chg="mod">
          <ac:chgData name="Klara Hinze" userId="216d571a76224879" providerId="LiveId" clId="{DD85E389-4DC1-4302-BB19-9C64E6D761A6}" dt="2021-07-27T20:01:50.834" v="528" actId="6549"/>
          <ac:spMkLst>
            <pc:docMk/>
            <pc:sldMk cId="2538660200" sldId="896"/>
            <ac:spMk id="116" creationId="{121510AB-EC4F-43B7-8193-13808FAB3BA7}"/>
          </ac:spMkLst>
        </pc:spChg>
        <pc:spChg chg="mod">
          <ac:chgData name="Klara Hinze" userId="216d571a76224879" providerId="LiveId" clId="{DD85E389-4DC1-4302-BB19-9C64E6D761A6}" dt="2021-07-27T20:02:16.541" v="565"/>
          <ac:spMkLst>
            <pc:docMk/>
            <pc:sldMk cId="2538660200" sldId="896"/>
            <ac:spMk id="117" creationId="{B3462749-5A5C-4BA3-99FE-878344000F29}"/>
          </ac:spMkLst>
        </pc:spChg>
        <pc:spChg chg="mod">
          <ac:chgData name="Klara Hinze" userId="216d571a76224879" providerId="LiveId" clId="{DD85E389-4DC1-4302-BB19-9C64E6D761A6}" dt="2021-07-27T20:02:16.541" v="565"/>
          <ac:spMkLst>
            <pc:docMk/>
            <pc:sldMk cId="2538660200" sldId="896"/>
            <ac:spMk id="118" creationId="{797246E5-2EE3-47E6-B2CD-F4C81530FE6E}"/>
          </ac:spMkLst>
        </pc:spChg>
        <pc:spChg chg="mod">
          <ac:chgData name="Klara Hinze" userId="216d571a76224879" providerId="LiveId" clId="{DD85E389-4DC1-4302-BB19-9C64E6D761A6}" dt="2021-07-27T20:02:16.541" v="565"/>
          <ac:spMkLst>
            <pc:docMk/>
            <pc:sldMk cId="2538660200" sldId="896"/>
            <ac:spMk id="122" creationId="{89969355-E7E3-4431-B1E6-A29670E26BAD}"/>
          </ac:spMkLst>
        </pc:spChg>
        <pc:spChg chg="mod">
          <ac:chgData name="Klara Hinze" userId="216d571a76224879" providerId="LiveId" clId="{DD85E389-4DC1-4302-BB19-9C64E6D761A6}" dt="2021-07-27T20:02:16.541" v="565"/>
          <ac:spMkLst>
            <pc:docMk/>
            <pc:sldMk cId="2538660200" sldId="896"/>
            <ac:spMk id="123" creationId="{D760B7E7-86C4-4A74-BE04-3EFA425D90DA}"/>
          </ac:spMkLst>
        </pc:spChg>
        <pc:spChg chg="mod">
          <ac:chgData name="Klara Hinze" userId="216d571a76224879" providerId="LiveId" clId="{DD85E389-4DC1-4302-BB19-9C64E6D761A6}" dt="2021-07-27T20:02:16.541" v="565"/>
          <ac:spMkLst>
            <pc:docMk/>
            <pc:sldMk cId="2538660200" sldId="896"/>
            <ac:spMk id="124" creationId="{344B2C14-1872-4BD4-B377-6C9E125D5FD5}"/>
          </ac:spMkLst>
        </pc:spChg>
        <pc:spChg chg="mod">
          <ac:chgData name="Klara Hinze" userId="216d571a76224879" providerId="LiveId" clId="{DD85E389-4DC1-4302-BB19-9C64E6D761A6}" dt="2021-07-27T20:02:16.541" v="565"/>
          <ac:spMkLst>
            <pc:docMk/>
            <pc:sldMk cId="2538660200" sldId="896"/>
            <ac:spMk id="126" creationId="{6FEBFD78-0E9F-46EF-A464-FC89259CCFB6}"/>
          </ac:spMkLst>
        </pc:spChg>
        <pc:spChg chg="mod">
          <ac:chgData name="Klara Hinze" userId="216d571a76224879" providerId="LiveId" clId="{DD85E389-4DC1-4302-BB19-9C64E6D761A6}" dt="2021-07-27T20:02:16.541" v="565"/>
          <ac:spMkLst>
            <pc:docMk/>
            <pc:sldMk cId="2538660200" sldId="896"/>
            <ac:spMk id="129" creationId="{BFD59B1C-B4A9-4B6D-904B-8C20972C475B}"/>
          </ac:spMkLst>
        </pc:spChg>
        <pc:spChg chg="mod">
          <ac:chgData name="Klara Hinze" userId="216d571a76224879" providerId="LiveId" clId="{DD85E389-4DC1-4302-BB19-9C64E6D761A6}" dt="2021-07-27T20:02:16.541" v="565"/>
          <ac:spMkLst>
            <pc:docMk/>
            <pc:sldMk cId="2538660200" sldId="896"/>
            <ac:spMk id="131" creationId="{A6302B4E-389A-45CA-BED6-A9BF6B11EFD9}"/>
          </ac:spMkLst>
        </pc:spChg>
        <pc:spChg chg="mod">
          <ac:chgData name="Klara Hinze" userId="216d571a76224879" providerId="LiveId" clId="{DD85E389-4DC1-4302-BB19-9C64E6D761A6}" dt="2021-07-27T20:02:16.541" v="565"/>
          <ac:spMkLst>
            <pc:docMk/>
            <pc:sldMk cId="2538660200" sldId="896"/>
            <ac:spMk id="133" creationId="{CD649E76-CF93-449C-A3B2-C5A68594298A}"/>
          </ac:spMkLst>
        </pc:spChg>
        <pc:spChg chg="mod">
          <ac:chgData name="Klara Hinze" userId="216d571a76224879" providerId="LiveId" clId="{DD85E389-4DC1-4302-BB19-9C64E6D761A6}" dt="2021-07-27T20:02:16.541" v="565"/>
          <ac:spMkLst>
            <pc:docMk/>
            <pc:sldMk cId="2538660200" sldId="896"/>
            <ac:spMk id="135" creationId="{A716BD57-4EB1-4779-8D69-481F8A05B42D}"/>
          </ac:spMkLst>
        </pc:spChg>
        <pc:spChg chg="mod">
          <ac:chgData name="Klara Hinze" userId="216d571a76224879" providerId="LiveId" clId="{DD85E389-4DC1-4302-BB19-9C64E6D761A6}" dt="2021-07-27T20:02:16.541" v="565"/>
          <ac:spMkLst>
            <pc:docMk/>
            <pc:sldMk cId="2538660200" sldId="896"/>
            <ac:spMk id="137" creationId="{70EEBABB-9B66-41C8-8D5B-3DB825792E17}"/>
          </ac:spMkLst>
        </pc:spChg>
        <pc:spChg chg="mod">
          <ac:chgData name="Klara Hinze" userId="216d571a76224879" providerId="LiveId" clId="{DD85E389-4DC1-4302-BB19-9C64E6D761A6}" dt="2021-07-27T20:02:16.541" v="565"/>
          <ac:spMkLst>
            <pc:docMk/>
            <pc:sldMk cId="2538660200" sldId="896"/>
            <ac:spMk id="138" creationId="{84A4B27D-AF5C-441D-B9CC-DCF85667C3BA}"/>
          </ac:spMkLst>
        </pc:spChg>
        <pc:spChg chg="mod">
          <ac:chgData name="Klara Hinze" userId="216d571a76224879" providerId="LiveId" clId="{DD85E389-4DC1-4302-BB19-9C64E6D761A6}" dt="2021-07-27T20:02:16.541" v="565"/>
          <ac:spMkLst>
            <pc:docMk/>
            <pc:sldMk cId="2538660200" sldId="896"/>
            <ac:spMk id="139" creationId="{A54D6214-9D02-4572-B8BA-598146AF0FAF}"/>
          </ac:spMkLst>
        </pc:spChg>
        <pc:spChg chg="mod">
          <ac:chgData name="Klara Hinze" userId="216d571a76224879" providerId="LiveId" clId="{DD85E389-4DC1-4302-BB19-9C64E6D761A6}" dt="2021-07-27T20:02:16.541" v="565"/>
          <ac:spMkLst>
            <pc:docMk/>
            <pc:sldMk cId="2538660200" sldId="896"/>
            <ac:spMk id="140" creationId="{5334F53D-8085-400C-868C-A05A288653C7}"/>
          </ac:spMkLst>
        </pc:spChg>
        <pc:spChg chg="mod">
          <ac:chgData name="Klara Hinze" userId="216d571a76224879" providerId="LiveId" clId="{DD85E389-4DC1-4302-BB19-9C64E6D761A6}" dt="2021-07-27T20:02:16.541" v="565"/>
          <ac:spMkLst>
            <pc:docMk/>
            <pc:sldMk cId="2538660200" sldId="896"/>
            <ac:spMk id="141" creationId="{1B5D6055-5775-4E70-A9E4-7CBBAAC8CAD3}"/>
          </ac:spMkLst>
        </pc:spChg>
        <pc:spChg chg="mod">
          <ac:chgData name="Klara Hinze" userId="216d571a76224879" providerId="LiveId" clId="{DD85E389-4DC1-4302-BB19-9C64E6D761A6}" dt="2021-07-27T20:02:16.541" v="565"/>
          <ac:spMkLst>
            <pc:docMk/>
            <pc:sldMk cId="2538660200" sldId="896"/>
            <ac:spMk id="142" creationId="{B6E4D2AB-565D-4BC2-B229-D6977AC0794E}"/>
          </ac:spMkLst>
        </pc:spChg>
        <pc:spChg chg="mod">
          <ac:chgData name="Klara Hinze" userId="216d571a76224879" providerId="LiveId" clId="{DD85E389-4DC1-4302-BB19-9C64E6D761A6}" dt="2021-07-27T20:02:16.541" v="565"/>
          <ac:spMkLst>
            <pc:docMk/>
            <pc:sldMk cId="2538660200" sldId="896"/>
            <ac:spMk id="143" creationId="{9A38C905-A173-4348-A29E-53BA87B6770D}"/>
          </ac:spMkLst>
        </pc:spChg>
        <pc:spChg chg="mod">
          <ac:chgData name="Klara Hinze" userId="216d571a76224879" providerId="LiveId" clId="{DD85E389-4DC1-4302-BB19-9C64E6D761A6}" dt="2021-07-27T20:02:16.541" v="565"/>
          <ac:spMkLst>
            <pc:docMk/>
            <pc:sldMk cId="2538660200" sldId="896"/>
            <ac:spMk id="144" creationId="{4C73534E-A736-4E0A-B95C-9D63AAE26574}"/>
          </ac:spMkLst>
        </pc:spChg>
        <pc:spChg chg="mod">
          <ac:chgData name="Klara Hinze" userId="216d571a76224879" providerId="LiveId" clId="{DD85E389-4DC1-4302-BB19-9C64E6D761A6}" dt="2021-07-27T20:02:16.541" v="565"/>
          <ac:spMkLst>
            <pc:docMk/>
            <pc:sldMk cId="2538660200" sldId="896"/>
            <ac:spMk id="145" creationId="{D4CC4A82-2685-4AFD-8D6C-D6F62C449C4C}"/>
          </ac:spMkLst>
        </pc:spChg>
        <pc:spChg chg="mod">
          <ac:chgData name="Klara Hinze" userId="216d571a76224879" providerId="LiveId" clId="{DD85E389-4DC1-4302-BB19-9C64E6D761A6}" dt="2021-07-27T20:02:16.541" v="565"/>
          <ac:spMkLst>
            <pc:docMk/>
            <pc:sldMk cId="2538660200" sldId="896"/>
            <ac:spMk id="146" creationId="{71F3D96C-182E-4D19-9110-44694B7D3959}"/>
          </ac:spMkLst>
        </pc:spChg>
        <pc:spChg chg="mod">
          <ac:chgData name="Klara Hinze" userId="216d571a76224879" providerId="LiveId" clId="{DD85E389-4DC1-4302-BB19-9C64E6D761A6}" dt="2021-07-27T20:02:16.541" v="565"/>
          <ac:spMkLst>
            <pc:docMk/>
            <pc:sldMk cId="2538660200" sldId="896"/>
            <ac:spMk id="147" creationId="{62CE0C02-53E7-436E-8937-8511E31BDDFE}"/>
          </ac:spMkLst>
        </pc:spChg>
        <pc:spChg chg="mod">
          <ac:chgData name="Klara Hinze" userId="216d571a76224879" providerId="LiveId" clId="{DD85E389-4DC1-4302-BB19-9C64E6D761A6}" dt="2021-07-27T20:02:16.541" v="565"/>
          <ac:spMkLst>
            <pc:docMk/>
            <pc:sldMk cId="2538660200" sldId="896"/>
            <ac:spMk id="148" creationId="{81DED711-0EE6-4408-9D33-5CFD0229ACEE}"/>
          </ac:spMkLst>
        </pc:spChg>
        <pc:spChg chg="mod">
          <ac:chgData name="Klara Hinze" userId="216d571a76224879" providerId="LiveId" clId="{DD85E389-4DC1-4302-BB19-9C64E6D761A6}" dt="2021-07-27T20:02:16.541" v="565"/>
          <ac:spMkLst>
            <pc:docMk/>
            <pc:sldMk cId="2538660200" sldId="896"/>
            <ac:spMk id="149" creationId="{90CD24E2-0CD0-4055-96BA-31167056FE5C}"/>
          </ac:spMkLst>
        </pc:spChg>
        <pc:spChg chg="mod">
          <ac:chgData name="Klara Hinze" userId="216d571a76224879" providerId="LiveId" clId="{DD85E389-4DC1-4302-BB19-9C64E6D761A6}" dt="2021-07-27T20:02:16.541" v="565"/>
          <ac:spMkLst>
            <pc:docMk/>
            <pc:sldMk cId="2538660200" sldId="896"/>
            <ac:spMk id="150" creationId="{953D383C-DB3C-41E5-A126-DFB462B05B45}"/>
          </ac:spMkLst>
        </pc:spChg>
        <pc:spChg chg="mod">
          <ac:chgData name="Klara Hinze" userId="216d571a76224879" providerId="LiveId" clId="{DD85E389-4DC1-4302-BB19-9C64E6D761A6}" dt="2021-07-27T20:02:16.541" v="565"/>
          <ac:spMkLst>
            <pc:docMk/>
            <pc:sldMk cId="2538660200" sldId="896"/>
            <ac:spMk id="151" creationId="{3AAADFC0-BB53-4DE7-AD19-F69B8A687719}"/>
          </ac:spMkLst>
        </pc:spChg>
        <pc:spChg chg="mod">
          <ac:chgData name="Klara Hinze" userId="216d571a76224879" providerId="LiveId" clId="{DD85E389-4DC1-4302-BB19-9C64E6D761A6}" dt="2021-07-27T20:02:16.541" v="565"/>
          <ac:spMkLst>
            <pc:docMk/>
            <pc:sldMk cId="2538660200" sldId="896"/>
            <ac:spMk id="152" creationId="{1F1E9AA1-574E-4CB8-80A4-509C52DA1466}"/>
          </ac:spMkLst>
        </pc:spChg>
        <pc:spChg chg="mod">
          <ac:chgData name="Klara Hinze" userId="216d571a76224879" providerId="LiveId" clId="{DD85E389-4DC1-4302-BB19-9C64E6D761A6}" dt="2021-07-27T20:02:16.541" v="565"/>
          <ac:spMkLst>
            <pc:docMk/>
            <pc:sldMk cId="2538660200" sldId="896"/>
            <ac:spMk id="153" creationId="{68F5F0EA-3F3E-4BE0-9792-5322D2C53B16}"/>
          </ac:spMkLst>
        </pc:spChg>
        <pc:spChg chg="mod">
          <ac:chgData name="Klara Hinze" userId="216d571a76224879" providerId="LiveId" clId="{DD85E389-4DC1-4302-BB19-9C64E6D761A6}" dt="2021-07-27T20:02:16.541" v="565"/>
          <ac:spMkLst>
            <pc:docMk/>
            <pc:sldMk cId="2538660200" sldId="896"/>
            <ac:spMk id="156" creationId="{D8FE914E-B248-44CA-890B-F094875E06DB}"/>
          </ac:spMkLst>
        </pc:spChg>
        <pc:spChg chg="mod">
          <ac:chgData name="Klara Hinze" userId="216d571a76224879" providerId="LiveId" clId="{DD85E389-4DC1-4302-BB19-9C64E6D761A6}" dt="2021-07-27T20:02:16.541" v="565"/>
          <ac:spMkLst>
            <pc:docMk/>
            <pc:sldMk cId="2538660200" sldId="896"/>
            <ac:spMk id="158" creationId="{23E29967-5859-47BB-84E5-987F21DDAF79}"/>
          </ac:spMkLst>
        </pc:spChg>
        <pc:spChg chg="mod">
          <ac:chgData name="Klara Hinze" userId="216d571a76224879" providerId="LiveId" clId="{DD85E389-4DC1-4302-BB19-9C64E6D761A6}" dt="2021-07-27T20:02:16.541" v="565"/>
          <ac:spMkLst>
            <pc:docMk/>
            <pc:sldMk cId="2538660200" sldId="896"/>
            <ac:spMk id="159" creationId="{EBD496DD-4968-42ED-8255-C8009C888236}"/>
          </ac:spMkLst>
        </pc:spChg>
        <pc:spChg chg="mod">
          <ac:chgData name="Klara Hinze" userId="216d571a76224879" providerId="LiveId" clId="{DD85E389-4DC1-4302-BB19-9C64E6D761A6}" dt="2021-07-27T20:02:16.541" v="565"/>
          <ac:spMkLst>
            <pc:docMk/>
            <pc:sldMk cId="2538660200" sldId="896"/>
            <ac:spMk id="160" creationId="{CD664A82-43B7-41F3-875B-391788ECFF94}"/>
          </ac:spMkLst>
        </pc:spChg>
        <pc:spChg chg="mod">
          <ac:chgData name="Klara Hinze" userId="216d571a76224879" providerId="LiveId" clId="{DD85E389-4DC1-4302-BB19-9C64E6D761A6}" dt="2021-07-27T20:02:16.541" v="565"/>
          <ac:spMkLst>
            <pc:docMk/>
            <pc:sldMk cId="2538660200" sldId="896"/>
            <ac:spMk id="161" creationId="{912A6058-79F1-4AAC-B79E-A9C4F9EAB071}"/>
          </ac:spMkLst>
        </pc:spChg>
        <pc:spChg chg="mod">
          <ac:chgData name="Klara Hinze" userId="216d571a76224879" providerId="LiveId" clId="{DD85E389-4DC1-4302-BB19-9C64E6D761A6}" dt="2021-07-27T20:02:16.541" v="565"/>
          <ac:spMkLst>
            <pc:docMk/>
            <pc:sldMk cId="2538660200" sldId="896"/>
            <ac:spMk id="162" creationId="{50704205-2E73-41FC-B689-A0CB4EDB0815}"/>
          </ac:spMkLst>
        </pc:spChg>
        <pc:spChg chg="mod">
          <ac:chgData name="Klara Hinze" userId="216d571a76224879" providerId="LiveId" clId="{DD85E389-4DC1-4302-BB19-9C64E6D761A6}" dt="2021-07-27T20:02:16.541" v="565"/>
          <ac:spMkLst>
            <pc:docMk/>
            <pc:sldMk cId="2538660200" sldId="896"/>
            <ac:spMk id="163" creationId="{4CA80687-8CDF-4156-92F2-F33B1FD25D98}"/>
          </ac:spMkLst>
        </pc:spChg>
        <pc:spChg chg="mod">
          <ac:chgData name="Klara Hinze" userId="216d571a76224879" providerId="LiveId" clId="{DD85E389-4DC1-4302-BB19-9C64E6D761A6}" dt="2021-07-27T20:02:16.541" v="565"/>
          <ac:spMkLst>
            <pc:docMk/>
            <pc:sldMk cId="2538660200" sldId="896"/>
            <ac:spMk id="164" creationId="{8C9DBF93-2736-4E3E-BE12-71B862A88D1A}"/>
          </ac:spMkLst>
        </pc:spChg>
        <pc:spChg chg="mod">
          <ac:chgData name="Klara Hinze" userId="216d571a76224879" providerId="LiveId" clId="{DD85E389-4DC1-4302-BB19-9C64E6D761A6}" dt="2021-07-27T20:02:16.541" v="565"/>
          <ac:spMkLst>
            <pc:docMk/>
            <pc:sldMk cId="2538660200" sldId="896"/>
            <ac:spMk id="165" creationId="{D320178A-6FA7-4F83-AC59-58B33DC0B269}"/>
          </ac:spMkLst>
        </pc:spChg>
        <pc:spChg chg="mod">
          <ac:chgData name="Klara Hinze" userId="216d571a76224879" providerId="LiveId" clId="{DD85E389-4DC1-4302-BB19-9C64E6D761A6}" dt="2021-07-27T20:02:16.541" v="565"/>
          <ac:spMkLst>
            <pc:docMk/>
            <pc:sldMk cId="2538660200" sldId="896"/>
            <ac:spMk id="166" creationId="{28F58281-CAD7-4C3D-9E75-A12AFAF5A491}"/>
          </ac:spMkLst>
        </pc:spChg>
        <pc:spChg chg="mod">
          <ac:chgData name="Klara Hinze" userId="216d571a76224879" providerId="LiveId" clId="{DD85E389-4DC1-4302-BB19-9C64E6D761A6}" dt="2021-07-27T20:02:16.541" v="565"/>
          <ac:spMkLst>
            <pc:docMk/>
            <pc:sldMk cId="2538660200" sldId="896"/>
            <ac:spMk id="167" creationId="{0510860F-505A-498F-8EDD-E0201F805539}"/>
          </ac:spMkLst>
        </pc:spChg>
        <pc:spChg chg="mod">
          <ac:chgData name="Klara Hinze" userId="216d571a76224879" providerId="LiveId" clId="{DD85E389-4DC1-4302-BB19-9C64E6D761A6}" dt="2021-07-27T20:02:16.541" v="565"/>
          <ac:spMkLst>
            <pc:docMk/>
            <pc:sldMk cId="2538660200" sldId="896"/>
            <ac:spMk id="168" creationId="{6311B4A2-1142-4DC7-A4C1-4B029B2A9238}"/>
          </ac:spMkLst>
        </pc:spChg>
        <pc:spChg chg="mod">
          <ac:chgData name="Klara Hinze" userId="216d571a76224879" providerId="LiveId" clId="{DD85E389-4DC1-4302-BB19-9C64E6D761A6}" dt="2021-07-27T20:02:16.541" v="565"/>
          <ac:spMkLst>
            <pc:docMk/>
            <pc:sldMk cId="2538660200" sldId="896"/>
            <ac:spMk id="169" creationId="{0A68AF79-AC57-4765-A047-17C280344391}"/>
          </ac:spMkLst>
        </pc:spChg>
        <pc:spChg chg="mod">
          <ac:chgData name="Klara Hinze" userId="216d571a76224879" providerId="LiveId" clId="{DD85E389-4DC1-4302-BB19-9C64E6D761A6}" dt="2021-07-27T20:02:16.541" v="565"/>
          <ac:spMkLst>
            <pc:docMk/>
            <pc:sldMk cId="2538660200" sldId="896"/>
            <ac:spMk id="170" creationId="{C45FD4D7-65CB-473F-AD29-BCA65CB80EDE}"/>
          </ac:spMkLst>
        </pc:spChg>
        <pc:spChg chg="mod">
          <ac:chgData name="Klara Hinze" userId="216d571a76224879" providerId="LiveId" clId="{DD85E389-4DC1-4302-BB19-9C64E6D761A6}" dt="2021-07-27T20:02:16.541" v="565"/>
          <ac:spMkLst>
            <pc:docMk/>
            <pc:sldMk cId="2538660200" sldId="896"/>
            <ac:spMk id="171" creationId="{0E8EA557-AD41-4024-8F87-EF9B3FFFFBDF}"/>
          </ac:spMkLst>
        </pc:spChg>
        <pc:spChg chg="mod">
          <ac:chgData name="Klara Hinze" userId="216d571a76224879" providerId="LiveId" clId="{DD85E389-4DC1-4302-BB19-9C64E6D761A6}" dt="2021-07-27T20:02:16.541" v="565"/>
          <ac:spMkLst>
            <pc:docMk/>
            <pc:sldMk cId="2538660200" sldId="896"/>
            <ac:spMk id="172" creationId="{E316758C-B63E-40A2-9146-BDEE624431F5}"/>
          </ac:spMkLst>
        </pc:spChg>
        <pc:spChg chg="mod">
          <ac:chgData name="Klara Hinze" userId="216d571a76224879" providerId="LiveId" clId="{DD85E389-4DC1-4302-BB19-9C64E6D761A6}" dt="2021-07-27T20:02:16.541" v="565"/>
          <ac:spMkLst>
            <pc:docMk/>
            <pc:sldMk cId="2538660200" sldId="896"/>
            <ac:spMk id="173" creationId="{6BE309D2-AF8F-4EE8-B7BE-BBF7497F033B}"/>
          </ac:spMkLst>
        </pc:spChg>
        <pc:spChg chg="mod">
          <ac:chgData name="Klara Hinze" userId="216d571a76224879" providerId="LiveId" clId="{DD85E389-4DC1-4302-BB19-9C64E6D761A6}" dt="2021-07-27T20:02:16.541" v="565"/>
          <ac:spMkLst>
            <pc:docMk/>
            <pc:sldMk cId="2538660200" sldId="896"/>
            <ac:spMk id="174" creationId="{BC9CA8C7-7C15-4CB3-9406-875590DD6276}"/>
          </ac:spMkLst>
        </pc:spChg>
        <pc:spChg chg="mod">
          <ac:chgData name="Klara Hinze" userId="216d571a76224879" providerId="LiveId" clId="{DD85E389-4DC1-4302-BB19-9C64E6D761A6}" dt="2021-07-27T20:02:16.541" v="565"/>
          <ac:spMkLst>
            <pc:docMk/>
            <pc:sldMk cId="2538660200" sldId="896"/>
            <ac:spMk id="176" creationId="{74FAF79A-5196-497C-A7A4-DAF16F8913F3}"/>
          </ac:spMkLst>
        </pc:spChg>
        <pc:spChg chg="mod">
          <ac:chgData name="Klara Hinze" userId="216d571a76224879" providerId="LiveId" clId="{DD85E389-4DC1-4302-BB19-9C64E6D761A6}" dt="2021-07-27T20:02:16.541" v="565"/>
          <ac:spMkLst>
            <pc:docMk/>
            <pc:sldMk cId="2538660200" sldId="896"/>
            <ac:spMk id="179" creationId="{58ADA7A6-4053-4963-8D47-32910013BC42}"/>
          </ac:spMkLst>
        </pc:spChg>
        <pc:spChg chg="mod">
          <ac:chgData name="Klara Hinze" userId="216d571a76224879" providerId="LiveId" clId="{DD85E389-4DC1-4302-BB19-9C64E6D761A6}" dt="2021-07-27T20:02:16.541" v="565"/>
          <ac:spMkLst>
            <pc:docMk/>
            <pc:sldMk cId="2538660200" sldId="896"/>
            <ac:spMk id="180" creationId="{6C6ACB4F-05BD-4292-8D1B-F996CF2CEB50}"/>
          </ac:spMkLst>
        </pc:spChg>
        <pc:spChg chg="mod">
          <ac:chgData name="Klara Hinze" userId="216d571a76224879" providerId="LiveId" clId="{DD85E389-4DC1-4302-BB19-9C64E6D761A6}" dt="2021-07-27T20:02:16.541" v="565"/>
          <ac:spMkLst>
            <pc:docMk/>
            <pc:sldMk cId="2538660200" sldId="896"/>
            <ac:spMk id="181" creationId="{49F27DE6-11FF-4F41-A0DC-9EC8FB4F4E92}"/>
          </ac:spMkLst>
        </pc:spChg>
        <pc:spChg chg="mod">
          <ac:chgData name="Klara Hinze" userId="216d571a76224879" providerId="LiveId" clId="{DD85E389-4DC1-4302-BB19-9C64E6D761A6}" dt="2021-07-27T20:02:16.541" v="565"/>
          <ac:spMkLst>
            <pc:docMk/>
            <pc:sldMk cId="2538660200" sldId="896"/>
            <ac:spMk id="182" creationId="{345EC804-F6E0-4472-9124-1B4B7CD8B5AF}"/>
          </ac:spMkLst>
        </pc:spChg>
        <pc:spChg chg="mod">
          <ac:chgData name="Klara Hinze" userId="216d571a76224879" providerId="LiveId" clId="{DD85E389-4DC1-4302-BB19-9C64E6D761A6}" dt="2021-07-27T20:02:16.541" v="565"/>
          <ac:spMkLst>
            <pc:docMk/>
            <pc:sldMk cId="2538660200" sldId="896"/>
            <ac:spMk id="183" creationId="{7AE6C0A0-ABDF-4181-8532-F1871196759F}"/>
          </ac:spMkLst>
        </pc:spChg>
        <pc:spChg chg="mod">
          <ac:chgData name="Klara Hinze" userId="216d571a76224879" providerId="LiveId" clId="{DD85E389-4DC1-4302-BB19-9C64E6D761A6}" dt="2021-07-27T20:02:16.541" v="565"/>
          <ac:spMkLst>
            <pc:docMk/>
            <pc:sldMk cId="2538660200" sldId="896"/>
            <ac:spMk id="186" creationId="{41847C2A-E7B0-4978-A440-E3B4E8279CD9}"/>
          </ac:spMkLst>
        </pc:spChg>
        <pc:spChg chg="mod">
          <ac:chgData name="Klara Hinze" userId="216d571a76224879" providerId="LiveId" clId="{DD85E389-4DC1-4302-BB19-9C64E6D761A6}" dt="2021-07-27T20:02:16.541" v="565"/>
          <ac:spMkLst>
            <pc:docMk/>
            <pc:sldMk cId="2538660200" sldId="896"/>
            <ac:spMk id="187" creationId="{9F9B9FBD-854D-4922-96AF-F6EE71D34FD2}"/>
          </ac:spMkLst>
        </pc:spChg>
        <pc:spChg chg="mod">
          <ac:chgData name="Klara Hinze" userId="216d571a76224879" providerId="LiveId" clId="{DD85E389-4DC1-4302-BB19-9C64E6D761A6}" dt="2021-07-27T20:02:41.323" v="574" actId="14100"/>
          <ac:spMkLst>
            <pc:docMk/>
            <pc:sldMk cId="2538660200" sldId="896"/>
            <ac:spMk id="335" creationId="{F2C9323C-1640-4B0B-A532-EC515C2C4724}"/>
          </ac:spMkLst>
        </pc:spChg>
        <pc:spChg chg="mod">
          <ac:chgData name="Klara Hinze" userId="216d571a76224879" providerId="LiveId" clId="{DD85E389-4DC1-4302-BB19-9C64E6D761A6}" dt="2021-07-27T18:31:24.552" v="68" actId="20577"/>
          <ac:spMkLst>
            <pc:docMk/>
            <pc:sldMk cId="2538660200" sldId="896"/>
            <ac:spMk id="338" creationId="{C9423AF3-8320-450C-84A0-6AB131758945}"/>
          </ac:spMkLst>
        </pc:spChg>
        <pc:spChg chg="mod">
          <ac:chgData name="Klara Hinze" userId="216d571a76224879" providerId="LiveId" clId="{DD85E389-4DC1-4302-BB19-9C64E6D761A6}" dt="2021-07-27T20:02:10.823" v="564" actId="20577"/>
          <ac:spMkLst>
            <pc:docMk/>
            <pc:sldMk cId="2538660200" sldId="896"/>
            <ac:spMk id="422" creationId="{D8D1D3A0-F7FD-440E-96A3-8944EAFEF199}"/>
          </ac:spMkLst>
        </pc:spChg>
        <pc:grpChg chg="add del mod">
          <ac:chgData name="Klara Hinze" userId="216d571a76224879" providerId="LiveId" clId="{DD85E389-4DC1-4302-BB19-9C64E6D761A6}" dt="2021-07-27T20:02:20.530" v="568"/>
          <ac:grpSpMkLst>
            <pc:docMk/>
            <pc:sldMk cId="2538660200" sldId="896"/>
            <ac:grpSpMk id="97" creationId="{BE8FA704-E7A0-4C70-B9D4-161A9DCDE1ED}"/>
          </ac:grpSpMkLst>
        </pc:grpChg>
        <pc:grpChg chg="mod">
          <ac:chgData name="Klara Hinze" userId="216d571a76224879" providerId="LiveId" clId="{DD85E389-4DC1-4302-BB19-9C64E6D761A6}" dt="2021-07-27T20:02:16.541" v="565"/>
          <ac:grpSpMkLst>
            <pc:docMk/>
            <pc:sldMk cId="2538660200" sldId="896"/>
            <ac:grpSpMk id="103" creationId="{18612CD3-9F5E-4B5F-B49C-7E2B4B73CF71}"/>
          </ac:grpSpMkLst>
        </pc:grpChg>
        <pc:grpChg chg="mod">
          <ac:chgData name="Klara Hinze" userId="216d571a76224879" providerId="LiveId" clId="{DD85E389-4DC1-4302-BB19-9C64E6D761A6}" dt="2021-07-27T20:02:16.541" v="565"/>
          <ac:grpSpMkLst>
            <pc:docMk/>
            <pc:sldMk cId="2538660200" sldId="896"/>
            <ac:grpSpMk id="104" creationId="{63A12DC5-8232-45D3-BCED-D5704345E3F5}"/>
          </ac:grpSpMkLst>
        </pc:grpChg>
        <pc:grpChg chg="mod">
          <ac:chgData name="Klara Hinze" userId="216d571a76224879" providerId="LiveId" clId="{DD85E389-4DC1-4302-BB19-9C64E6D761A6}" dt="2021-07-27T20:02:16.541" v="565"/>
          <ac:grpSpMkLst>
            <pc:docMk/>
            <pc:sldMk cId="2538660200" sldId="896"/>
            <ac:grpSpMk id="128" creationId="{FD727962-E054-45C5-8F67-6E362F50917F}"/>
          </ac:grpSpMkLst>
        </pc:grpChg>
        <pc:grpChg chg="mod">
          <ac:chgData name="Klara Hinze" userId="216d571a76224879" providerId="LiveId" clId="{DD85E389-4DC1-4302-BB19-9C64E6D761A6}" dt="2021-07-27T20:02:16.541" v="565"/>
          <ac:grpSpMkLst>
            <pc:docMk/>
            <pc:sldMk cId="2538660200" sldId="896"/>
            <ac:grpSpMk id="132" creationId="{CC211599-034F-49DE-8672-B699F61A3871}"/>
          </ac:grpSpMkLst>
        </pc:grpChg>
        <pc:grpChg chg="mod">
          <ac:chgData name="Klara Hinze" userId="216d571a76224879" providerId="LiveId" clId="{DD85E389-4DC1-4302-BB19-9C64E6D761A6}" dt="2021-07-27T20:02:16.541" v="565"/>
          <ac:grpSpMkLst>
            <pc:docMk/>
            <pc:sldMk cId="2538660200" sldId="896"/>
            <ac:grpSpMk id="154" creationId="{5B212818-BF77-40A2-B9B8-609450EA272B}"/>
          </ac:grpSpMkLst>
        </pc:grpChg>
        <pc:grpChg chg="mod">
          <ac:chgData name="Klara Hinze" userId="216d571a76224879" providerId="LiveId" clId="{DD85E389-4DC1-4302-BB19-9C64E6D761A6}" dt="2021-07-27T20:02:16.541" v="565"/>
          <ac:grpSpMkLst>
            <pc:docMk/>
            <pc:sldMk cId="2538660200" sldId="896"/>
            <ac:grpSpMk id="155" creationId="{5074AA2B-1B32-42BC-A91A-899CEE5C1CCD}"/>
          </ac:grpSpMkLst>
        </pc:grpChg>
        <pc:grpChg chg="mod">
          <ac:chgData name="Klara Hinze" userId="216d571a76224879" providerId="LiveId" clId="{DD85E389-4DC1-4302-BB19-9C64E6D761A6}" dt="2021-07-27T20:02:16.541" v="565"/>
          <ac:grpSpMkLst>
            <pc:docMk/>
            <pc:sldMk cId="2538660200" sldId="896"/>
            <ac:grpSpMk id="178" creationId="{E8992502-2CD4-4AB5-96A1-D8D19F9E0C2F}"/>
          </ac:grpSpMkLst>
        </pc:grpChg>
        <pc:picChg chg="add mod ord">
          <ac:chgData name="Klara Hinze" userId="216d571a76224879" providerId="LiveId" clId="{DD85E389-4DC1-4302-BB19-9C64E6D761A6}" dt="2021-07-27T20:02:34.181" v="573" actId="1076"/>
          <ac:picMkLst>
            <pc:docMk/>
            <pc:sldMk cId="2538660200" sldId="896"/>
            <ac:picMk id="6" creationId="{CCDC948E-9EB6-485B-A98B-ABA7F0558620}"/>
          </ac:picMkLst>
        </pc:picChg>
        <pc:picChg chg="del">
          <ac:chgData name="Klara Hinze" userId="216d571a76224879" providerId="LiveId" clId="{DD85E389-4DC1-4302-BB19-9C64E6D761A6}" dt="2021-07-27T20:01:39.959" v="527" actId="478"/>
          <ac:picMkLst>
            <pc:docMk/>
            <pc:sldMk cId="2538660200" sldId="896"/>
            <ac:picMk id="13" creationId="{0BFF96DE-EB43-40FE-8E62-60291AD40BA3}"/>
          </ac:picMkLst>
        </pc:picChg>
        <pc:picChg chg="mod">
          <ac:chgData name="Klara Hinze" userId="216d571a76224879" providerId="LiveId" clId="{DD85E389-4DC1-4302-BB19-9C64E6D761A6}" dt="2021-07-27T20:02:16.541" v="565"/>
          <ac:picMkLst>
            <pc:docMk/>
            <pc:sldMk cId="2538660200" sldId="896"/>
            <ac:picMk id="125" creationId="{1D277CEB-9292-4764-AB7F-733A372F1B12}"/>
          </ac:picMkLst>
        </pc:picChg>
        <pc:picChg chg="mod">
          <ac:chgData name="Klara Hinze" userId="216d571a76224879" providerId="LiveId" clId="{DD85E389-4DC1-4302-BB19-9C64E6D761A6}" dt="2021-07-27T20:02:16.541" v="565"/>
          <ac:picMkLst>
            <pc:docMk/>
            <pc:sldMk cId="2538660200" sldId="896"/>
            <ac:picMk id="127" creationId="{D4691A05-BCC2-43F9-8219-F67CB7251058}"/>
          </ac:picMkLst>
        </pc:picChg>
        <pc:picChg chg="mod">
          <ac:chgData name="Klara Hinze" userId="216d571a76224879" providerId="LiveId" clId="{DD85E389-4DC1-4302-BB19-9C64E6D761A6}" dt="2021-07-27T20:02:16.541" v="565"/>
          <ac:picMkLst>
            <pc:docMk/>
            <pc:sldMk cId="2538660200" sldId="896"/>
            <ac:picMk id="130" creationId="{C72F9DAA-31FF-4395-8309-E0982183B6D2}"/>
          </ac:picMkLst>
        </pc:picChg>
        <pc:picChg chg="mod">
          <ac:chgData name="Klara Hinze" userId="216d571a76224879" providerId="LiveId" clId="{DD85E389-4DC1-4302-BB19-9C64E6D761A6}" dt="2021-07-27T20:02:16.541" v="565"/>
          <ac:picMkLst>
            <pc:docMk/>
            <pc:sldMk cId="2538660200" sldId="896"/>
            <ac:picMk id="134" creationId="{923896A7-483E-46E3-9223-BCFEF7A4C3A6}"/>
          </ac:picMkLst>
        </pc:picChg>
        <pc:picChg chg="mod">
          <ac:chgData name="Klara Hinze" userId="216d571a76224879" providerId="LiveId" clId="{DD85E389-4DC1-4302-BB19-9C64E6D761A6}" dt="2021-07-27T20:02:16.541" v="565"/>
          <ac:picMkLst>
            <pc:docMk/>
            <pc:sldMk cId="2538660200" sldId="896"/>
            <ac:picMk id="136" creationId="{262F99C6-F6DE-42B1-86EE-E892B07E58F1}"/>
          </ac:picMkLst>
        </pc:picChg>
        <pc:picChg chg="mod">
          <ac:chgData name="Klara Hinze" userId="216d571a76224879" providerId="LiveId" clId="{DD85E389-4DC1-4302-BB19-9C64E6D761A6}" dt="2021-07-27T20:02:16.541" v="565"/>
          <ac:picMkLst>
            <pc:docMk/>
            <pc:sldMk cId="2538660200" sldId="896"/>
            <ac:picMk id="185" creationId="{326DDE9C-8056-4D4C-A0D1-68AB7E860839}"/>
          </ac:picMkLst>
        </pc:picChg>
        <pc:picChg chg="mod">
          <ac:chgData name="Klara Hinze" userId="216d571a76224879" providerId="LiveId" clId="{DD85E389-4DC1-4302-BB19-9C64E6D761A6}" dt="2021-07-27T20:02:16.541" v="565"/>
          <ac:picMkLst>
            <pc:docMk/>
            <pc:sldMk cId="2538660200" sldId="896"/>
            <ac:picMk id="188" creationId="{F5FA9DA3-E69F-422C-9D63-02CF10D4B375}"/>
          </ac:picMkLst>
        </pc:picChg>
        <pc:picChg chg="mod">
          <ac:chgData name="Klara Hinze" userId="216d571a76224879" providerId="LiveId" clId="{DD85E389-4DC1-4302-BB19-9C64E6D761A6}" dt="2021-07-27T20:02:16.541" v="565"/>
          <ac:picMkLst>
            <pc:docMk/>
            <pc:sldMk cId="2538660200" sldId="896"/>
            <ac:picMk id="189" creationId="{EC62B9C5-A836-4767-A3E2-8B45C68BD9B3}"/>
          </ac:picMkLst>
        </pc:picChg>
        <pc:cxnChg chg="mod">
          <ac:chgData name="Klara Hinze" userId="216d571a76224879" providerId="LiveId" clId="{DD85E389-4DC1-4302-BB19-9C64E6D761A6}" dt="2021-07-27T20:02:16.541" v="565"/>
          <ac:cxnSpMkLst>
            <pc:docMk/>
            <pc:sldMk cId="2538660200" sldId="896"/>
            <ac:cxnSpMk id="184" creationId="{9AB9A8B1-D918-4A70-B31E-EC38727B2271}"/>
          </ac:cxnSpMkLst>
        </pc:cxnChg>
      </pc:sldChg>
      <pc:sldChg chg="delSp add mod">
        <pc:chgData name="Klara Hinze" userId="216d571a76224879" providerId="LiveId" clId="{DD85E389-4DC1-4302-BB19-9C64E6D761A6}" dt="2021-07-28T06:52:15.850" v="626" actId="478"/>
        <pc:sldMkLst>
          <pc:docMk/>
          <pc:sldMk cId="969730873" sldId="897"/>
        </pc:sldMkLst>
        <pc:spChg chg="del">
          <ac:chgData name="Klara Hinze" userId="216d571a76224879" providerId="LiveId" clId="{DD85E389-4DC1-4302-BB19-9C64E6D761A6}" dt="2021-07-28T06:52:15.850" v="626" actId="478"/>
          <ac:spMkLst>
            <pc:docMk/>
            <pc:sldMk cId="969730873" sldId="897"/>
            <ac:spMk id="5" creationId="{17C38C5F-2AA8-417F-A513-4BC0C3CE590B}"/>
          </ac:spMkLst>
        </pc:spChg>
      </pc:sldChg>
      <pc:sldChg chg="delSp add mod">
        <pc:chgData name="Klara Hinze" userId="216d571a76224879" providerId="LiveId" clId="{DD85E389-4DC1-4302-BB19-9C64E6D761A6}" dt="2021-07-28T06:52:43.520" v="628" actId="478"/>
        <pc:sldMkLst>
          <pc:docMk/>
          <pc:sldMk cId="1101034083" sldId="898"/>
        </pc:sldMkLst>
        <pc:spChg chg="del">
          <ac:chgData name="Klara Hinze" userId="216d571a76224879" providerId="LiveId" clId="{DD85E389-4DC1-4302-BB19-9C64E6D761A6}" dt="2021-07-28T06:52:43.520" v="628" actId="478"/>
          <ac:spMkLst>
            <pc:docMk/>
            <pc:sldMk cId="1101034083" sldId="898"/>
            <ac:spMk id="35" creationId="{39FA94A8-7EF5-4D90-9CD0-805021780DC7}"/>
          </ac:spMkLst>
        </pc:spChg>
      </pc:sldChg>
      <pc:sldChg chg="add">
        <pc:chgData name="Klara Hinze" userId="216d571a76224879" providerId="LiveId" clId="{DD85E389-4DC1-4302-BB19-9C64E6D761A6}" dt="2021-07-28T06:52:40.155" v="627"/>
        <pc:sldMkLst>
          <pc:docMk/>
          <pc:sldMk cId="2395889925" sldId="899"/>
        </pc:sldMkLst>
      </pc:sldChg>
      <pc:sldChg chg="add">
        <pc:chgData name="Klara Hinze" userId="216d571a76224879" providerId="LiveId" clId="{DD85E389-4DC1-4302-BB19-9C64E6D761A6}" dt="2021-07-28T06:52:40.155" v="627"/>
        <pc:sldMkLst>
          <pc:docMk/>
          <pc:sldMk cId="758491952" sldId="900"/>
        </pc:sldMkLst>
      </pc:sldChg>
      <pc:sldChg chg="modSp add mod">
        <pc:chgData name="Klara Hinze" userId="216d571a76224879" providerId="LiveId" clId="{DD85E389-4DC1-4302-BB19-9C64E6D761A6}" dt="2021-07-28T08:38:47.790" v="986" actId="20577"/>
        <pc:sldMkLst>
          <pc:docMk/>
          <pc:sldMk cId="4291188316" sldId="901"/>
        </pc:sldMkLst>
        <pc:graphicFrameChg chg="modGraphic">
          <ac:chgData name="Klara Hinze" userId="216d571a76224879" providerId="LiveId" clId="{DD85E389-4DC1-4302-BB19-9C64E6D761A6}" dt="2021-07-28T08:38:47.790" v="986" actId="20577"/>
          <ac:graphicFrameMkLst>
            <pc:docMk/>
            <pc:sldMk cId="4291188316" sldId="901"/>
            <ac:graphicFrameMk id="5" creationId="{5F3BA694-6422-40E4-80A3-39942A326F61}"/>
          </ac:graphicFrameMkLst>
        </pc:graphicFrameChg>
      </pc:sldChg>
      <pc:sldChg chg="addSp delSp modSp add mod">
        <pc:chgData name="Klara Hinze" userId="216d571a76224879" providerId="LiveId" clId="{DD85E389-4DC1-4302-BB19-9C64E6D761A6}" dt="2021-07-28T07:04:48.246" v="764"/>
        <pc:sldMkLst>
          <pc:docMk/>
          <pc:sldMk cId="1612864739" sldId="902"/>
        </pc:sldMkLst>
        <pc:spChg chg="mod">
          <ac:chgData name="Klara Hinze" userId="216d571a76224879" providerId="LiveId" clId="{DD85E389-4DC1-4302-BB19-9C64E6D761A6}" dt="2021-07-28T07:03:51.350" v="758"/>
          <ac:spMkLst>
            <pc:docMk/>
            <pc:sldMk cId="1612864739" sldId="902"/>
            <ac:spMk id="5" creationId="{BF07F05B-48FE-4C4F-9895-51ECB454E0A4}"/>
          </ac:spMkLst>
        </pc:spChg>
        <pc:spChg chg="mod">
          <ac:chgData name="Klara Hinze" userId="216d571a76224879" providerId="LiveId" clId="{DD85E389-4DC1-4302-BB19-9C64E6D761A6}" dt="2021-07-28T07:04:08.608" v="760" actId="115"/>
          <ac:spMkLst>
            <pc:docMk/>
            <pc:sldMk cId="1612864739" sldId="902"/>
            <ac:spMk id="6" creationId="{7A74A936-BAD1-48C6-A683-E87E4C2DC88C}"/>
          </ac:spMkLst>
        </pc:spChg>
        <pc:spChg chg="mod">
          <ac:chgData name="Klara Hinze" userId="216d571a76224879" providerId="LiveId" clId="{DD85E389-4DC1-4302-BB19-9C64E6D761A6}" dt="2021-07-28T07:04:39.856" v="763"/>
          <ac:spMkLst>
            <pc:docMk/>
            <pc:sldMk cId="1612864739" sldId="902"/>
            <ac:spMk id="7" creationId="{9E49CA8C-2465-419F-9D36-A473A0668628}"/>
          </ac:spMkLst>
        </pc:spChg>
        <pc:spChg chg="mod">
          <ac:chgData name="Klara Hinze" userId="216d571a76224879" providerId="LiveId" clId="{DD85E389-4DC1-4302-BB19-9C64E6D761A6}" dt="2021-07-28T07:04:20.531" v="761" actId="3626"/>
          <ac:spMkLst>
            <pc:docMk/>
            <pc:sldMk cId="1612864739" sldId="902"/>
            <ac:spMk id="8" creationId="{FBA05B63-FBB5-4073-8018-EC33D54F0D26}"/>
          </ac:spMkLst>
        </pc:spChg>
        <pc:spChg chg="mod">
          <ac:chgData name="Klara Hinze" userId="216d571a76224879" providerId="LiveId" clId="{DD85E389-4DC1-4302-BB19-9C64E6D761A6}" dt="2021-07-28T07:04:48.246" v="764"/>
          <ac:spMkLst>
            <pc:docMk/>
            <pc:sldMk cId="1612864739" sldId="902"/>
            <ac:spMk id="9" creationId="{1CEEB0FB-6034-4F36-8EA1-5241E8126A43}"/>
          </ac:spMkLst>
        </pc:spChg>
        <pc:spChg chg="mod">
          <ac:chgData name="Klara Hinze" userId="216d571a76224879" providerId="LiveId" clId="{DD85E389-4DC1-4302-BB19-9C64E6D761A6}" dt="2021-07-28T07:04:25.454" v="762" actId="3626"/>
          <ac:spMkLst>
            <pc:docMk/>
            <pc:sldMk cId="1612864739" sldId="902"/>
            <ac:spMk id="10" creationId="{B59AFAB5-5567-44F1-957E-EDDB6F969A2C}"/>
          </ac:spMkLst>
        </pc:spChg>
        <pc:spChg chg="del">
          <ac:chgData name="Klara Hinze" userId="216d571a76224879" providerId="LiveId" clId="{DD85E389-4DC1-4302-BB19-9C64E6D761A6}" dt="2021-07-28T06:53:31.918" v="633" actId="478"/>
          <ac:spMkLst>
            <pc:docMk/>
            <pc:sldMk cId="1612864739" sldId="902"/>
            <ac:spMk id="11" creationId="{F2C7B4BC-C7D1-4806-802E-36051C2A8944}"/>
          </ac:spMkLst>
        </pc:spChg>
        <pc:graphicFrameChg chg="add del mod ord modGraphic">
          <ac:chgData name="Klara Hinze" userId="216d571a76224879" providerId="LiveId" clId="{DD85E389-4DC1-4302-BB19-9C64E6D761A6}" dt="2021-07-28T06:56:59.593" v="669" actId="478"/>
          <ac:graphicFrameMkLst>
            <pc:docMk/>
            <pc:sldMk cId="1612864739" sldId="902"/>
            <ac:graphicFrameMk id="12" creationId="{97C69CD1-C6DF-425F-B09F-DECE9D44DF79}"/>
          </ac:graphicFrameMkLst>
        </pc:graphicFrameChg>
      </pc:sldChg>
      <pc:sldChg chg="addSp delSp modSp add mod">
        <pc:chgData name="Klara Hinze" userId="216d571a76224879" providerId="LiveId" clId="{DD85E389-4DC1-4302-BB19-9C64E6D761A6}" dt="2021-07-28T07:07:52.565" v="781"/>
        <pc:sldMkLst>
          <pc:docMk/>
          <pc:sldMk cId="1394535963" sldId="903"/>
        </pc:sldMkLst>
        <pc:spChg chg="del">
          <ac:chgData name="Klara Hinze" userId="216d571a76224879" providerId="LiveId" clId="{DD85E389-4DC1-4302-BB19-9C64E6D761A6}" dt="2021-07-28T06:53:36.955" v="634" actId="478"/>
          <ac:spMkLst>
            <pc:docMk/>
            <pc:sldMk cId="1394535963" sldId="903"/>
            <ac:spMk id="12" creationId="{0D5EE1CA-65FA-436F-8E4F-52C116B77E6E}"/>
          </ac:spMkLst>
        </pc:spChg>
        <pc:spChg chg="add del mod">
          <ac:chgData name="Klara Hinze" userId="216d571a76224879" providerId="LiveId" clId="{DD85E389-4DC1-4302-BB19-9C64E6D761A6}" dt="2021-07-28T07:07:47.970" v="780" actId="478"/>
          <ac:spMkLst>
            <pc:docMk/>
            <pc:sldMk cId="1394535963" sldId="903"/>
            <ac:spMk id="14" creationId="{D6F377F3-2D11-45D9-98C4-B4BB82D94475}"/>
          </ac:spMkLst>
        </pc:spChg>
        <pc:spChg chg="add mod">
          <ac:chgData name="Klara Hinze" userId="216d571a76224879" providerId="LiveId" clId="{DD85E389-4DC1-4302-BB19-9C64E6D761A6}" dt="2021-07-28T07:07:52.565" v="781"/>
          <ac:spMkLst>
            <pc:docMk/>
            <pc:sldMk cId="1394535963" sldId="903"/>
            <ac:spMk id="15" creationId="{C251AC41-A862-4025-B89D-711E1CB6E36F}"/>
          </ac:spMkLst>
        </pc:spChg>
        <pc:picChg chg="add del mod">
          <ac:chgData name="Klara Hinze" userId="216d571a76224879" providerId="LiveId" clId="{DD85E389-4DC1-4302-BB19-9C64E6D761A6}" dt="2021-07-28T07:07:47.970" v="780" actId="478"/>
          <ac:picMkLst>
            <pc:docMk/>
            <pc:sldMk cId="1394535963" sldId="903"/>
            <ac:picMk id="3" creationId="{F4D1959C-24C6-49E8-960E-72CBA1E7804C}"/>
          </ac:picMkLst>
        </pc:picChg>
        <pc:picChg chg="add mod">
          <ac:chgData name="Klara Hinze" userId="216d571a76224879" providerId="LiveId" clId="{DD85E389-4DC1-4302-BB19-9C64E6D761A6}" dt="2021-07-28T07:07:52.565" v="781"/>
          <ac:picMkLst>
            <pc:docMk/>
            <pc:sldMk cId="1394535963" sldId="903"/>
            <ac:picMk id="16" creationId="{F278438D-0BBF-4523-B5CE-C077418B60FA}"/>
          </ac:picMkLst>
        </pc:picChg>
      </pc:sldChg>
      <pc:sldChg chg="addSp delSp modSp add mod ord">
        <pc:chgData name="Klara Hinze" userId="216d571a76224879" providerId="LiveId" clId="{DD85E389-4DC1-4302-BB19-9C64E6D761A6}" dt="2021-07-28T07:40:53.791" v="864" actId="20577"/>
        <pc:sldMkLst>
          <pc:docMk/>
          <pc:sldMk cId="1397928272" sldId="904"/>
        </pc:sldMkLst>
        <pc:spChg chg="mod">
          <ac:chgData name="Klara Hinze" userId="216d571a76224879" providerId="LiveId" clId="{DD85E389-4DC1-4302-BB19-9C64E6D761A6}" dt="2021-07-28T07:40:53.791" v="864" actId="20577"/>
          <ac:spMkLst>
            <pc:docMk/>
            <pc:sldMk cId="1397928272" sldId="904"/>
            <ac:spMk id="16" creationId="{0AAA0E9B-31FD-419D-99D9-19EE367EFA90}"/>
          </ac:spMkLst>
        </pc:spChg>
        <pc:spChg chg="del">
          <ac:chgData name="Klara Hinze" userId="216d571a76224879" providerId="LiveId" clId="{DD85E389-4DC1-4302-BB19-9C64E6D761A6}" dt="2021-07-28T06:54:05.395" v="642" actId="478"/>
          <ac:spMkLst>
            <pc:docMk/>
            <pc:sldMk cId="1397928272" sldId="904"/>
            <ac:spMk id="19" creationId="{ED3D8213-0964-4811-A41B-575D1952EC6F}"/>
          </ac:spMkLst>
        </pc:spChg>
        <pc:spChg chg="add mod">
          <ac:chgData name="Klara Hinze" userId="216d571a76224879" providerId="LiveId" clId="{DD85E389-4DC1-4302-BB19-9C64E6D761A6}" dt="2021-07-28T07:06:34.748" v="768"/>
          <ac:spMkLst>
            <pc:docMk/>
            <pc:sldMk cId="1397928272" sldId="904"/>
            <ac:spMk id="30" creationId="{7F65F256-EF86-42DA-B8C9-59FEDF86CDB1}"/>
          </ac:spMkLst>
        </pc:spChg>
        <pc:picChg chg="add mod">
          <ac:chgData name="Klara Hinze" userId="216d571a76224879" providerId="LiveId" clId="{DD85E389-4DC1-4302-BB19-9C64E6D761A6}" dt="2021-07-28T07:07:36.409" v="779"/>
          <ac:picMkLst>
            <pc:docMk/>
            <pc:sldMk cId="1397928272" sldId="904"/>
            <ac:picMk id="31" creationId="{4F78E686-4CB0-4BDA-B50E-95B37B3033CC}"/>
          </ac:picMkLst>
        </pc:picChg>
      </pc:sldChg>
      <pc:sldChg chg="addSp delSp modSp add mod ord">
        <pc:chgData name="Klara Hinze" userId="216d571a76224879" providerId="LiveId" clId="{DD85E389-4DC1-4302-BB19-9C64E6D761A6}" dt="2021-07-28T07:07:59.867" v="786"/>
        <pc:sldMkLst>
          <pc:docMk/>
          <pc:sldMk cId="1410718692" sldId="905"/>
        </pc:sldMkLst>
        <pc:spChg chg="add del mod">
          <ac:chgData name="Klara Hinze" userId="216d571a76224879" providerId="LiveId" clId="{DD85E389-4DC1-4302-BB19-9C64E6D761A6}" dt="2021-07-28T07:06:57.904" v="775" actId="478"/>
          <ac:spMkLst>
            <pc:docMk/>
            <pc:sldMk cId="1410718692" sldId="905"/>
            <ac:spMk id="7" creationId="{E144F8E9-02CA-492D-A100-1AF6037922C5}"/>
          </ac:spMkLst>
        </pc:spChg>
        <pc:spChg chg="add mod">
          <ac:chgData name="Klara Hinze" userId="216d571a76224879" providerId="LiveId" clId="{DD85E389-4DC1-4302-BB19-9C64E6D761A6}" dt="2021-07-28T07:07:59.867" v="786"/>
          <ac:spMkLst>
            <pc:docMk/>
            <pc:sldMk cId="1410718692" sldId="905"/>
            <ac:spMk id="10" creationId="{D27CC319-A627-45ED-BBBF-3160E73A953C}"/>
          </ac:spMkLst>
        </pc:spChg>
        <pc:spChg chg="del">
          <ac:chgData name="Klara Hinze" userId="216d571a76224879" providerId="LiveId" clId="{DD85E389-4DC1-4302-BB19-9C64E6D761A6}" dt="2021-07-28T06:53:39.852" v="635" actId="478"/>
          <ac:spMkLst>
            <pc:docMk/>
            <pc:sldMk cId="1410718692" sldId="905"/>
            <ac:spMk id="11" creationId="{9DB25EB9-850B-45DF-894A-461FED8AE2CD}"/>
          </ac:spMkLst>
        </pc:spChg>
        <pc:picChg chg="add del mod">
          <ac:chgData name="Klara Hinze" userId="216d571a76224879" providerId="LiveId" clId="{DD85E389-4DC1-4302-BB19-9C64E6D761A6}" dt="2021-07-28T07:06:57.904" v="775" actId="478"/>
          <ac:picMkLst>
            <pc:docMk/>
            <pc:sldMk cId="1410718692" sldId="905"/>
            <ac:picMk id="8" creationId="{C9ABB07A-F2A0-45FC-8F31-0BF9E082DEB2}"/>
          </ac:picMkLst>
        </pc:picChg>
        <pc:picChg chg="add mod">
          <ac:chgData name="Klara Hinze" userId="216d571a76224879" providerId="LiveId" clId="{DD85E389-4DC1-4302-BB19-9C64E6D761A6}" dt="2021-07-28T07:07:59.867" v="786"/>
          <ac:picMkLst>
            <pc:docMk/>
            <pc:sldMk cId="1410718692" sldId="905"/>
            <ac:picMk id="12" creationId="{1A05BA1A-E734-431E-A236-589E309ECEB3}"/>
          </ac:picMkLst>
        </pc:picChg>
      </pc:sldChg>
      <pc:sldChg chg="addSp delSp modSp add mod ord">
        <pc:chgData name="Klara Hinze" userId="216d571a76224879" providerId="LiveId" clId="{DD85E389-4DC1-4302-BB19-9C64E6D761A6}" dt="2021-07-28T07:08:09.632" v="803" actId="1038"/>
        <pc:sldMkLst>
          <pc:docMk/>
          <pc:sldMk cId="1005962929" sldId="906"/>
        </pc:sldMkLst>
        <pc:spChg chg="add del mod">
          <ac:chgData name="Klara Hinze" userId="216d571a76224879" providerId="LiveId" clId="{DD85E389-4DC1-4302-BB19-9C64E6D761A6}" dt="2021-07-28T07:07:00.738" v="776" actId="478"/>
          <ac:spMkLst>
            <pc:docMk/>
            <pc:sldMk cId="1005962929" sldId="906"/>
            <ac:spMk id="7" creationId="{F3773CA0-E971-4CBC-8AD5-3F071254FE67}"/>
          </ac:spMkLst>
        </pc:spChg>
        <pc:spChg chg="add mod">
          <ac:chgData name="Klara Hinze" userId="216d571a76224879" providerId="LiveId" clId="{DD85E389-4DC1-4302-BB19-9C64E6D761A6}" dt="2021-07-28T07:08:09.632" v="803" actId="1038"/>
          <ac:spMkLst>
            <pc:docMk/>
            <pc:sldMk cId="1005962929" sldId="906"/>
            <ac:spMk id="9" creationId="{58C772CA-3C0A-4C6A-9625-1FF0A5633B92}"/>
          </ac:spMkLst>
        </pc:spChg>
        <pc:spChg chg="del">
          <ac:chgData name="Klara Hinze" userId="216d571a76224879" providerId="LiveId" clId="{DD85E389-4DC1-4302-BB19-9C64E6D761A6}" dt="2021-07-28T06:53:45.116" v="636" actId="478"/>
          <ac:spMkLst>
            <pc:docMk/>
            <pc:sldMk cId="1005962929" sldId="906"/>
            <ac:spMk id="11" creationId="{9DB25EB9-850B-45DF-894A-461FED8AE2CD}"/>
          </ac:spMkLst>
        </pc:spChg>
        <pc:picChg chg="add del mod">
          <ac:chgData name="Klara Hinze" userId="216d571a76224879" providerId="LiveId" clId="{DD85E389-4DC1-4302-BB19-9C64E6D761A6}" dt="2021-07-28T07:07:00.738" v="776" actId="478"/>
          <ac:picMkLst>
            <pc:docMk/>
            <pc:sldMk cId="1005962929" sldId="906"/>
            <ac:picMk id="8" creationId="{386B650E-26F5-4C78-8AD5-A7D49E0EBF5F}"/>
          </ac:picMkLst>
        </pc:picChg>
        <pc:picChg chg="add mod">
          <ac:chgData name="Klara Hinze" userId="216d571a76224879" providerId="LiveId" clId="{DD85E389-4DC1-4302-BB19-9C64E6D761A6}" dt="2021-07-28T07:08:09.632" v="803" actId="1038"/>
          <ac:picMkLst>
            <pc:docMk/>
            <pc:sldMk cId="1005962929" sldId="906"/>
            <ac:picMk id="10" creationId="{9A91290B-180E-4223-915A-31DB25B0D09B}"/>
          </ac:picMkLst>
        </pc:picChg>
      </pc:sldChg>
      <pc:sldChg chg="addSp delSp modSp add mod ord">
        <pc:chgData name="Klara Hinze" userId="216d571a76224879" providerId="LiveId" clId="{DD85E389-4DC1-4302-BB19-9C64E6D761A6}" dt="2021-07-28T07:08:12.658" v="804"/>
        <pc:sldMkLst>
          <pc:docMk/>
          <pc:sldMk cId="3863547104" sldId="907"/>
        </pc:sldMkLst>
        <pc:spChg chg="add del mod">
          <ac:chgData name="Klara Hinze" userId="216d571a76224879" providerId="LiveId" clId="{DD85E389-4DC1-4302-BB19-9C64E6D761A6}" dt="2021-07-28T07:07:03.389" v="777" actId="478"/>
          <ac:spMkLst>
            <pc:docMk/>
            <pc:sldMk cId="3863547104" sldId="907"/>
            <ac:spMk id="9" creationId="{31A8AA55-2317-483F-9BA4-9795633C9AC4}"/>
          </ac:spMkLst>
        </pc:spChg>
        <pc:spChg chg="del">
          <ac:chgData name="Klara Hinze" userId="216d571a76224879" providerId="LiveId" clId="{DD85E389-4DC1-4302-BB19-9C64E6D761A6}" dt="2021-07-28T06:53:47.765" v="637" actId="478"/>
          <ac:spMkLst>
            <pc:docMk/>
            <pc:sldMk cId="3863547104" sldId="907"/>
            <ac:spMk id="11" creationId="{9DB25EB9-850B-45DF-894A-461FED8AE2CD}"/>
          </ac:spMkLst>
        </pc:spChg>
        <pc:spChg chg="add mod">
          <ac:chgData name="Klara Hinze" userId="216d571a76224879" providerId="LiveId" clId="{DD85E389-4DC1-4302-BB19-9C64E6D761A6}" dt="2021-07-28T07:08:12.658" v="804"/>
          <ac:spMkLst>
            <pc:docMk/>
            <pc:sldMk cId="3863547104" sldId="907"/>
            <ac:spMk id="13" creationId="{5B4D2578-2449-4888-A9BF-F9D9A6D121D1}"/>
          </ac:spMkLst>
        </pc:spChg>
        <pc:picChg chg="add del mod">
          <ac:chgData name="Klara Hinze" userId="216d571a76224879" providerId="LiveId" clId="{DD85E389-4DC1-4302-BB19-9C64E6D761A6}" dt="2021-07-28T07:07:03.389" v="777" actId="478"/>
          <ac:picMkLst>
            <pc:docMk/>
            <pc:sldMk cId="3863547104" sldId="907"/>
            <ac:picMk id="12" creationId="{D1B6053D-089D-40D9-897F-2A93B4B2FB5A}"/>
          </ac:picMkLst>
        </pc:picChg>
        <pc:picChg chg="add mod">
          <ac:chgData name="Klara Hinze" userId="216d571a76224879" providerId="LiveId" clId="{DD85E389-4DC1-4302-BB19-9C64E6D761A6}" dt="2021-07-28T07:08:12.658" v="804"/>
          <ac:picMkLst>
            <pc:docMk/>
            <pc:sldMk cId="3863547104" sldId="907"/>
            <ac:picMk id="14" creationId="{754CD4BF-B9F8-4DE1-BA70-EC3864E83512}"/>
          </ac:picMkLst>
        </pc:picChg>
      </pc:sldChg>
      <pc:sldChg chg="addSp delSp modSp add mod ord">
        <pc:chgData name="Klara Hinze" userId="216d571a76224879" providerId="LiveId" clId="{DD85E389-4DC1-4302-BB19-9C64E6D761A6}" dt="2021-07-28T07:08:14.291" v="805"/>
        <pc:sldMkLst>
          <pc:docMk/>
          <pc:sldMk cId="767042908" sldId="908"/>
        </pc:sldMkLst>
        <pc:spChg chg="add del mod">
          <ac:chgData name="Klara Hinze" userId="216d571a76224879" providerId="LiveId" clId="{DD85E389-4DC1-4302-BB19-9C64E6D761A6}" dt="2021-07-28T07:07:06.203" v="778" actId="478"/>
          <ac:spMkLst>
            <pc:docMk/>
            <pc:sldMk cId="767042908" sldId="908"/>
            <ac:spMk id="11" creationId="{FD9AD15F-0518-439A-913C-A5D0DA76C764}"/>
          </ac:spMkLst>
        </pc:spChg>
        <pc:spChg chg="del">
          <ac:chgData name="Klara Hinze" userId="216d571a76224879" providerId="LiveId" clId="{DD85E389-4DC1-4302-BB19-9C64E6D761A6}" dt="2021-07-28T06:53:50.620" v="638" actId="478"/>
          <ac:spMkLst>
            <pc:docMk/>
            <pc:sldMk cId="767042908" sldId="908"/>
            <ac:spMk id="14" creationId="{6F00078D-8ECF-4ED2-BFE6-75845C275110}"/>
          </ac:spMkLst>
        </pc:spChg>
        <pc:spChg chg="add mod">
          <ac:chgData name="Klara Hinze" userId="216d571a76224879" providerId="LiveId" clId="{DD85E389-4DC1-4302-BB19-9C64E6D761A6}" dt="2021-07-28T07:08:14.291" v="805"/>
          <ac:spMkLst>
            <pc:docMk/>
            <pc:sldMk cId="767042908" sldId="908"/>
            <ac:spMk id="15" creationId="{48598AF7-93F8-4D5B-A5E5-5862F035FCC5}"/>
          </ac:spMkLst>
        </pc:spChg>
        <pc:picChg chg="add del mod">
          <ac:chgData name="Klara Hinze" userId="216d571a76224879" providerId="LiveId" clId="{DD85E389-4DC1-4302-BB19-9C64E6D761A6}" dt="2021-07-28T07:07:06.203" v="778" actId="478"/>
          <ac:picMkLst>
            <pc:docMk/>
            <pc:sldMk cId="767042908" sldId="908"/>
            <ac:picMk id="13" creationId="{DA81CCD1-74D9-4E3F-8F51-30F8FEFC8E1F}"/>
          </ac:picMkLst>
        </pc:picChg>
        <pc:picChg chg="add mod">
          <ac:chgData name="Klara Hinze" userId="216d571a76224879" providerId="LiveId" clId="{DD85E389-4DC1-4302-BB19-9C64E6D761A6}" dt="2021-07-28T07:08:14.291" v="805"/>
          <ac:picMkLst>
            <pc:docMk/>
            <pc:sldMk cId="767042908" sldId="908"/>
            <ac:picMk id="16" creationId="{14A85D1B-FB57-46CA-8523-4185AD928FED}"/>
          </ac:picMkLst>
        </pc:picChg>
      </pc:sldChg>
      <pc:sldChg chg="addSp delSp modSp add mod">
        <pc:chgData name="Klara Hinze" userId="216d571a76224879" providerId="LiveId" clId="{DD85E389-4DC1-4302-BB19-9C64E6D761A6}" dt="2021-07-28T07:07:55.400" v="783"/>
        <pc:sldMkLst>
          <pc:docMk/>
          <pc:sldMk cId="2130210644" sldId="909"/>
        </pc:sldMkLst>
        <pc:spChg chg="add del mod">
          <ac:chgData name="Klara Hinze" userId="216d571a76224879" providerId="LiveId" clId="{DD85E389-4DC1-4302-BB19-9C64E6D761A6}" dt="2021-07-28T07:06:47.232" v="771" actId="478"/>
          <ac:spMkLst>
            <pc:docMk/>
            <pc:sldMk cId="2130210644" sldId="909"/>
            <ac:spMk id="5" creationId="{A8F87A01-D30F-4FAF-8B9A-CB89E0EBD35C}"/>
          </ac:spMkLst>
        </pc:spChg>
        <pc:spChg chg="add mod">
          <ac:chgData name="Klara Hinze" userId="216d571a76224879" providerId="LiveId" clId="{DD85E389-4DC1-4302-BB19-9C64E6D761A6}" dt="2021-07-28T07:07:55.400" v="783"/>
          <ac:spMkLst>
            <pc:docMk/>
            <pc:sldMk cId="2130210644" sldId="909"/>
            <ac:spMk id="7" creationId="{E6F79C6D-AEBD-42DE-AA15-10FB23ADAEAE}"/>
          </ac:spMkLst>
        </pc:spChg>
        <pc:picChg chg="add del mod">
          <ac:chgData name="Klara Hinze" userId="216d571a76224879" providerId="LiveId" clId="{DD85E389-4DC1-4302-BB19-9C64E6D761A6}" dt="2021-07-28T07:06:47.232" v="771" actId="478"/>
          <ac:picMkLst>
            <pc:docMk/>
            <pc:sldMk cId="2130210644" sldId="909"/>
            <ac:picMk id="6" creationId="{D297FB02-4084-44C6-9275-7986C78ED092}"/>
          </ac:picMkLst>
        </pc:picChg>
        <pc:picChg chg="add mod">
          <ac:chgData name="Klara Hinze" userId="216d571a76224879" providerId="LiveId" clId="{DD85E389-4DC1-4302-BB19-9C64E6D761A6}" dt="2021-07-28T07:07:55.400" v="783"/>
          <ac:picMkLst>
            <pc:docMk/>
            <pc:sldMk cId="2130210644" sldId="909"/>
            <ac:picMk id="8" creationId="{A6340FB0-EE03-4E6D-9C95-F921EA0F3FE8}"/>
          </ac:picMkLst>
        </pc:picChg>
      </pc:sldChg>
    </pc:docChg>
  </pc:docChgLst>
  <pc:docChgLst>
    <pc:chgData name="calle le" userId="162274a4a0933c19" providerId="Windows Live" clId="Web-{3F1BE59E-B8F2-40A9-A893-292783D0DBA7}"/>
    <pc:docChg chg="modSld">
      <pc:chgData name="calle le" userId="162274a4a0933c19" providerId="Windows Live" clId="Web-{3F1BE59E-B8F2-40A9-A893-292783D0DBA7}" dt="2021-07-27T20:09:51.002" v="5" actId="1076"/>
      <pc:docMkLst>
        <pc:docMk/>
      </pc:docMkLst>
      <pc:sldChg chg="addSp delSp modSp">
        <pc:chgData name="calle le" userId="162274a4a0933c19" providerId="Windows Live" clId="Web-{3F1BE59E-B8F2-40A9-A893-292783D0DBA7}" dt="2021-07-27T20:09:51.002" v="5" actId="1076"/>
        <pc:sldMkLst>
          <pc:docMk/>
          <pc:sldMk cId="3295041596" sldId="833"/>
        </pc:sldMkLst>
        <pc:spChg chg="mod topLvl">
          <ac:chgData name="calle le" userId="162274a4a0933c19" providerId="Windows Live" clId="Web-{3F1BE59E-B8F2-40A9-A893-292783D0DBA7}" dt="2021-07-27T20:09:06.219" v="2"/>
          <ac:spMkLst>
            <pc:docMk/>
            <pc:sldMk cId="3295041596" sldId="833"/>
            <ac:spMk id="52" creationId="{C3BFE531-F03E-4F49-8B67-B522B88B38B1}"/>
          </ac:spMkLst>
        </pc:spChg>
        <pc:spChg chg="del">
          <ac:chgData name="calle le" userId="162274a4a0933c19" providerId="Windows Live" clId="Web-{3F1BE59E-B8F2-40A9-A893-292783D0DBA7}" dt="2021-07-27T20:08:57.750" v="0"/>
          <ac:spMkLst>
            <pc:docMk/>
            <pc:sldMk cId="3295041596" sldId="833"/>
            <ac:spMk id="62" creationId="{BCEEE493-7191-49E8-85AA-6C407795D179}"/>
          </ac:spMkLst>
        </pc:spChg>
        <pc:grpChg chg="add del mod">
          <ac:chgData name="calle le" userId="162274a4a0933c19" providerId="Windows Live" clId="Web-{3F1BE59E-B8F2-40A9-A893-292783D0DBA7}" dt="2021-07-27T20:09:31.423" v="3" actId="1076"/>
          <ac:grpSpMkLst>
            <pc:docMk/>
            <pc:sldMk cId="3295041596" sldId="833"/>
            <ac:grpSpMk id="53" creationId="{69EED7F6-EC13-4E77-892A-7A94DCDFDCB6}"/>
          </ac:grpSpMkLst>
        </pc:grpChg>
        <pc:graphicFrameChg chg="add del mod topLvl">
          <ac:chgData name="calle le" userId="162274a4a0933c19" providerId="Windows Live" clId="Web-{3F1BE59E-B8F2-40A9-A893-292783D0DBA7}" dt="2021-07-27T20:09:51.002" v="5" actId="1076"/>
          <ac:graphicFrameMkLst>
            <pc:docMk/>
            <pc:sldMk cId="3295041596" sldId="833"/>
            <ac:graphicFrameMk id="51" creationId="{E9E73BB5-425A-460C-96F9-FCCC607A6286}"/>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5115505340356378"/>
          <c:y val="8.49196463368969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tx>
            <c:strRef>
              <c:f>Tabelle1!$B$1</c:f>
              <c:strCache>
                <c:ptCount val="1"/>
                <c:pt idx="0">
                  <c:v>Kritischer Wasserstand bei Trips</c:v>
                </c:pt>
              </c:strCache>
            </c:strRef>
          </c:tx>
          <c:spPr>
            <a:solidFill>
              <a:schemeClr val="accent3"/>
            </a:solidFill>
          </c:spPr>
          <c:dPt>
            <c:idx val="0"/>
            <c:bubble3D val="0"/>
            <c:spPr>
              <a:solidFill>
                <a:srgbClr val="7F7F7F"/>
              </a:solidFill>
              <a:ln w="19050">
                <a:solidFill>
                  <a:schemeClr val="lt1"/>
                </a:solidFill>
              </a:ln>
              <a:effectLst/>
            </c:spPr>
            <c:extLst>
              <c:ext xmlns:c16="http://schemas.microsoft.com/office/drawing/2014/chart" uri="{C3380CC4-5D6E-409C-BE32-E72D297353CC}">
                <c16:uniqueId val="{00000003-5007-45B2-A8AE-1DC360ECE223}"/>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2-5007-45B2-A8AE-1DC360ECE223}"/>
              </c:ext>
            </c:extLst>
          </c:dPt>
          <c:dLbls>
            <c:dLbl>
              <c:idx val="0"/>
              <c:layout>
                <c:manualLayout>
                  <c:x val="-6.7176100118836457E-2"/>
                  <c:y val="0.1994539447038415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1"/>
              <c:showBubbleSize val="0"/>
              <c:extLst>
                <c:ext xmlns:c15="http://schemas.microsoft.com/office/drawing/2012/chart" uri="{CE6537A1-D6FC-4f65-9D91-7224C49458BB}">
                  <c15:layout>
                    <c:manualLayout>
                      <c:w val="7.5573112633691014E-2"/>
                      <c:h val="0.17666319282586601"/>
                    </c:manualLayout>
                  </c15:layout>
                </c:ext>
                <c:ext xmlns:c16="http://schemas.microsoft.com/office/drawing/2014/chart" uri="{C3380CC4-5D6E-409C-BE32-E72D297353CC}">
                  <c16:uniqueId val="{00000003-5007-45B2-A8AE-1DC360ECE223}"/>
                </c:ext>
              </c:extLst>
            </c:dLbl>
            <c:dLbl>
              <c:idx val="1"/>
              <c:layout>
                <c:manualLayout>
                  <c:x val="2.6870440047534545E-2"/>
                  <c:y val="-0.25619488342414354"/>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1"/>
              <c:showBubbleSize val="0"/>
              <c:extLst>
                <c:ext xmlns:c15="http://schemas.microsoft.com/office/drawing/2012/chart" uri="{CE6537A1-D6FC-4f65-9D91-7224C49458BB}">
                  <c15:layout>
                    <c:manualLayout>
                      <c:w val="0.10580235768716742"/>
                      <c:h val="0.20092594892212229"/>
                    </c:manualLayout>
                  </c15:layout>
                </c:ext>
                <c:ext xmlns:c16="http://schemas.microsoft.com/office/drawing/2014/chart" uri="{C3380CC4-5D6E-409C-BE32-E72D297353CC}">
                  <c16:uniqueId val="{00000002-5007-45B2-A8AE-1DC360ECE22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de-DE"/>
              </a:p>
            </c:txPr>
            <c:dLblPos val="bestFit"/>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3</c:f>
              <c:strCache>
                <c:ptCount val="2"/>
                <c:pt idx="0">
                  <c:v>Niedrigwasser</c:v>
                </c:pt>
                <c:pt idx="1">
                  <c:v>Trips ohne Niedrigwasser</c:v>
                </c:pt>
              </c:strCache>
            </c:strRef>
          </c:cat>
          <c:val>
            <c:numRef>
              <c:f>Tabelle1!$B$2:$B$3</c:f>
              <c:numCache>
                <c:formatCode>General</c:formatCode>
                <c:ptCount val="2"/>
                <c:pt idx="0">
                  <c:v>14</c:v>
                </c:pt>
                <c:pt idx="1">
                  <c:v>136</c:v>
                </c:pt>
              </c:numCache>
            </c:numRef>
          </c:val>
          <c:extLst>
            <c:ext xmlns:c16="http://schemas.microsoft.com/office/drawing/2014/chart" uri="{C3380CC4-5D6E-409C-BE32-E72D297353CC}">
              <c16:uniqueId val="{00000000-5007-45B2-A8AE-1DC360ECE22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1638136920564744"/>
          <c:y val="0.88070246410258368"/>
          <c:w val="0.74194609690989943"/>
          <c:h val="6.167349016880764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r>
              <a:rPr lang="en-US" sz="1600" u="sng">
                <a:solidFill>
                  <a:schemeClr val="bg1">
                    <a:lumMod val="75000"/>
                  </a:schemeClr>
                </a:solidFill>
                <a:latin typeface="Helvetica" panose="020B0604020202020204" pitchFamily="34" charset="0"/>
                <a:cs typeface="Helvetica" panose="020B0604020202020204" pitchFamily="34" charset="0"/>
              </a:rPr>
              <a:t>Speed of Ship</a:t>
            </a:r>
          </a:p>
        </c:rich>
      </c:tx>
      <c:layout>
        <c:manualLayout>
          <c:xMode val="edge"/>
          <c:yMode val="edge"/>
          <c:x val="0.19384123653404275"/>
          <c:y val="1.1438529118576077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endParaRPr lang="de-DE"/>
        </a:p>
      </c:txPr>
    </c:title>
    <c:autoTitleDeleted val="0"/>
    <c:plotArea>
      <c:layout>
        <c:manualLayout>
          <c:layoutTarget val="inner"/>
          <c:xMode val="edge"/>
          <c:yMode val="edge"/>
          <c:x val="0.18314240037344379"/>
          <c:y val="0.22702854120478641"/>
          <c:w val="0.77341008590833904"/>
          <c:h val="0.61121483911925489"/>
        </c:manualLayout>
      </c:layout>
      <c:lineChart>
        <c:grouping val="standard"/>
        <c:varyColors val="0"/>
        <c:ser>
          <c:idx val="0"/>
          <c:order val="0"/>
          <c:spPr>
            <a:ln w="28575" cap="rnd">
              <a:solidFill>
                <a:srgbClr val="002060"/>
              </a:solidFill>
              <a:round/>
            </a:ln>
            <a:effectLst/>
          </c:spPr>
          <c:marker>
            <c:symbol val="none"/>
          </c:marker>
          <c:cat>
            <c:numRef>
              <c:f>Tabelle1!$B$19:$B$29</c:f>
              <c:numCache>
                <c:formatCode>General</c:formatCode>
                <c:ptCount val="11"/>
                <c:pt idx="0">
                  <c:v>0</c:v>
                </c:pt>
                <c:pt idx="1">
                  <c:v>2</c:v>
                </c:pt>
                <c:pt idx="2">
                  <c:v>4</c:v>
                </c:pt>
                <c:pt idx="3">
                  <c:v>6</c:v>
                </c:pt>
                <c:pt idx="4">
                  <c:v>8</c:v>
                </c:pt>
                <c:pt idx="5">
                  <c:v>10</c:v>
                </c:pt>
                <c:pt idx="6">
                  <c:v>12</c:v>
                </c:pt>
                <c:pt idx="7">
                  <c:v>14</c:v>
                </c:pt>
                <c:pt idx="8">
                  <c:v>16</c:v>
                </c:pt>
                <c:pt idx="9">
                  <c:v>18</c:v>
                </c:pt>
                <c:pt idx="10">
                  <c:v>20</c:v>
                </c:pt>
              </c:numCache>
            </c:numRef>
          </c:cat>
          <c:val>
            <c:numRef>
              <c:f>Tabelle1!$C$19:$C$29</c:f>
              <c:numCache>
                <c:formatCode>General</c:formatCode>
                <c:ptCount val="11"/>
                <c:pt idx="0">
                  <c:v>0</c:v>
                </c:pt>
                <c:pt idx="1">
                  <c:v>10</c:v>
                </c:pt>
                <c:pt idx="2">
                  <c:v>8</c:v>
                </c:pt>
                <c:pt idx="3">
                  <c:v>12</c:v>
                </c:pt>
                <c:pt idx="4">
                  <c:v>14</c:v>
                </c:pt>
                <c:pt idx="5">
                  <c:v>12</c:v>
                </c:pt>
                <c:pt idx="6">
                  <c:v>10</c:v>
                </c:pt>
                <c:pt idx="7">
                  <c:v>10</c:v>
                </c:pt>
                <c:pt idx="8">
                  <c:v>10</c:v>
                </c:pt>
              </c:numCache>
            </c:numRef>
          </c:val>
          <c:smooth val="0"/>
          <c:extLst>
            <c:ext xmlns:c16="http://schemas.microsoft.com/office/drawing/2014/chart" uri="{C3380CC4-5D6E-409C-BE32-E72D297353CC}">
              <c16:uniqueId val="{00000000-839E-49CD-94DC-9FE28C26F513}"/>
            </c:ext>
          </c:extLst>
        </c:ser>
        <c:dLbls>
          <c:showLegendKey val="0"/>
          <c:showVal val="0"/>
          <c:showCatName val="0"/>
          <c:showSerName val="0"/>
          <c:showPercent val="0"/>
          <c:showBubbleSize val="0"/>
        </c:dLbls>
        <c:smooth val="0"/>
        <c:axId val="1109532888"/>
        <c:axId val="1109533872"/>
      </c:lineChart>
      <c:catAx>
        <c:axId val="11095328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Time in h</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3872"/>
        <c:crosses val="autoZero"/>
        <c:auto val="1"/>
        <c:lblAlgn val="ctr"/>
        <c:lblOffset val="100"/>
        <c:noMultiLvlLbl val="0"/>
      </c:catAx>
      <c:valAx>
        <c:axId val="110953387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Speed in </a:t>
                </a:r>
                <a:r>
                  <a:rPr lang="de-DE" err="1">
                    <a:solidFill>
                      <a:schemeClr val="tx1"/>
                    </a:solidFill>
                    <a:latin typeface="Helvetica" panose="020B0604020202020204" pitchFamily="34" charset="0"/>
                    <a:cs typeface="Helvetica" panose="020B0604020202020204" pitchFamily="34" charset="0"/>
                  </a:rPr>
                  <a:t>kn</a:t>
                </a:r>
                <a:endParaRPr lang="de-DE">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2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de-DE"/>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r>
              <a:rPr lang="en-US" sz="1600" u="sng">
                <a:solidFill>
                  <a:schemeClr val="bg1">
                    <a:lumMod val="75000"/>
                  </a:schemeClr>
                </a:solidFill>
                <a:latin typeface="Helvetica" panose="020B0604020202020204" pitchFamily="34" charset="0"/>
                <a:cs typeface="Helvetica" panose="020B0604020202020204" pitchFamily="34" charset="0"/>
              </a:rPr>
              <a:t>Speed of Ship</a:t>
            </a:r>
          </a:p>
        </c:rich>
      </c:tx>
      <c:layout>
        <c:manualLayout>
          <c:xMode val="edge"/>
          <c:yMode val="edge"/>
          <c:x val="0.19384123653404275"/>
          <c:y val="1.1438529118576077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endParaRPr lang="de-DE"/>
        </a:p>
      </c:txPr>
    </c:title>
    <c:autoTitleDeleted val="0"/>
    <c:plotArea>
      <c:layout>
        <c:manualLayout>
          <c:layoutTarget val="inner"/>
          <c:xMode val="edge"/>
          <c:yMode val="edge"/>
          <c:x val="0.18314240037344379"/>
          <c:y val="0.22702854120478641"/>
          <c:w val="0.77341008590833904"/>
          <c:h val="0.61121483911925489"/>
        </c:manualLayout>
      </c:layout>
      <c:lineChart>
        <c:grouping val="standard"/>
        <c:varyColors val="0"/>
        <c:ser>
          <c:idx val="0"/>
          <c:order val="0"/>
          <c:spPr>
            <a:ln w="28575" cap="rnd">
              <a:solidFill>
                <a:srgbClr val="002060"/>
              </a:solidFill>
              <a:round/>
            </a:ln>
            <a:effectLst/>
          </c:spPr>
          <c:marker>
            <c:symbol val="none"/>
          </c:marker>
          <c:cat>
            <c:numRef>
              <c:f>Tabelle1!$B$19:$B$29</c:f>
              <c:numCache>
                <c:formatCode>General</c:formatCode>
                <c:ptCount val="11"/>
                <c:pt idx="0">
                  <c:v>0</c:v>
                </c:pt>
                <c:pt idx="1">
                  <c:v>2</c:v>
                </c:pt>
                <c:pt idx="2">
                  <c:v>4</c:v>
                </c:pt>
                <c:pt idx="3">
                  <c:v>6</c:v>
                </c:pt>
                <c:pt idx="4">
                  <c:v>8</c:v>
                </c:pt>
                <c:pt idx="5">
                  <c:v>10</c:v>
                </c:pt>
                <c:pt idx="6">
                  <c:v>12</c:v>
                </c:pt>
                <c:pt idx="7">
                  <c:v>14</c:v>
                </c:pt>
                <c:pt idx="8">
                  <c:v>16</c:v>
                </c:pt>
                <c:pt idx="9">
                  <c:v>18</c:v>
                </c:pt>
                <c:pt idx="10">
                  <c:v>20</c:v>
                </c:pt>
              </c:numCache>
            </c:numRef>
          </c:cat>
          <c:val>
            <c:numRef>
              <c:f>Tabelle1!$C$19:$C$29</c:f>
              <c:numCache>
                <c:formatCode>General</c:formatCode>
                <c:ptCount val="11"/>
                <c:pt idx="0">
                  <c:v>0</c:v>
                </c:pt>
                <c:pt idx="1">
                  <c:v>10</c:v>
                </c:pt>
                <c:pt idx="2">
                  <c:v>8</c:v>
                </c:pt>
                <c:pt idx="3">
                  <c:v>12</c:v>
                </c:pt>
                <c:pt idx="4">
                  <c:v>14</c:v>
                </c:pt>
                <c:pt idx="5">
                  <c:v>12</c:v>
                </c:pt>
                <c:pt idx="6">
                  <c:v>10</c:v>
                </c:pt>
                <c:pt idx="7">
                  <c:v>10</c:v>
                </c:pt>
                <c:pt idx="8">
                  <c:v>10</c:v>
                </c:pt>
              </c:numCache>
            </c:numRef>
          </c:val>
          <c:smooth val="0"/>
          <c:extLst>
            <c:ext xmlns:c16="http://schemas.microsoft.com/office/drawing/2014/chart" uri="{C3380CC4-5D6E-409C-BE32-E72D297353CC}">
              <c16:uniqueId val="{00000000-839E-49CD-94DC-9FE28C26F513}"/>
            </c:ext>
          </c:extLst>
        </c:ser>
        <c:dLbls>
          <c:showLegendKey val="0"/>
          <c:showVal val="0"/>
          <c:showCatName val="0"/>
          <c:showSerName val="0"/>
          <c:showPercent val="0"/>
          <c:showBubbleSize val="0"/>
        </c:dLbls>
        <c:smooth val="0"/>
        <c:axId val="1109532888"/>
        <c:axId val="1109533872"/>
      </c:lineChart>
      <c:catAx>
        <c:axId val="11095328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Time in h</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3872"/>
        <c:crosses val="autoZero"/>
        <c:auto val="1"/>
        <c:lblAlgn val="ctr"/>
        <c:lblOffset val="100"/>
        <c:noMultiLvlLbl val="0"/>
      </c:catAx>
      <c:valAx>
        <c:axId val="110953387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Speed in </a:t>
                </a:r>
                <a:r>
                  <a:rPr lang="de-DE" err="1">
                    <a:solidFill>
                      <a:schemeClr val="tx1"/>
                    </a:solidFill>
                    <a:latin typeface="Helvetica" panose="020B0604020202020204" pitchFamily="34" charset="0"/>
                    <a:cs typeface="Helvetica" panose="020B0604020202020204" pitchFamily="34" charset="0"/>
                  </a:rPr>
                  <a:t>kn</a:t>
                </a:r>
                <a:endParaRPr lang="de-DE">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2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de-DE"/>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r>
              <a:rPr lang="en-US" sz="1600" u="sng">
                <a:solidFill>
                  <a:schemeClr val="bg1">
                    <a:lumMod val="75000"/>
                  </a:schemeClr>
                </a:solidFill>
                <a:latin typeface="Helvetica" panose="020B0604020202020204" pitchFamily="34" charset="0"/>
                <a:cs typeface="Helvetica" panose="020B0604020202020204" pitchFamily="34" charset="0"/>
              </a:rPr>
              <a:t>Speed of Ship</a:t>
            </a:r>
          </a:p>
        </c:rich>
      </c:tx>
      <c:layout>
        <c:manualLayout>
          <c:xMode val="edge"/>
          <c:yMode val="edge"/>
          <c:x val="0.19384123653404275"/>
          <c:y val="1.1438529118576077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endParaRPr lang="de-DE"/>
        </a:p>
      </c:txPr>
    </c:title>
    <c:autoTitleDeleted val="0"/>
    <c:plotArea>
      <c:layout>
        <c:manualLayout>
          <c:layoutTarget val="inner"/>
          <c:xMode val="edge"/>
          <c:yMode val="edge"/>
          <c:x val="0.18314240037344379"/>
          <c:y val="0.22702854120478641"/>
          <c:w val="0.77341008590833904"/>
          <c:h val="0.61121483911925489"/>
        </c:manualLayout>
      </c:layout>
      <c:lineChart>
        <c:grouping val="standard"/>
        <c:varyColors val="0"/>
        <c:ser>
          <c:idx val="0"/>
          <c:order val="0"/>
          <c:spPr>
            <a:ln w="28575" cap="rnd">
              <a:solidFill>
                <a:srgbClr val="002060"/>
              </a:solidFill>
              <a:round/>
            </a:ln>
            <a:effectLst/>
          </c:spPr>
          <c:marker>
            <c:symbol val="none"/>
          </c:marker>
          <c:cat>
            <c:numRef>
              <c:f>Tabelle1!$B$19:$B$29</c:f>
              <c:numCache>
                <c:formatCode>General</c:formatCode>
                <c:ptCount val="11"/>
                <c:pt idx="0">
                  <c:v>0</c:v>
                </c:pt>
                <c:pt idx="1">
                  <c:v>2</c:v>
                </c:pt>
                <c:pt idx="2">
                  <c:v>4</c:v>
                </c:pt>
                <c:pt idx="3">
                  <c:v>6</c:v>
                </c:pt>
                <c:pt idx="4">
                  <c:v>8</c:v>
                </c:pt>
                <c:pt idx="5">
                  <c:v>10</c:v>
                </c:pt>
                <c:pt idx="6">
                  <c:v>12</c:v>
                </c:pt>
                <c:pt idx="7">
                  <c:v>14</c:v>
                </c:pt>
                <c:pt idx="8">
                  <c:v>16</c:v>
                </c:pt>
                <c:pt idx="9">
                  <c:v>18</c:v>
                </c:pt>
                <c:pt idx="10">
                  <c:v>20</c:v>
                </c:pt>
              </c:numCache>
            </c:numRef>
          </c:cat>
          <c:val>
            <c:numRef>
              <c:f>Tabelle1!$C$19:$C$29</c:f>
              <c:numCache>
                <c:formatCode>General</c:formatCode>
                <c:ptCount val="11"/>
                <c:pt idx="0">
                  <c:v>0</c:v>
                </c:pt>
                <c:pt idx="1">
                  <c:v>10</c:v>
                </c:pt>
                <c:pt idx="2">
                  <c:v>8</c:v>
                </c:pt>
                <c:pt idx="3">
                  <c:v>12</c:v>
                </c:pt>
                <c:pt idx="4">
                  <c:v>14</c:v>
                </c:pt>
                <c:pt idx="5">
                  <c:v>12</c:v>
                </c:pt>
                <c:pt idx="6">
                  <c:v>10</c:v>
                </c:pt>
                <c:pt idx="7">
                  <c:v>10</c:v>
                </c:pt>
                <c:pt idx="8">
                  <c:v>10</c:v>
                </c:pt>
              </c:numCache>
            </c:numRef>
          </c:val>
          <c:smooth val="0"/>
          <c:extLst>
            <c:ext xmlns:c16="http://schemas.microsoft.com/office/drawing/2014/chart" uri="{C3380CC4-5D6E-409C-BE32-E72D297353CC}">
              <c16:uniqueId val="{00000000-839E-49CD-94DC-9FE28C26F513}"/>
            </c:ext>
          </c:extLst>
        </c:ser>
        <c:dLbls>
          <c:showLegendKey val="0"/>
          <c:showVal val="0"/>
          <c:showCatName val="0"/>
          <c:showSerName val="0"/>
          <c:showPercent val="0"/>
          <c:showBubbleSize val="0"/>
        </c:dLbls>
        <c:smooth val="0"/>
        <c:axId val="1109532888"/>
        <c:axId val="1109533872"/>
      </c:lineChart>
      <c:catAx>
        <c:axId val="11095328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Time in h</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3872"/>
        <c:crosses val="autoZero"/>
        <c:auto val="1"/>
        <c:lblAlgn val="ctr"/>
        <c:lblOffset val="100"/>
        <c:noMultiLvlLbl val="0"/>
      </c:catAx>
      <c:valAx>
        <c:axId val="110953387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Speed in </a:t>
                </a:r>
                <a:r>
                  <a:rPr lang="de-DE" err="1">
                    <a:solidFill>
                      <a:schemeClr val="tx1"/>
                    </a:solidFill>
                    <a:latin typeface="Helvetica" panose="020B0604020202020204" pitchFamily="34" charset="0"/>
                    <a:cs typeface="Helvetica" panose="020B0604020202020204" pitchFamily="34" charset="0"/>
                  </a:rPr>
                  <a:t>kn</a:t>
                </a:r>
                <a:endParaRPr lang="de-DE">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2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de-DE"/>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r>
              <a:rPr lang="en-US" sz="1600" u="sng">
                <a:solidFill>
                  <a:schemeClr val="bg1">
                    <a:lumMod val="75000"/>
                  </a:schemeClr>
                </a:solidFill>
                <a:latin typeface="Helvetica" panose="020B0604020202020204" pitchFamily="34" charset="0"/>
                <a:cs typeface="Helvetica" panose="020B0604020202020204" pitchFamily="34" charset="0"/>
              </a:rPr>
              <a:t>Speed of Ship</a:t>
            </a:r>
          </a:p>
        </c:rich>
      </c:tx>
      <c:layout>
        <c:manualLayout>
          <c:xMode val="edge"/>
          <c:yMode val="edge"/>
          <c:x val="0.19384123653404275"/>
          <c:y val="1.1438529118576077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rgbClr val="002060"/>
              </a:solidFill>
              <a:latin typeface="+mn-lt"/>
              <a:ea typeface="+mn-ea"/>
              <a:cs typeface="+mn-cs"/>
            </a:defRPr>
          </a:pPr>
          <a:endParaRPr lang="de-DE"/>
        </a:p>
      </c:txPr>
    </c:title>
    <c:autoTitleDeleted val="0"/>
    <c:plotArea>
      <c:layout>
        <c:manualLayout>
          <c:layoutTarget val="inner"/>
          <c:xMode val="edge"/>
          <c:yMode val="edge"/>
          <c:x val="0.18314240037344379"/>
          <c:y val="0.22702854120478641"/>
          <c:w val="0.77341008590833904"/>
          <c:h val="0.61121483911925489"/>
        </c:manualLayout>
      </c:layout>
      <c:lineChart>
        <c:grouping val="standard"/>
        <c:varyColors val="0"/>
        <c:ser>
          <c:idx val="0"/>
          <c:order val="0"/>
          <c:spPr>
            <a:ln w="28575" cap="rnd">
              <a:solidFill>
                <a:srgbClr val="002060"/>
              </a:solidFill>
              <a:round/>
            </a:ln>
            <a:effectLst/>
          </c:spPr>
          <c:marker>
            <c:symbol val="none"/>
          </c:marker>
          <c:cat>
            <c:numRef>
              <c:f>Tabelle1!$B$19:$B$29</c:f>
              <c:numCache>
                <c:formatCode>General</c:formatCode>
                <c:ptCount val="11"/>
                <c:pt idx="0">
                  <c:v>0</c:v>
                </c:pt>
                <c:pt idx="1">
                  <c:v>2</c:v>
                </c:pt>
                <c:pt idx="2">
                  <c:v>4</c:v>
                </c:pt>
                <c:pt idx="3">
                  <c:v>6</c:v>
                </c:pt>
                <c:pt idx="4">
                  <c:v>8</c:v>
                </c:pt>
                <c:pt idx="5">
                  <c:v>10</c:v>
                </c:pt>
                <c:pt idx="6">
                  <c:v>12</c:v>
                </c:pt>
                <c:pt idx="7">
                  <c:v>14</c:v>
                </c:pt>
                <c:pt idx="8">
                  <c:v>16</c:v>
                </c:pt>
                <c:pt idx="9">
                  <c:v>18</c:v>
                </c:pt>
                <c:pt idx="10">
                  <c:v>20</c:v>
                </c:pt>
              </c:numCache>
            </c:numRef>
          </c:cat>
          <c:val>
            <c:numRef>
              <c:f>Tabelle1!$C$19:$C$29</c:f>
              <c:numCache>
                <c:formatCode>General</c:formatCode>
                <c:ptCount val="11"/>
                <c:pt idx="0">
                  <c:v>0</c:v>
                </c:pt>
                <c:pt idx="1">
                  <c:v>10</c:v>
                </c:pt>
                <c:pt idx="2">
                  <c:v>8</c:v>
                </c:pt>
                <c:pt idx="3">
                  <c:v>12</c:v>
                </c:pt>
                <c:pt idx="4">
                  <c:v>14</c:v>
                </c:pt>
                <c:pt idx="5">
                  <c:v>12</c:v>
                </c:pt>
                <c:pt idx="6">
                  <c:v>10</c:v>
                </c:pt>
                <c:pt idx="7">
                  <c:v>10</c:v>
                </c:pt>
                <c:pt idx="8">
                  <c:v>10</c:v>
                </c:pt>
              </c:numCache>
            </c:numRef>
          </c:val>
          <c:smooth val="0"/>
          <c:extLst>
            <c:ext xmlns:c16="http://schemas.microsoft.com/office/drawing/2014/chart" uri="{C3380CC4-5D6E-409C-BE32-E72D297353CC}">
              <c16:uniqueId val="{00000000-839E-49CD-94DC-9FE28C26F513}"/>
            </c:ext>
          </c:extLst>
        </c:ser>
        <c:dLbls>
          <c:showLegendKey val="0"/>
          <c:showVal val="0"/>
          <c:showCatName val="0"/>
          <c:showSerName val="0"/>
          <c:showPercent val="0"/>
          <c:showBubbleSize val="0"/>
        </c:dLbls>
        <c:smooth val="0"/>
        <c:axId val="1109532888"/>
        <c:axId val="1109533872"/>
      </c:lineChart>
      <c:catAx>
        <c:axId val="11095328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Time in h</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3872"/>
        <c:crosses val="autoZero"/>
        <c:auto val="1"/>
        <c:lblAlgn val="ctr"/>
        <c:lblOffset val="100"/>
        <c:noMultiLvlLbl val="0"/>
      </c:catAx>
      <c:valAx>
        <c:axId val="110953387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a:solidFill>
                      <a:schemeClr val="tx1"/>
                    </a:solidFill>
                    <a:latin typeface="Helvetica" panose="020B0604020202020204" pitchFamily="34" charset="0"/>
                    <a:cs typeface="Helvetica" panose="020B0604020202020204" pitchFamily="34" charset="0"/>
                  </a:rPr>
                  <a:t>Speed in </a:t>
                </a:r>
                <a:r>
                  <a:rPr lang="de-DE" err="1">
                    <a:solidFill>
                      <a:schemeClr val="tx1"/>
                    </a:solidFill>
                    <a:latin typeface="Helvetica" panose="020B0604020202020204" pitchFamily="34" charset="0"/>
                    <a:cs typeface="Helvetica" panose="020B0604020202020204" pitchFamily="34" charset="0"/>
                  </a:rPr>
                  <a:t>kn</a:t>
                </a:r>
                <a:endParaRPr lang="de-DE">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109532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079307249383"/>
          <c:y val="0.36786134079889232"/>
          <c:w val="0.4716630183013521"/>
          <c:h val="0.53381801421285424"/>
        </c:manualLayout>
      </c:layout>
      <c:barChart>
        <c:barDir val="col"/>
        <c:grouping val="stacked"/>
        <c:varyColors val="0"/>
        <c:ser>
          <c:idx val="0"/>
          <c:order val="0"/>
          <c:tx>
            <c:strRef>
              <c:f>Tabelle1!$A$2</c:f>
              <c:strCache>
                <c:ptCount val="1"/>
                <c:pt idx="0">
                  <c:v>All ships of this type</c:v>
                </c:pt>
              </c:strCache>
            </c:strRef>
          </c:tx>
          <c:spPr>
            <a:solidFill>
              <a:schemeClr val="tx1"/>
            </a:solidFill>
            <a:ln>
              <a:noFill/>
            </a:ln>
            <a:effectLst/>
          </c:spPr>
          <c:invertIfNegative val="0"/>
          <c:cat>
            <c:strRef>
              <c:f>Tabelle1!$B$1:$D$1</c:f>
              <c:strCache>
                <c:ptCount val="3"/>
                <c:pt idx="0">
                  <c:v>16th Jul</c:v>
                </c:pt>
                <c:pt idx="1">
                  <c:v>17th Jul</c:v>
                </c:pt>
                <c:pt idx="2">
                  <c:v>18th Jul</c:v>
                </c:pt>
              </c:strCache>
            </c:strRef>
          </c:cat>
          <c:val>
            <c:numRef>
              <c:f>Tabelle1!$B$2:$D$2</c:f>
              <c:numCache>
                <c:formatCode>General</c:formatCode>
                <c:ptCount val="3"/>
                <c:pt idx="0">
                  <c:v>450</c:v>
                </c:pt>
                <c:pt idx="1">
                  <c:v>350</c:v>
                </c:pt>
                <c:pt idx="2">
                  <c:v>450</c:v>
                </c:pt>
              </c:numCache>
            </c:numRef>
          </c:val>
          <c:extLst>
            <c:ext xmlns:c16="http://schemas.microsoft.com/office/drawing/2014/chart" uri="{C3380CC4-5D6E-409C-BE32-E72D297353CC}">
              <c16:uniqueId val="{00000000-AA3F-437A-ABEB-ACAC51710EE1}"/>
            </c:ext>
          </c:extLst>
        </c:ser>
        <c:ser>
          <c:idx val="1"/>
          <c:order val="1"/>
          <c:tx>
            <c:strRef>
              <c:f>Tabelle1!$A$3</c:f>
              <c:strCache>
                <c:ptCount val="1"/>
                <c:pt idx="0">
                  <c:v>No additional information</c:v>
                </c:pt>
              </c:strCache>
            </c:strRef>
          </c:tx>
          <c:spPr>
            <a:solidFill>
              <a:schemeClr val="bg1">
                <a:lumMod val="50000"/>
              </a:schemeClr>
            </a:solidFill>
            <a:ln>
              <a:noFill/>
            </a:ln>
            <a:effectLst/>
          </c:spPr>
          <c:invertIfNegative val="0"/>
          <c:cat>
            <c:strRef>
              <c:f>Tabelle1!$B$1:$D$1</c:f>
              <c:strCache>
                <c:ptCount val="3"/>
                <c:pt idx="0">
                  <c:v>16th Jul</c:v>
                </c:pt>
                <c:pt idx="1">
                  <c:v>17th Jul</c:v>
                </c:pt>
                <c:pt idx="2">
                  <c:v>18th Jul</c:v>
                </c:pt>
              </c:strCache>
            </c:strRef>
          </c:cat>
          <c:val>
            <c:numRef>
              <c:f>Tabelle1!$B$3:$D$3</c:f>
              <c:numCache>
                <c:formatCode>General</c:formatCode>
                <c:ptCount val="3"/>
                <c:pt idx="0">
                  <c:v>380</c:v>
                </c:pt>
                <c:pt idx="1">
                  <c:v>300</c:v>
                </c:pt>
                <c:pt idx="2">
                  <c:v>330</c:v>
                </c:pt>
              </c:numCache>
            </c:numRef>
          </c:val>
          <c:extLst>
            <c:ext xmlns:c16="http://schemas.microsoft.com/office/drawing/2014/chart" uri="{C3380CC4-5D6E-409C-BE32-E72D297353CC}">
              <c16:uniqueId val="{00000001-AA3F-437A-ABEB-ACAC51710EE1}"/>
            </c:ext>
          </c:extLst>
        </c:ser>
        <c:ser>
          <c:idx val="2"/>
          <c:order val="2"/>
          <c:tx>
            <c:strRef>
              <c:f>Tabelle1!$A$4</c:f>
              <c:strCache>
                <c:ptCount val="1"/>
                <c:pt idx="0">
                  <c:v>All ships of this type</c:v>
                </c:pt>
              </c:strCache>
            </c:strRef>
          </c:tx>
          <c:spPr>
            <a:solidFill>
              <a:schemeClr val="bg1">
                <a:lumMod val="85000"/>
              </a:schemeClr>
            </a:solidFill>
            <a:ln>
              <a:noFill/>
            </a:ln>
            <a:effectLst/>
          </c:spPr>
          <c:invertIfNegative val="0"/>
          <c:cat>
            <c:strRef>
              <c:f>Tabelle1!$B$1:$D$1</c:f>
              <c:strCache>
                <c:ptCount val="3"/>
                <c:pt idx="0">
                  <c:v>16th Jul</c:v>
                </c:pt>
                <c:pt idx="1">
                  <c:v>17th Jul</c:v>
                </c:pt>
                <c:pt idx="2">
                  <c:v>18th Jul</c:v>
                </c:pt>
              </c:strCache>
            </c:strRef>
          </c:cat>
          <c:val>
            <c:numRef>
              <c:f>Tabelle1!$B$4:$D$4</c:f>
              <c:numCache>
                <c:formatCode>General</c:formatCode>
                <c:ptCount val="3"/>
                <c:pt idx="0">
                  <c:v>300</c:v>
                </c:pt>
                <c:pt idx="1">
                  <c:v>280</c:v>
                </c:pt>
                <c:pt idx="2">
                  <c:v>370</c:v>
                </c:pt>
              </c:numCache>
            </c:numRef>
          </c:val>
          <c:extLst>
            <c:ext xmlns:c16="http://schemas.microsoft.com/office/drawing/2014/chart" uri="{C3380CC4-5D6E-409C-BE32-E72D297353CC}">
              <c16:uniqueId val="{00000002-AA3F-437A-ABEB-ACAC51710EE1}"/>
            </c:ext>
          </c:extLst>
        </c:ser>
        <c:ser>
          <c:idx val="3"/>
          <c:order val="3"/>
          <c:tx>
            <c:strRef>
              <c:f>Tabelle1!$A$5</c:f>
              <c:strCache>
                <c:ptCount val="1"/>
                <c:pt idx="0">
                  <c:v>Type B</c:v>
                </c:pt>
              </c:strCache>
            </c:strRef>
          </c:tx>
          <c:spPr>
            <a:solidFill>
              <a:schemeClr val="accent5">
                <a:lumMod val="75000"/>
              </a:schemeClr>
            </a:solidFill>
            <a:ln>
              <a:noFill/>
            </a:ln>
            <a:effectLst/>
          </c:spPr>
          <c:invertIfNegative val="0"/>
          <c:cat>
            <c:strRef>
              <c:f>Tabelle1!$B$1:$D$1</c:f>
              <c:strCache>
                <c:ptCount val="3"/>
                <c:pt idx="0">
                  <c:v>16th Jul</c:v>
                </c:pt>
                <c:pt idx="1">
                  <c:v>17th Jul</c:v>
                </c:pt>
                <c:pt idx="2">
                  <c:v>18th Jul</c:v>
                </c:pt>
              </c:strCache>
            </c:strRef>
          </c:cat>
          <c:val>
            <c:numRef>
              <c:f>Tabelle1!$B$5:$D$5</c:f>
              <c:numCache>
                <c:formatCode>General</c:formatCode>
                <c:ptCount val="3"/>
                <c:pt idx="0">
                  <c:v>250</c:v>
                </c:pt>
                <c:pt idx="1">
                  <c:v>230</c:v>
                </c:pt>
                <c:pt idx="2">
                  <c:v>250</c:v>
                </c:pt>
              </c:numCache>
            </c:numRef>
          </c:val>
          <c:extLst>
            <c:ext xmlns:c16="http://schemas.microsoft.com/office/drawing/2014/chart" uri="{C3380CC4-5D6E-409C-BE32-E72D297353CC}">
              <c16:uniqueId val="{00000008-AA3F-437A-ABEB-ACAC51710EE1}"/>
            </c:ext>
          </c:extLst>
        </c:ser>
        <c:ser>
          <c:idx val="4"/>
          <c:order val="4"/>
          <c:tx>
            <c:strRef>
              <c:f>Tabelle1!$A$6</c:f>
              <c:strCache>
                <c:ptCount val="1"/>
                <c:pt idx="0">
                  <c:v>Type C</c:v>
                </c:pt>
              </c:strCache>
            </c:strRef>
          </c:tx>
          <c:spPr>
            <a:solidFill>
              <a:schemeClr val="accent1">
                <a:lumMod val="40000"/>
                <a:lumOff val="60000"/>
              </a:schemeClr>
            </a:solidFill>
            <a:ln>
              <a:noFill/>
            </a:ln>
            <a:effectLst/>
          </c:spPr>
          <c:invertIfNegative val="0"/>
          <c:cat>
            <c:strRef>
              <c:f>Tabelle1!$B$1:$D$1</c:f>
              <c:strCache>
                <c:ptCount val="3"/>
                <c:pt idx="0">
                  <c:v>16th Jul</c:v>
                </c:pt>
                <c:pt idx="1">
                  <c:v>17th Jul</c:v>
                </c:pt>
                <c:pt idx="2">
                  <c:v>18th Jul</c:v>
                </c:pt>
              </c:strCache>
            </c:strRef>
          </c:cat>
          <c:val>
            <c:numRef>
              <c:f>Tabelle1!$B$6:$D$6</c:f>
              <c:numCache>
                <c:formatCode>General</c:formatCode>
                <c:ptCount val="3"/>
                <c:pt idx="0">
                  <c:v>180</c:v>
                </c:pt>
                <c:pt idx="1">
                  <c:v>321</c:v>
                </c:pt>
                <c:pt idx="2">
                  <c:v>174</c:v>
                </c:pt>
              </c:numCache>
            </c:numRef>
          </c:val>
          <c:extLst>
            <c:ext xmlns:c16="http://schemas.microsoft.com/office/drawing/2014/chart" uri="{C3380CC4-5D6E-409C-BE32-E72D297353CC}">
              <c16:uniqueId val="{00000009-AA3F-437A-ABEB-ACAC51710EE1}"/>
            </c:ext>
          </c:extLst>
        </c:ser>
        <c:ser>
          <c:idx val="5"/>
          <c:order val="5"/>
          <c:tx>
            <c:strRef>
              <c:f>Tabelle1!$A$7</c:f>
              <c:strCache>
                <c:ptCount val="1"/>
                <c:pt idx="0">
                  <c:v>Type D</c:v>
                </c:pt>
              </c:strCache>
            </c:strRef>
          </c:tx>
          <c:spPr>
            <a:solidFill>
              <a:schemeClr val="accent1">
                <a:lumMod val="60000"/>
                <a:lumOff val="40000"/>
              </a:schemeClr>
            </a:solidFill>
            <a:ln>
              <a:noFill/>
            </a:ln>
            <a:effectLst/>
          </c:spPr>
          <c:invertIfNegative val="0"/>
          <c:cat>
            <c:strRef>
              <c:f>Tabelle1!$B$1:$D$1</c:f>
              <c:strCache>
                <c:ptCount val="3"/>
                <c:pt idx="0">
                  <c:v>16th Jul</c:v>
                </c:pt>
                <c:pt idx="1">
                  <c:v>17th Jul</c:v>
                </c:pt>
                <c:pt idx="2">
                  <c:v>18th Jul</c:v>
                </c:pt>
              </c:strCache>
            </c:strRef>
          </c:cat>
          <c:val>
            <c:numRef>
              <c:f>Tabelle1!$B$7:$D$7</c:f>
              <c:numCache>
                <c:formatCode>General</c:formatCode>
                <c:ptCount val="3"/>
                <c:pt idx="0">
                  <c:v>250</c:v>
                </c:pt>
                <c:pt idx="1">
                  <c:v>250</c:v>
                </c:pt>
                <c:pt idx="2">
                  <c:v>256</c:v>
                </c:pt>
              </c:numCache>
            </c:numRef>
          </c:val>
          <c:extLst>
            <c:ext xmlns:c16="http://schemas.microsoft.com/office/drawing/2014/chart" uri="{C3380CC4-5D6E-409C-BE32-E72D297353CC}">
              <c16:uniqueId val="{0000000A-AA3F-437A-ABEB-ACAC51710EE1}"/>
            </c:ext>
          </c:extLst>
        </c:ser>
        <c:ser>
          <c:idx val="6"/>
          <c:order val="6"/>
          <c:tx>
            <c:strRef>
              <c:f>Tabelle1!$A$8</c:f>
              <c:strCache>
                <c:ptCount val="1"/>
                <c:pt idx="0">
                  <c:v>No additional information</c:v>
                </c:pt>
              </c:strCache>
            </c:strRef>
          </c:tx>
          <c:spPr>
            <a:solidFill>
              <a:schemeClr val="accent1">
                <a:lumMod val="60000"/>
              </a:schemeClr>
            </a:solidFill>
            <a:ln>
              <a:noFill/>
            </a:ln>
            <a:effectLst/>
          </c:spPr>
          <c:invertIfNegative val="0"/>
          <c:cat>
            <c:strRef>
              <c:f>Tabelle1!$B$1:$D$1</c:f>
              <c:strCache>
                <c:ptCount val="3"/>
                <c:pt idx="0">
                  <c:v>16th Jul</c:v>
                </c:pt>
                <c:pt idx="1">
                  <c:v>17th Jul</c:v>
                </c:pt>
                <c:pt idx="2">
                  <c:v>18th Jul</c:v>
                </c:pt>
              </c:strCache>
            </c:strRef>
          </c:cat>
          <c:val>
            <c:numRef>
              <c:f>Tabelle1!$B$8:$D$8</c:f>
              <c:numCache>
                <c:formatCode>General</c:formatCode>
                <c:ptCount val="3"/>
                <c:pt idx="0">
                  <c:v>400</c:v>
                </c:pt>
                <c:pt idx="1">
                  <c:v>375</c:v>
                </c:pt>
                <c:pt idx="2">
                  <c:v>400</c:v>
                </c:pt>
              </c:numCache>
            </c:numRef>
          </c:val>
          <c:extLst>
            <c:ext xmlns:c16="http://schemas.microsoft.com/office/drawing/2014/chart" uri="{C3380CC4-5D6E-409C-BE32-E72D297353CC}">
              <c16:uniqueId val="{0000000B-AA3F-437A-ABEB-ACAC51710EE1}"/>
            </c:ext>
          </c:extLst>
        </c:ser>
        <c:dLbls>
          <c:showLegendKey val="0"/>
          <c:showVal val="0"/>
          <c:showCatName val="0"/>
          <c:showSerName val="0"/>
          <c:showPercent val="0"/>
          <c:showBubbleSize val="0"/>
        </c:dLbls>
        <c:gapWidth val="150"/>
        <c:overlap val="100"/>
        <c:axId val="1361555648"/>
        <c:axId val="1361556064"/>
      </c:barChart>
      <c:lineChart>
        <c:grouping val="standard"/>
        <c:varyColors val="0"/>
        <c:ser>
          <c:idx val="7"/>
          <c:order val="7"/>
          <c:tx>
            <c:strRef>
              <c:f>Tabelle1!$A$9</c:f>
              <c:strCache>
                <c:ptCount val="1"/>
                <c:pt idx="0">
                  <c:v>Total Number of Vessels</c:v>
                </c:pt>
              </c:strCache>
            </c:strRef>
          </c:tx>
          <c:spPr>
            <a:ln w="28575" cap="rnd">
              <a:no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1!$B$9:$D$9</c:f>
              <c:numCache>
                <c:formatCode>General</c:formatCode>
                <c:ptCount val="3"/>
                <c:pt idx="0">
                  <c:v>2210</c:v>
                </c:pt>
                <c:pt idx="1">
                  <c:v>2106</c:v>
                </c:pt>
                <c:pt idx="2">
                  <c:v>2230</c:v>
                </c:pt>
              </c:numCache>
            </c:numRef>
          </c:val>
          <c:smooth val="0"/>
          <c:extLst>
            <c:ext xmlns:c16="http://schemas.microsoft.com/office/drawing/2014/chart" uri="{C3380CC4-5D6E-409C-BE32-E72D297353CC}">
              <c16:uniqueId val="{0000000E-AA3F-437A-ABEB-ACAC51710EE1}"/>
            </c:ext>
          </c:extLst>
        </c:ser>
        <c:dLbls>
          <c:showLegendKey val="0"/>
          <c:showVal val="0"/>
          <c:showCatName val="0"/>
          <c:showSerName val="0"/>
          <c:showPercent val="0"/>
          <c:showBubbleSize val="0"/>
        </c:dLbls>
        <c:marker val="1"/>
        <c:smooth val="0"/>
        <c:axId val="1361555648"/>
        <c:axId val="1361556064"/>
      </c:lineChart>
      <c:catAx>
        <c:axId val="13615556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6064"/>
        <c:crosses val="autoZero"/>
        <c:auto val="1"/>
        <c:lblAlgn val="ctr"/>
        <c:lblOffset val="100"/>
        <c:noMultiLvlLbl val="0"/>
      </c:catAx>
      <c:valAx>
        <c:axId val="13615560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36155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43273303916482"/>
          <c:y val="0.11704311763606161"/>
          <c:w val="0.84146383085426124"/>
          <c:h val="0.54509732452216875"/>
        </c:manualLayout>
      </c:layout>
      <c:lineChart>
        <c:grouping val="standard"/>
        <c:varyColors val="0"/>
        <c:ser>
          <c:idx val="0"/>
          <c:order val="0"/>
          <c:tx>
            <c:strRef>
              <c:f>Tabelle1!$A$2</c:f>
              <c:strCache>
                <c:ptCount val="1"/>
                <c:pt idx="0">
                  <c:v>Arrivals</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2:$Y$2</c:f>
              <c:numCache>
                <c:formatCode>General</c:formatCode>
                <c:ptCount val="24"/>
                <c:pt idx="0">
                  <c:v>115</c:v>
                </c:pt>
                <c:pt idx="1">
                  <c:v>101</c:v>
                </c:pt>
                <c:pt idx="2">
                  <c:v>95</c:v>
                </c:pt>
                <c:pt idx="3">
                  <c:v>94</c:v>
                </c:pt>
                <c:pt idx="4">
                  <c:v>75</c:v>
                </c:pt>
                <c:pt idx="5">
                  <c:v>70</c:v>
                </c:pt>
                <c:pt idx="6">
                  <c:v>60</c:v>
                </c:pt>
                <c:pt idx="7">
                  <c:v>57</c:v>
                </c:pt>
                <c:pt idx="8">
                  <c:v>73</c:v>
                </c:pt>
                <c:pt idx="9">
                  <c:v>77</c:v>
                </c:pt>
                <c:pt idx="10">
                  <c:v>99</c:v>
                </c:pt>
                <c:pt idx="11">
                  <c:v>117</c:v>
                </c:pt>
                <c:pt idx="12">
                  <c:v>130</c:v>
                </c:pt>
                <c:pt idx="13">
                  <c:v>135</c:v>
                </c:pt>
                <c:pt idx="14">
                  <c:v>140</c:v>
                </c:pt>
                <c:pt idx="15">
                  <c:v>145</c:v>
                </c:pt>
                <c:pt idx="16">
                  <c:v>128</c:v>
                </c:pt>
                <c:pt idx="17">
                  <c:v>124</c:v>
                </c:pt>
                <c:pt idx="18">
                  <c:v>117</c:v>
                </c:pt>
                <c:pt idx="19">
                  <c:v>119</c:v>
                </c:pt>
                <c:pt idx="20">
                  <c:v>114</c:v>
                </c:pt>
                <c:pt idx="21">
                  <c:v>117</c:v>
                </c:pt>
                <c:pt idx="22">
                  <c:v>115</c:v>
                </c:pt>
                <c:pt idx="23">
                  <c:v>116</c:v>
                </c:pt>
              </c:numCache>
            </c:numRef>
          </c:val>
          <c:smooth val="0"/>
          <c:extLst>
            <c:ext xmlns:c16="http://schemas.microsoft.com/office/drawing/2014/chart" uri="{C3380CC4-5D6E-409C-BE32-E72D297353CC}">
              <c16:uniqueId val="{0000000C-1B5E-4C02-9E83-156776AD3005}"/>
            </c:ext>
          </c:extLst>
        </c:ser>
        <c:ser>
          <c:idx val="1"/>
          <c:order val="1"/>
          <c:tx>
            <c:strRef>
              <c:f>Tabelle1!$A$3</c:f>
              <c:strCache>
                <c:ptCount val="1"/>
                <c:pt idx="0">
                  <c:v>Departures</c:v>
                </c:pt>
              </c:strCache>
            </c:strRef>
          </c:tx>
          <c:spPr>
            <a:ln w="28575" cap="rnd">
              <a:solidFill>
                <a:srgbClr val="43567A"/>
              </a:solidFill>
              <a:round/>
            </a:ln>
            <a:effectLst/>
          </c:spPr>
          <c:marker>
            <c:symbol val="circle"/>
            <c:size val="5"/>
            <c:spPr>
              <a:solidFill>
                <a:srgbClr val="43567A"/>
              </a:solidFill>
              <a:ln w="9525">
                <a:solidFill>
                  <a:srgbClr val="43567A"/>
                </a:solidFill>
              </a:ln>
              <a:effectLst/>
            </c:spPr>
          </c:marker>
          <c:cat>
            <c:numRef>
              <c:f>Tabelle1!$B$1:$Y$1</c:f>
              <c:numCache>
                <c:formatCode>General</c:formatCode>
                <c:ptCount val="24"/>
                <c:pt idx="0">
                  <c:v>8</c:v>
                </c:pt>
                <c:pt idx="1">
                  <c:v>9</c:v>
                </c:pt>
                <c:pt idx="2">
                  <c:v>10</c:v>
                </c:pt>
                <c:pt idx="3">
                  <c:v>11</c:v>
                </c:pt>
                <c:pt idx="4">
                  <c:v>12</c:v>
                </c:pt>
                <c:pt idx="5">
                  <c:v>1</c:v>
                </c:pt>
                <c:pt idx="6">
                  <c:v>2</c:v>
                </c:pt>
                <c:pt idx="7">
                  <c:v>3</c:v>
                </c:pt>
                <c:pt idx="8">
                  <c:v>4</c:v>
                </c:pt>
                <c:pt idx="9">
                  <c:v>5</c:v>
                </c:pt>
                <c:pt idx="10">
                  <c:v>6</c:v>
                </c:pt>
                <c:pt idx="11">
                  <c:v>7</c:v>
                </c:pt>
                <c:pt idx="12">
                  <c:v>8</c:v>
                </c:pt>
                <c:pt idx="13">
                  <c:v>9</c:v>
                </c:pt>
                <c:pt idx="14">
                  <c:v>10</c:v>
                </c:pt>
                <c:pt idx="15">
                  <c:v>11</c:v>
                </c:pt>
                <c:pt idx="16">
                  <c:v>12</c:v>
                </c:pt>
                <c:pt idx="17">
                  <c:v>1</c:v>
                </c:pt>
                <c:pt idx="18">
                  <c:v>2</c:v>
                </c:pt>
                <c:pt idx="19">
                  <c:v>3</c:v>
                </c:pt>
                <c:pt idx="20">
                  <c:v>4</c:v>
                </c:pt>
                <c:pt idx="21">
                  <c:v>5</c:v>
                </c:pt>
                <c:pt idx="22">
                  <c:v>6</c:v>
                </c:pt>
                <c:pt idx="23">
                  <c:v>7</c:v>
                </c:pt>
              </c:numCache>
            </c:numRef>
          </c:cat>
          <c:val>
            <c:numRef>
              <c:f>Tabelle1!$B$3:$Y$3</c:f>
              <c:numCache>
                <c:formatCode>General</c:formatCode>
                <c:ptCount val="24"/>
                <c:pt idx="0">
                  <c:v>78</c:v>
                </c:pt>
                <c:pt idx="1">
                  <c:v>79</c:v>
                </c:pt>
                <c:pt idx="2">
                  <c:v>97</c:v>
                </c:pt>
                <c:pt idx="3">
                  <c:v>101</c:v>
                </c:pt>
                <c:pt idx="4">
                  <c:v>115</c:v>
                </c:pt>
                <c:pt idx="5">
                  <c:v>90</c:v>
                </c:pt>
                <c:pt idx="6">
                  <c:v>94</c:v>
                </c:pt>
                <c:pt idx="7">
                  <c:v>83</c:v>
                </c:pt>
                <c:pt idx="8">
                  <c:v>76</c:v>
                </c:pt>
                <c:pt idx="9">
                  <c:v>79</c:v>
                </c:pt>
                <c:pt idx="10">
                  <c:v>76</c:v>
                </c:pt>
                <c:pt idx="11">
                  <c:v>90</c:v>
                </c:pt>
                <c:pt idx="12">
                  <c:v>100</c:v>
                </c:pt>
                <c:pt idx="13">
                  <c:v>110</c:v>
                </c:pt>
                <c:pt idx="14">
                  <c:v>125</c:v>
                </c:pt>
                <c:pt idx="15">
                  <c:v>126</c:v>
                </c:pt>
                <c:pt idx="16">
                  <c:v>149</c:v>
                </c:pt>
                <c:pt idx="17">
                  <c:v>165</c:v>
                </c:pt>
                <c:pt idx="18">
                  <c:v>149</c:v>
                </c:pt>
                <c:pt idx="19">
                  <c:v>130</c:v>
                </c:pt>
                <c:pt idx="20">
                  <c:v>106</c:v>
                </c:pt>
                <c:pt idx="21">
                  <c:v>90</c:v>
                </c:pt>
                <c:pt idx="22">
                  <c:v>93</c:v>
                </c:pt>
                <c:pt idx="23">
                  <c:v>75</c:v>
                </c:pt>
              </c:numCache>
            </c:numRef>
          </c:val>
          <c:smooth val="0"/>
          <c:extLst>
            <c:ext xmlns:c16="http://schemas.microsoft.com/office/drawing/2014/chart" uri="{C3380CC4-5D6E-409C-BE32-E72D297353CC}">
              <c16:uniqueId val="{0000000D-1B5E-4C02-9E83-156776AD3005}"/>
            </c:ext>
          </c:extLst>
        </c:ser>
        <c:dLbls>
          <c:showLegendKey val="0"/>
          <c:showVal val="0"/>
          <c:showCatName val="0"/>
          <c:showSerName val="0"/>
          <c:showPercent val="0"/>
          <c:showBubbleSize val="0"/>
        </c:dLbls>
        <c:marker val="1"/>
        <c:smooth val="0"/>
        <c:axId val="157675328"/>
        <c:axId val="157676576"/>
      </c:lineChart>
      <c:catAx>
        <c:axId val="15767532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a:solidFill>
                      <a:schemeClr val="tx1"/>
                    </a:solidFill>
                    <a:latin typeface="Helvetica" panose="020B0604020202020204" pitchFamily="34" charset="0"/>
                    <a:cs typeface="Helvetica" panose="020B0604020202020204" pitchFamily="34" charset="0"/>
                  </a:rPr>
                  <a:t>Time</a:t>
                </a:r>
              </a:p>
            </c:rich>
          </c:tx>
          <c:layout>
            <c:manualLayout>
              <c:xMode val="edge"/>
              <c:yMode val="edge"/>
              <c:x val="0.52184357989391827"/>
              <c:y val="0.879375308471722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6576"/>
        <c:crosses val="autoZero"/>
        <c:auto val="1"/>
        <c:lblAlgn val="ctr"/>
        <c:lblOffset val="100"/>
        <c:noMultiLvlLbl val="0"/>
      </c:catAx>
      <c:valAx>
        <c:axId val="15767657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r>
                  <a:rPr lang="de-DE" sz="1200" err="1">
                    <a:solidFill>
                      <a:schemeClr val="tx1"/>
                    </a:solidFill>
                    <a:latin typeface="Helvetica" panose="020B0604020202020204" pitchFamily="34" charset="0"/>
                    <a:cs typeface="Helvetica" panose="020B0604020202020204" pitchFamily="34" charset="0"/>
                  </a:rPr>
                  <a:t>Number</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of</a:t>
                </a:r>
                <a:r>
                  <a:rPr lang="de-DE" sz="1200">
                    <a:solidFill>
                      <a:schemeClr val="tx1"/>
                    </a:solidFill>
                    <a:latin typeface="Helvetica" panose="020B0604020202020204" pitchFamily="34" charset="0"/>
                    <a:cs typeface="Helvetica" panose="020B0604020202020204" pitchFamily="34" charset="0"/>
                  </a:rPr>
                  <a:t> </a:t>
                </a:r>
                <a:r>
                  <a:rPr lang="de-DE" sz="1200" err="1">
                    <a:solidFill>
                      <a:schemeClr val="tx1"/>
                    </a:solidFill>
                    <a:latin typeface="Helvetica" panose="020B0604020202020204" pitchFamily="34" charset="0"/>
                    <a:cs typeface="Helvetica" panose="020B0604020202020204" pitchFamily="34" charset="0"/>
                  </a:rPr>
                  <a:t>vessels</a:t>
                </a:r>
                <a:endParaRPr lang="de-DE" sz="1200">
                  <a:solidFill>
                    <a:schemeClr val="tx1"/>
                  </a:solidFill>
                  <a:latin typeface="Helvetica" panose="020B0604020202020204" pitchFamily="34" charset="0"/>
                  <a:cs typeface="Helvetica" panose="020B0604020202020204" pitchFamily="34" charset="0"/>
                </a:endParaRPr>
              </a:p>
            </c:rich>
          </c:tx>
          <c:layout>
            <c:manualLayout>
              <c:xMode val="edge"/>
              <c:yMode val="edge"/>
              <c:x val="0"/>
              <c:y val="0.1752089528549652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de-DE"/>
          </a:p>
        </c:txPr>
        <c:crossAx val="157675328"/>
        <c:crosses val="autoZero"/>
        <c:crossBetween val="between"/>
        <c:majorUnit val="50"/>
      </c:valAx>
      <c:spPr>
        <a:noFill/>
        <a:ln>
          <a:noFill/>
        </a:ln>
        <a:effectLst/>
      </c:spPr>
    </c:plotArea>
    <c:legend>
      <c:legendPos val="r"/>
      <c:layout>
        <c:manualLayout>
          <c:xMode val="edge"/>
          <c:yMode val="edge"/>
          <c:x val="0.5366543961012803"/>
          <c:y val="2.1950905437415958E-3"/>
          <c:w val="0.45889917820877613"/>
          <c:h val="0.105909375402408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0A8F000-183F-A841-A4D2-BD5FC489CE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F6B6592-6469-AD49-BDFD-7EF3043C50C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9205A3E-3C80-1246-9F22-8D4184730A75}" type="datetimeFigureOut">
              <a:rPr lang="de-DE" smtClean="0"/>
              <a:t>09.03.2022</a:t>
            </a:fld>
            <a:endParaRPr lang="de-DE"/>
          </a:p>
        </p:txBody>
      </p:sp>
      <p:sp>
        <p:nvSpPr>
          <p:cNvPr id="4" name="Fußzeilenplatzhalter 3">
            <a:extLst>
              <a:ext uri="{FF2B5EF4-FFF2-40B4-BE49-F238E27FC236}">
                <a16:creationId xmlns:a16="http://schemas.microsoft.com/office/drawing/2014/main" id="{C23FA117-D78D-284C-A1CA-5A006B45F23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2DB9C1DF-AC27-574A-A18B-3B337BDCF9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C5B5D-4EEB-814C-A892-F0ED59D0EABB}" type="slidenum">
              <a:rPr lang="de-DE" smtClean="0"/>
              <a:t>‹#›</a:t>
            </a:fld>
            <a:endParaRPr lang="de-DE"/>
          </a:p>
        </p:txBody>
      </p:sp>
    </p:spTree>
    <p:extLst>
      <p:ext uri="{BB962C8B-B14F-4D97-AF65-F5344CB8AC3E}">
        <p14:creationId xmlns:p14="http://schemas.microsoft.com/office/powerpoint/2010/main" val="3688861466"/>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2:01.689"/>
    </inkml:context>
    <inkml:brush xml:id="br0">
      <inkml:brushProperty name="width" value="0.2" units="cm"/>
      <inkml:brushProperty name="height" value="0.2" units="cm"/>
      <inkml:brushProperty name="color" value="#FFFFFF"/>
    </inkml:brush>
  </inkml:definitions>
  <inkml:trace contextRef="#ctx0" brushRef="#br0">1468 3879 24575,'-15'-2'0,"1"-2"0,2-2 0,4-2 0,-4 2 0,5 0 0,0-1 0,-2 2 0,4-3 0,-6 0 0,5-1 0,-6-1 0,2 2 0,2 0 0,-4 0 0,2-1 0,0-1 0,-6 0 0,6 0 0,-5 0 0,4-3 0,-5 1 0,5-3 0,-5 3 0,4-4 0,0 5 0,2-1 0,1 3 0,2 0 0,-2 0 0,4 0 0,-1 0 0,1-3 0,-2 2 0,2-2 0,-4 3 0,4 0 0,-1 0 0,-1 0 0,3 2 0,-3-1 0,4 4 0,-1-2 0,2 0 0,-1 2 0,-2-5 0,1 3 0,-3-3 0,3 0 0,-3 0 0,2 0 0,-4-4 0,3 0 0,-4-3 0,1-5 0,1 7 0,1-5 0,2 5 0,-5-11 0,4 6 0,-5-11 0,6 12 0,-2-7 0,1 3 0,0-4 0,2 0 0,-1 4 0,2 1 0,0 8 0,0 1 0,3 3 0,-1 2 0,0-1 0,0 4 0,-1-2 0,1 1 0,-1-1 0,-5-10 0,3 6 0,-5-10 0,4 2 0,-1 1 0,0-8 0,0 3 0,-3 0 0,3 5 0,-2 1 0,4 6 0,-1 0 0,3 4 0,0 0 0,1 2 0,0-2 0,-4 1 0,2-5 0,-4-4 0,2 1 0,-3-2 0,2-3 0,-2 1 0,1-1 0,1 3 0,-1 1 0,1-2 0,1 3 0,0-3 0,0 6 0,-3-5 0,3 2 0,-3-4 0,2 1 0,1-1 0,-1 1 0,3 2 0,-2-1 0,5 5 0,-5-2 0,5 3 0,-2 2 0,2-1 0,0 4 0,0-5 0,0 5 0,0-2 0,0 1 0,0 0 0,6 1 0,-3 1 0,4 3 0,-3 9 0,-2 9 0,3 18 0,6 0 0,7 13 0,11 3 0,-3-7 0,7 8 0,-16-32 0,0 0 0,-9-14 0,-3-1 0,0-4 0,0 0 0,-1 0 0,1 3 0,-4 0 0,3 4 0,-4-2 0,4-1 0,-4 2 0,4-1 0,-4-1 0,4 3 0,-3-5 0,1 2 0,-1-1 0,1-2 0,3 2 0,-3 0 0,2-1 0,-1 5 0,-1-2 0,0 3 0,-2-1 0,1-2 0,-1 1 0,2-4 0,-2 2 0,0-1 0,0 0 0,0 0 0,1 1 0,0-1 0,2-1 0,-3 2 0,1-1 0,5-17 0,-5 7 0,5-15 0,-4 11 0,-2 0 0,4-4 0,-3 3 0,1-1 0,-2 0 0,0-4 0,2-3 0,-1-14 0,4 12 0,-5-8 0,3 15 0,-1 1 0,-2 3 0,2 0 0,-2 0 0,0 0 0,0-4 0,0-4 0,3-1 0,-3-7 0,3 4 0,0-11 0,-2 0 0,5 0 0,-2 0 0,2 11 0,0-4 0,-1 10 0,1-5 0,-2 13 0,1-5 0,-1 6 0,-2-1 0,3 0 0,-4 3 0,4-4 0,-3 4 0,3-4 0,-1 1 0,0-2 0,4-7 0,1 2 0,2-4 0,-1 3 0,-1 5 0,1-3 0,-1 4 0,-2 0 0,2 3 0,-2-1 0,-1 3 0,2 0 0,-4 0 0,2 2 0,0-2 0,-2 3 0,2-1 0,1 2 0,29 0 0,-7 0 0,32 4 0,-23-3 0,6 3 0,-6-1 0,-6-2 0,5 3 0,-14-4 0,7 0 0,-8 0 0,-1 0 0,4 0 0,-3 0 0,4-3 0,-4-3 0,3-1 0,-3-2 0,9 2 0,-4 4 0,4-4 0,0 7 0,2-6 0,-1 5 0,5-3 0,-10 4 0,9 0 0,-8 0 0,8 0 0,-9 0 0,22 0 0,-18 0 0,18 0 0,-16 0 0,4 0 0,1 0 0,0 0 0,-6 0 0,-1 0 0,-9 0 0,3 0 0,-8 0 0,1 0 0,-3 0 0,-5 0 0,17-5 0,-11 4 0,28-8 0,-14 8 0,13-3 0,-10 4 0,9 0 0,-8 0 0,10 0 0,-12 0 0,-1 0 0,-5 0 0,-4 0 0,-1 0 0,-5 0 0,1 0 0,-1 0 0,1 0 0,-4 2 0,2-2 0,-2 5 0,0-5 0,3 3 0,-6-3 0,2 0 0,-5 0 0,1 0 0,-4 0 0,2 0 0,-1 0 0,0 0 0,0 0 0,2 0 0,-3 0 0,3 0 0,3 0 0,0 0 0,5 0 0,-5 0 0,6 0 0,-6 0 0,2 0 0,-3 0 0,-3 0 0,0 0 0,-1 0 0,-13 9 0,7-5 0,-12 7 0,10-8 0,1 1 0,-3 1 0,5-2 0,-7 2 0,4-3 0,-5 2 0,0-4 0,-4 2 0,2-2 0,-6 0 0,3 0 0,-3 0 0,2 0 0,-1 0 0,5 0 0,-2 0 0,3 0 0,0 0 0,-4 0 0,0 0 0,-3 0 0,-5 0 0,3 0 0,-2 0 0,3 0 0,1 0 0,-1 0 0,1 0 0,-5 0 0,3 0 0,-7 0 0,-2 0 0,0 0 0,-9 0 0,8 3 0,-14-2 0,8 2 0,-10 0 0,0-2 0,5 2 0,-10-3 0,3 0 0,-5 0 0,6 0 0,1 0 0,0 0 0,5 0 0,-5 0 0,12 0 0,-4 0 0,8 0 0,-3 0 0,5 0 0,0 0 0,0 0 0,0 0 0,0 0 0,-1 0 0,-4-3 0,4 2 0,-4-2 0,4 0 0,1 2 0,0-2 0,0 0 0,0 3 0,4-6 0,-3 3 0,8-3 0,-4 0 0,0 0 0,4 1 0,-8-2 0,7 2 0,-3 1 0,5-1 0,-1 2 0,1-2 0,-1 2 0,-3-3 0,2 3 0,-3-3 0,5 1 0,3 0 0,0 0 0,4 0 0,3 1 0,1 0 0,4-1 0,1 0 0,0-1 0,0 0 0,0 2 0,3-2 0,1 2 0,1 1 0,2-1 0,7 1 0,31-5 0,32-1 0,-20 2 0,4 1-1223,3 0 1,2 0 1222,12-2 0,3 2 0,2 2 0,1 0 0,7-2 0,-2-1 0,-18 4 0,-2 0 0,-1-3 0,-4 0-1538,23 0 1538,-6-3-532,-7 8 532,-34-6 0,-3 7 0,-18-5 2164,1 4-2164,-3-1 1691,10 2-1691,6 0 0,10 0 0,2 0 660,1 0-660,3 0 0,-3 0 0,-1 0 0,-7 0 0,-11-2 0,-6 1 0,-8-3 0,-1 3 0,-5-2 0,-1 2 0,-3-2 0,2 3 0,1-3 0,-1 2 0,4 0 0,-2 1 0,7 0 0,3 0 0,5 0 0,4 0 0,0 0 0,-4 0 0,-2 0 0,-3 0 0,-4 2 0,-3-2 0,-4 2 0,-3-2 0,-16 3 0,-13-3 0,-11 3 0,-13 0 0,-2-2 0,-10 1 0,-5 0 0,-25-2-518,20 0 0,-1 0 518,-21 0 0,-1-5 0,42 0 0,1-2 0,-44-10 0,40 6 0,0-2 0,7 2 0,0 0 0,-8-2 0,0 1 0,3 3 0,3 0 0,-30-2 0,-9 6 0,20 5 0,-6 0 0,1 0 0,-9 0 0,13 0 0,-13 8 0,17 3 0,0 12 0,0-3 0,13 2 0,-3-5 0,18-1 0,-5-4 0,12 2 1036,0-7-1036,14 2 0,-2-6 0,9 1 0,0-3 0,4 1 0,3-2 0,0 0 0,-5 0 0,1 0 0,-4 0 0,3 0 0,0 0 0,2 0 0,1 0 0,18-8 0,-7 4 0,11-5 0,-10 5 0,-1-1 0,-2 1 0,3-4 0,-4 4 0,0-2 0,-2 1 0,0-1 0,0 0 0,0-2 0,-2 4 0,0-5 0,-2 3 0,-3-3 0,2 0 0,-2-4 0,1 4 0,-5-14 0,3 11 0,-4-8 0,7 11 0,-1 3 0,2 0 0,1 2 0,-1 1 0,0-1 0,-1 2 0,0 1 0,-1 1 0,2 0 0,-3 3 0,1 0 0,0 2 0,2 1 0,0 1 0,2-1 0,-2 2 0,2-1 0,-4 15 0,2 3 0,0 3 0,0 2 0,4-8 0,0 4 0,0-5 0,0-3 0,0-6 0,0-3 0,0-3 0,0 0 0,3-2 0,2-2 0,0 1 0,2-1 0,-2 1 0,2 1 0,5 4 0,-2-1 0,2 1 0,1-1 0,-4-3 0,1 1 0,-2-1 0,-3-2 0,0 0 0,0-2 0,1 0 0,-1 0 0,1-4 0,-2-1 0,0-4 0,3-3 0,7-7 0,3-5 0,4-2 0,0 2 0,3 0 0,10-10 0,3 0 0,15-8 0,-1 6 0,-6 5 0,0 1 0,-10 7 0,-1 1 0,-7 4 0,-4 5 0,-10 3 0,-3 5 0,-4-1 0,-3 4 0,2-1 0,0 3 0,0-2 0,6 2 0,9-3 0,29-3 0,7-2 0,35-9 0,-27 7 0,26-6 0,-28 2 0,21 3 0,-21-3 0,-2 5 0,-16 5 0,-12-3 0,-8 7 0,-4-3 0,-10 3 0,2 0 0,-3 0 0,7 0 0,3 0 0,12 0 0,7 0 0,7 0 0,14 0 0,-7 3 0,0 2 0,-2 3 0,-5 4 0,7-3 0,-12 3 0,-3-5 0,-11-3 0,0-1 0,-4-3 0,-1 0 0,-1 0 0,-2 0 0,12-10 0,-5-3 0,2 1 0,18 2 0,-1 5 0,10 1 0,18-11 0,-1-2 0,-5 2 0,7-3 0,-39 10 0,-1-1 0,-8 2 0,-7 4 0,3-2 0,-5 4 0,5-1 0,-4 2 0,4 0 0,0 0 0,-4 0 0,4 0 0,-5-3 0,1 3 0,-1-3 0,1 3 0,-1 0 0,1 0 0,-1 0 0,5-2 0,-4 1 0,4-2 0,-5 0 0,-2 3 0,1-3 0,-5 1 0,2 2 0,-3-2 0,-2 2 0,1 0 0,-4 0 0,4 0 0,-1 0 0,3 0 0,0 0 0,0 0 0,-1 0 0,3 0 0,-2 0 0,6 0 0,-7 0 0,7 0 0,-6 0 0,5 0 0,-5 0 0,2 0 0,-5 0 0,1 0 0,-4 0 0,5 2 0,-3-2 0,3 2 0,0 0 0,3-1 0,-2 3 0,2-4 0,-3 4 0,-2-3 0,1 3 0,-4-4 0,2 4 0,-1-2 0,1 2 0,0-1 0,0 1 0,0 0 0,-2 0 0,2-1 0,-3-1 0,2 1 0,-1-1 0,1 2 0,0 1 0,-1-1 0,1 1 0,1-2 0,3 2 0,1 1 0,2 0 0,-3 0 0,-2-2 0,-1 0 0,0 0 0,-2 0 0,4 0 0,-4 0 0,4-2 0,-1 1 0,-1-2 0,3 1 0,-5-1 0,4 0 0,-4 0 0,2-1 0,-2 6 0,-3-3 0,1 5 0,-2-3 0,0-2 0,0 5 0,0-4 0,-2 2 0,0 0 0,-2 1 0,-3 2 0,2 0 0,-1 0 0,2-3 0,0 0 0,0-3 0,1 1 0,-2 1 0,1-3 0,-2 3 0,2-5 0,-1 3 0,0-2 0,0 2 0,-3-1 0,4 0 0,-2 0 0,0 0 0,2-2 0,-4 2 0,1 0 0,-2-1 0,0 3 0,0-4 0,-3 5 0,2-3 0,-6 4 0,6-4 0,-5 3 0,5-2 0,-2 2 0,-1 0 0,4-3 0,-4 3 0,4-3 0,0 1 0,0 0 0,-3 0 0,-1 0 0,0 1 0,-3-1 0,3 2 0,-4 1 0,4-1 0,-2-2 0,1 1 0,-2-1 0,-1 3 0,-6-1 0,0-2 0,-2 0 0,0-3 0,3 0 0,-4 0 0,-5 0 0,-1 0 0,-1 0 0,-3 0 0,8 0 0,-8 0 0,3 0 0,1 0 0,-5 3 0,5-2 0,-1 2 0,2 0 0,0-2 0,4 4 0,-5-4 0,6 5 0,4-3 0,-3 0 0,4 3 0,-1-3 0,-3 0 0,7 2 0,-7-1 0,3-1 0,-4 3 0,0-6 0,-5 7 0,4-7 0,-5 7 0,6-7 0,0 3 0,4-3 0,-3 0 0,8 0 0,-8 0 0,7 0 0,-2 0 0,-1 0 0,-6 0 0,0-3 0,-10-1 0,10-2 0,-26-5 0,21 3 0,-21-2 0,26 3 0,-10-1 0,10 2 0,-10-2 0,10 2 0,-9-2 0,8 2 0,-3-1 0,9 3 0,2-1 0,-1 1 0,3-1 0,-3-1 0,1 3 0,-2-3 0,0 3 0,-3-3 0,8 0 0,-4 3 0,8 0 0,0 1 0,7 2 0,0-4 0,34 3 0,0-5 0,37 0 0,12-5 0,2 1 0,-1 4 0,-5-3 0,4 0 0,-19 0 0,7 0 0,-41 4 0,-4 5 0,-8-5 0,6 4 0,3-1 0,5-1 0,6 2 0,0-1 0,12-2 0,-5 3 0,0-3 0,-3 4 0,-9 0 0,0 0 0,-6 0 0,-5 0 0,1 0 0,-1 0 0,1-3 0,3 0 0,-3 0 0,4-2 0,0 5 0,-4-5 0,4 4 0,0-4 0,-4 4 0,4-2 0,-1 3 0,-2-2 0,3 1 0,-1-1 0,-2 2 0,7 0 0,-8-3 0,4 3 0,0-3 0,-4 1 0,4-1 0,0 0 0,-4-2 0,8 4 0,-3-4 0,0 4 0,3-4 0,-8 4 0,8-5 0,-7 5 0,2-2 0,-3 3 0,-1-2 0,1 1 0,-4-1 0,2-1 0,-2 3 0,20-6 0,-9 6 0,14-6 0,-12 5 0,0-2 0,-4 1 0,-2 1 0,-3-1 0,-4 2 0,-1 0 0,-3 0 0,0 0 0,-2-2 0,-1 2 0,-1-2 0,2 2 0,5 0 0,-2 0 0,6 0 0,-7 0 0,4 0 0,-1 0 0,-5 0 0,5 0 0,-6 0 0,3 2 0,0 1 0,-2 1 0,1 0 0,2 1 0,0-1 0,2 1 0,1 2 0,-3-2 0,3 1 0,-4-2 0,-3 0 0,3 1 0,-3-3 0,3 2 0,-2-4 0,-2 2 0,1-2 0,-2 0 0,4 2 0,-4-2 0,-1 6 0,-1-1 0,-2 5 0,0-1 0,0 0 0,0 0 0,0 0 0,0 0 0,0 0 0,0-3 0,0 0 0,0-1 0,-4-2 0,-2 2 0,0-3 0,-1-1 0,0 1 0,0 1 0,-1 1 0,2-2 0,0 2 0,2-2 0,-2 2 0,1-1 0,1-1 0,-1 1 0,0 1 0,1-2 0,-1 2 0,1-2 0,-1 2 0,2-1 0,-4 0 0,4 1 0,-1-1 0,-1 0 0,-2 1 0,2-2 0,-1 1 0,2-1 0,-2 2 0,0 0 0,-7-1 0,4 1 0,-4-2 0,1 3 0,2 0 0,-2 0 0,3-3 0,2 2 0,1-4 0,3 3 0,-2-2 0,-1 2 0,1-2 0,0 1 0,-2 3 0,2-3 0,-2 2 0,3-1 0,1-2 0,-2 3 0,-1-1 0,1 2 0,-2-2 0,0 0 0,-2 0 0,-3 0 0,-1 2 0,-4 1 0,1-3 0,-1 2 0,4-5 0,-3 3 0,3-3 0,0 0 0,-3 0 0,6-4 0,-2-1 0,3-4 0,0 0 0,2 0 0,0-4 0,5 0 0,-3-3 0,4-1 0,-1-3 0,2-2 0,0-9 0,0 3 0,0-3 0,0 5 0,3 0 0,0 0 0,3 4 0,-2-3 0,1 3 0,-1-4 0,-1 0 0,3-5 0,-5-15 0,3 10 0,-1-13 0,1 16 0,0-6 0,2 10 0,-5 1 0,1 15 0,-2 3 0,0 4 0,0 2 0,0-2 0,0-4 0,0-3 0,0-3 0,-5-1 0,-1 1 0,-6-5 0,-3 2 0,2-2 0,-1 7 0,4-2 0,0 6 0,2-2 0,-1-1 0,2 4 0,-3-4 0,3 4 0,-1 1 0,2 1 0,0 4 0,0 1 0,1 2 0,0 0 0,0 0 0,-3 4 0,-1 14 0,-8 13 0,0 14 0,-9 13 0,2 2 0,1-6 0,-3 3 0,10-18 0,-4 5 0,7-16 0,3-2 0,2-13 0,5-1 0,1-5 0,1-2 0,0-1 0,-2 1 0,1 0 0,-2 3 0,1-2 0,-2 2 0,1-2 0,0 1 0,0-1 0,1-3 0,1-33 0,0-14 0,12-35 0,1-6 0,8 21 0,-8 10 0,0 2 0,1 8 0,2-31 0,-10 58 0,-2 5 0,-2 6 0,-17 32 0,1 3 0,-16 37 0,-2 2 0,-2 9 0,-7 8 0,17-35 0,0 1 0,-19 33 0,2-5 0,11-25 0,14-22 0,2-5 0,6-6 0,3-10 0,4-2 0,2-6 0,1 1 0,4-33 0,8 0 0,21-49 0,13-6 0,-11 23 0,2-4 0,1 0 0,-1 0 0,-7 10 0,0 0 0,0 2 0,-2 2 0,7-14 0,-4-4 0,-5 19 0,-14 13 0,-3 18 0,-6 3 0,-1 9 0,-2 1 0,-9 5 0,-4-1 0,-18 17 0,-4 4 0,-25 31 0,-4 4 0,-10 13-3277,18-16 0,-4 9 506,18-18 2771,-13 17 0,14-13 0,6-2-135,2-3 135,9-9 0,-7 0 0,11-4 3276,-3-7-1094,10 0 1094,-1-6-2799,4-5-228,3-2-249,1-3 0,4 1 0,22-29 0,16-18 0,24-30 0,-18 25 0,3-2-576,7-3 0,-2 2 576,-11 8 0,1 1 0,11-5 0,-3 2 0,-3-9-39,10 1 39,-20 8 0,-15 19 0,-4 7 0,-9 5 0,-2 8 1150,-24 20-1150,-8 13 0,-24 39 0,-8 4 0,26-28 0,1-2 41,-16 20-41,-7 4 0,18-17 0,-5 2 0,2-2 0,8-12 0,4-6 0,4-7 0,6-8 0,3-2 0,3-4 0,5-2 0,1-1 0,2-1 0,38-45 0,12-14 0,-10 10 0,4-2 0,7-6 0,2-1 0,-1-2 0,-1 1 0,-9 15 0,-1-1 0,4-10 0,-3 3 0,3 3 0,3-14 0,-14 24 0,-9 5 0,-11 15 0,-3 3 0,-1 4 0,-2 4 0,-20-1 0,-10 10 0,-31 17 0,-10 20 0,24-12 0,-1 1-507,-2 4 0,0-1 507,-5 3 0,1-2 0,-26 21 0,1 0 0,24-20 0,0 3 0,9-15 0,12-1 0,9-14 0,6 0 0,3-6 1014,5-1-1014,3 0 0,55-64 0,-7 10 0,2-1 0,4-4 0,-5 6 0,-1 4-692,25-25 692,-26 25 0,-1 0 0,15-13 0,-5 1 0,-7 12 0,-24 21 0,-2 5 0,-12 9 0,-1 4 0,-8 4 692,-23 22-692,-7 6 0,-4 5 0,-3 4 0,3 2 0,0 2-213,-13 5 0,-2 2 213,1 6 0,1-1 0,10-14 0,0-1 0,-3 5 0,2 0 0,-17 15 0,1 1 0,9-10 0,9-9 0,12-13 0,2-1 0,8-6 0,2-3 0,5-3 426,2-5-426,1 1 0,2-4 0,2 2 0,31-34 0,15-9 0,-3 3 0,3-2 0,-2 0 0,0 1 0,25-20 0,1-7 0,-29 26 0,25-27 0,-36 39 0,5-12 0,-29 32 0,-1 0 0,1-1 0,-24 5 0,-1-4 0,-16 4 0,0 0 0,-1 0 0,-1 0 0,-11 4 0,11 1 0,0 2 0,3 0 0,9 0 0,0-1 0,2 4 0,3-4 0,-4 4 0,0-4 0,0 1 0,-5 0 0,3-1 0,-3 1 0,5 0 0,-5 0 0,4-4 0,-5 3 0,6-5 0,0 2 0,0 0 0,0-2 0,0 4 0,0-4 0,-5 5 0,3-2 0,-3 0 0,5 2 0,4-5 0,-3 4 0,3-4 0,1 4 0,-4-4 0,-2 1 0,-6-2 0,-11 0 0,15 0 0,-19 0 0,18 0 0,-20 0 0,16 0 0,-8 0 0,3-5 0,9 3 0,-2-4 0,15 4 0,4 1 0,-2-1 0,1 2 0,-2 0 0,0 0 0,-1 0 0,-4 0 0,4 0 0,-8 0 0,7 0 0,-7 0 0,8 0 0,-4 0 0,4 0 0,-3 0 0,2 0 0,1 2 0,5-2 0,5 2 0,-1-2 0,4 0 0,-4 0 0,3 0 0,-3 0 0,2 0 0,-1 0 0,-1 0 0,3 2 0,-3 0 0,4 0 0,-2 2 0,3-2 0,-1 1 0,-1 2 0,-1 1 0,-1 6 0,1-2 0,1 2 0,1-6 0,1 0 0,2-2 0,11-1 0,9-4 0,12-5 0,-3-2 0,7-6 0,6-3 0,6-4 0,26-9 0,-15 5 0,1 0-472,-12 9 1,2 0 471,22-14 0,-2 2 0,3 6-386,18-10 386,-28 9 0,0 7 0,-17-1 0,-18 11 0,-12 2 923,-6 2-923,-5 2 406,-20 9-406,2-4 0,-23 7 0,5-5 0,-12 1 0,-14-1 0,-4-1 0,-14 0 0,14 0 0,2 0 0,4-5 0,10 2 0,1-3 0,6 0 0,8 0 0,9 2 0,5-1 0,5 3 0,3-1 0,-8 2 0,3 0 0,-7 1 0,5 2 0,-1-2 0,1 2 0,3-1 0,-3-1 0,6 0 0,-2-1 0,5-1 0,-1 1 0,1-1 0,-2 0 0,0 1 0,-3 0 0,2-1 0,-2 1 0,3 0 0,2-1 0,1-2 0,3-1 0,15-6 0,-6 0 0,16-6 0,-3-8 0,11-4 0,1-8 0,14-9 0,-13 8 0,7-4 0,-15 15 0,-5 6 0,-7 5 0,-3 1 0,-3 3 0,0 1 0,-2 2 0,-1 1 0,5-3 0,3-6 0,10-8 0,-1 2 0,8-8 0,-4 8 0,4-2 0,-3-1 0,-7 10 0,-4-3 0,-5 8 0,-3 0 0,0 3 0,-2 1 0,0-1 0,1-3 0,0 3 0,0-1 0,-9 14 0,2-6 0,-6 8 0,0-5 0,3 2 0,-8 9 0,-1 5 0,3 2 0,-6 7 0,6-5 0,-4 8 0,2-9 0,-1 5 0,4-6 0,-1-5 0,4 0 0,-5-1 0,3-2 0,-4 2 0,3-7 0,-1 3 0,-4 3 0,1 3 0,-7 8 0,-4 10 0,5-13 0,-8 18 0,11-21 0,-6 10 0,4-1 0,-3-2 0,7 1 0,-2-4 0,3 3 0,1-4 0,-2 9 0,2-8 0,-2 8 0,1-9 0,4 0 0,1-6 0,4-8 0,2-1 0,-1-5 0,4-2 0,-1-1 0,39-18 0,2-1 0,4-4 0,4-2 0,40-17 0,-40 18 0,0 0 0,4-3 0,-2 1 0,22-5 0,10-8 0,-22 11 0,-6 1 0,-8 3 0,-19 9 0,-10 3 0,-5 3 0,-5 1 0,-1 2 0,-3-1 0,2 1 0,0-2 0,1 1 0,-2 0 0,2-1 0,1-2 0,5 0 0,-2-2 0,5 2 0,-5-1 0,0 3 0,-4 1 0,-3 0 0,-24 19 0,-6-2 0,-34 24 0,0-9 0,-13 12 0,-1-9 0,-5 4 0,-5-4 0,0 0 0,26-12 0,-11 3 0,29-10 0,-11 0 0,14-1 0,11-6 0,6 0 0,8-1 0,0-2 0,7-1 0,0-2 0,17-12 0,4-5 0,28-26 0,17-23-1639,-23 24 1,2-2-1,-1 2 1,1 0 1523,-2 1 0,0-1-279,2-3 0,-1 0 394,30-25 0,-29 24 0,-1 2 0,8-5 0,6-4 0,-24 21-244,7-6 244,-15 18 0,-5 1 0,-9 13 3276,0 0-280,-24 22-1839,2 1-1157,-29 26 387,10 1-387,1-6 0,0 2 0,-4 15 0,-5-4 0,2-2 0,11-7 0,-29 31 0,33-30 0,-7 2 0,11-3 0,-3-11 0,14-3 0,-4-9 0,10-7 0,0-3 0,2-2 0,2-2 0,0-1 0,-1 1 0,22-14 0,17-14 0,36-28 0,-3-3 0,-22 19 0,0-2 0,-7 3 0,0 1 0,0 1 0,-1 0 0,30-25 0,-31 23 0,-9 8 0,-15 12 0,-4 2 0,-5 8 0,-3 1 0,-14 24 0,-14 16 0,-11 18 0,-11 17 0,0 3 0,2 2 0,15-27 0,1-1 0,-8 19 0,-5 4 0,18-28 0,9-16 0,-1-2 0,11-13 0,-3-1 0,6-5 0,0-1 0,0-3 0,34-33 0,19-16 0,-2 1 0,5-4-965,-3 3 0,2 0 965,15-15 0,4-3 0,-10 10 0,3-1 0,-5 4 0,0-2 0,0 1 0,-1 3 0,4-2 0,-11 9-35,4-3 35,14-9 0,-26 19 0,-14 15 0,-14 7 0,-7 9 1926,-5 2-1926,-6 18 39,-16 22-39,-2 18 0,-21 21 0,18-27 0,-2 0-879,-4 1 0,-2 2 879,-4 15 0,0-2 0,-16 17-24,21-29 0,1-2 24,-6 8 0,-14 23 0,15-29 0,7-6 0,10-24 0,6-4 0,3-9 0,1 1 1753,5-8-1753,-2 2 53,16-18-53,23-34 0,-3 4 0,3-6-802,13-14 1,1-3 801,-7 5 0,1-3 0,7-4 0,6-5 0,-5 4 0,-3-1 0,-1 0 0,-1 5 0,3-5 0,-6 9 0,-9 11 0,-6 6 0,10-20 0,-25 40 0,-5 6 0,-7 12 0,-16 1 0,-7 11 0,-32 13 0,4 13 0,-31 17 0,9 9 0,29-27 0,-1 0 0,-34 31-3277,6 2 1373,23-26 1792,-7 13 112,5-2 0,6-7 0,-9 16 0,25-22 0,-5 6 0,5-3 3276,1-3 0,10-6-2932,1-7-344,5-3 0,4-8 0,1-1 0,3-5 0,1-2 0,2-27 0,23-39 0,-2 14 0,2-5 0,7-9 0,2 0 0,0 8 0,0-1 0,1-6 0,0 1 0,-3 13 0,2-1 0,-1-11 0,2-7 0,0 5 0,7-3 0,-2 2 0,-2-8 0,-2 3 0,9-17 0,-23 47 0,-1-10 0,-4 19 0,-9 12 0,-3 6 0,0 6 0,-18 21 0,-5 11 0,-18 31 0,0-1 0,-8 14 0,-1 2 0,8-19 0,-8 22 0,21-26 0,-10 7 0,12-2 0,-2-19 0,12-4 0,1-8 0,7-11 0,1 4 0,1-5 0,-1 2 0,1 0 0,-1 5 0,0-3 0,0 7 0,0-8 0,0 4 0,3-8 0,-1-1 0,3-5 0,-1-1 0,2-2 0,-2 6 0,-1 1 0,-3 6 0,1 3 0,0-6 0,2 3 0,-1-11 0,4 0 0,-2-3 0,9-13 0,16-13 0,4-14 0,30-26 0,-11 2 0,-12 18 0,3-3 0,-2 1 0,1 1 0,2-3 0,-1 1 0,20-24 0,-3 8 0,-28 23 0,7 0 0,-18 12 0,-2 8 0,-9 9 0,-4 6 0,-13 12 0,-5 0 0,-3 7 0,0 1 0,3-4 0,-2 7 0,-3-3 0,4 4 0,-1-1 0,-6 11 0,9-9 0,-17 25 0,10-13 0,-8 20 0,-5 4 0,8 4 0,1-9 0,1 11 0,10-22 0,-4 12 0,8-10 0,3-15 0,6-2 0,0-13 0,4-3 0,-2-4 0,2-2 0,12-19 0,-4 9 0,10-19 0,-11 17 0,4-5 0,-7 9 0,3-4 0,-3 5 0,-1 1 0,2-1 0,-1-1 0,1 0 0,-1 1 0,1-4 0,-1 4 0,1-3 0,-1 3 0,-1 1 0,2-3 0,-1 1 0,1-1 0,-2 2 0,0 0 0,-12 13 0,7-6 0,-10 10 0,10-9 0,-1-1 0,0 2 0,-1 0 0,0 3 0,-5 13 0,-5 3 0,-1 7 0,-3 4 0,4-8 0,-4 5 0,4-7 0,-3 2 0,5-6 0,-5 8 0,4-7 0,-5 13 0,8-13 0,-6 25 0,4-11 0,-2 10 0,2 2 0,1-10 0,5 7 0,-4-8 0,6-7 0,1-9 0,0-1 0,3-8 0,-2-3 0,2-2 0,-2-4 0,2 2 0,-2-1 0,0-2 0,-6 2 0,-10 1 0,4 1 0,-14 5 0,-4 10 0,2-6 0,-15 12 0,16-9 0,-8 0 0,6 3 0,-1-7 0,9 1 0,5-7 0,6-2 0,3-2 0,0-1 0,2 0 0,-1 1 0,-2-1 0,0 3 0,-5-2 0,2 5 0,-4-2 0,1 1 0,-1 1 0,4-2 0,-3 3 0,3-1 0,-1 3 0,2-2 0,-2 2 0,5-4 0,-7 2 0,6-2 0,-2-1 0,3 0 0,0-1 0,2 2 0,-2 0 0,2 0 0,-9 5 0,4-1 0,-4 2 0,6-5 0,1-2 0,0-3 0,2 4 0,1-5 0,2 2 0,1-2 0,-1-1 0,-2 1 0,2 0 0,-4 2 0,1-2 0,-2 3 0,3-3 0,-3 0 0,5 0 0,-2 0 0,3-2 0,-2-1 0,0-1 0,-2 0 0,2 0 0,0 0 0,0 0 0,-1 0 0,0 2 0,2 0 0,-1 0 0,0 2 0,1-2 0,-3 4 0,0-2 0,-5 3 0,2-2 0,-2 5 0,-1-2 0,4-1 0,-2 2 0,3-4 0,1 2 0,0-3 0,-1 0 0,1-2 0,-2 2 0,0-2 0,0 3 0,-3 0 0,2-3 0,-2 3 0,5-3 0,1 2 0,3-2 0,-2 1 0,1-1 0,-1 1 0,1 2 0,1-1 0,-1 1 0,1-2 0,-2 1 0,1-1 0,-2 0 0,0 1 0,-3 0 0,-3 1 0,2-2 0,-2 1 0,3-1 0,0-1 0,0 2 0,0-4 0,2 2 0,-1-2 0,4 0 0,-4 0 0,3 0 0,-3 0 0,2 0 0,-3 0 0,-4 0 0,6 0 0,-5 0 0,6 0 0,-3 0 0,2 0 0,-1 0 0,1 0 0,1 0 0,-3 0 0,3 0 0,-1 0 0,-1 0 0,4 2 0,-2-2 0,1 2 0,1-1 0,-3 0 0,2 0 0,0-1 0,-2 0 0,3 0 0,-2 0 0,-2 0 0,0 0 0,-3 0 0,-1 0 0,2 0 0,-6 0 0,6 2 0,-2-1 0,3 1 0,0-2 0,3 0 0,-3 0 0,5 0 0,-2 0 0,1 1 0,-1 0 0,0 2 0,0-3 0,1 2 0,1-2 0,-2 0 0,0 0 0,1 0 0,-2 0 0,3 0 0,-2 0 0,0 0 0,1 0 0,-6 0 0,-16 2 0,-3 2 0,-26 12 0,15-6 0,-8 10 0,16-13 0,2 4 0,9-5 0,2 0 0,6-1 0,2-2 0,6-1 0,-2-2 0,4 1 0,-2-1 0,1 3 0,0-3 0,0 3 0,0-2 0,1 2 0,-2-1 0,-1 0 0,-1 1 0,-8 2 0,2 1 0,-7 1 0,5-1 0,3-1 0,0 0 0,4-1 0,3 0 0,0-2 0,3 1 0,-2-2 0,12-12 0,-6 6 0,11-12 0,-8 10 0,0 1 0,2-3 0,0 1 0,3-1 0,-3 1 0,0 2 0,0 0 0,-2 2 0,2-2 0,-3 2 0,3 1 0,-2-1 0,2-2 0,-2 1 0,2-1 0,-1 0 0,3 1 0,-1-4 0,2 2 0,0-2 0,0 0 0,0 0 0,0 0 0,2-2 0,-4 4 0,1-1 0,-5 5 0,1 0 0,1-1 0,-3-1 0,4 2 0,-6-2 0,7-1 0,-5 2 0,5-8 0,-1 5 0,1-5 0,3-1 0,-3 4 0,2-4 0,-2 4 0,2 0 0,-2 0 0,3-3 0,1-3 0,1-1 0,3-2 0,-7 5 0,2-3 0,-5 9 0,2-5 0,-1 5 0,-1 1 0,1 0 0,-3 2 0,-1-2 0,1 2 0,0-4 0,1-2 0,1 0 0,2-5 0,1 5 0,0-6 0,0 6 0,-2-2 0,3 0 0,3-5 0,4-2 0,-4 2 0,1 3 0,-8 5 0,2 0 0,-1 2 0,-1 1 0,1 2 0,-3 1 0,0-1 0,1-1 0,-1 1 0,1-1 0,-2-1 0,1 0 0,0-3 0,1 2 0,-2-1 0,2-2 0,-1-3 0,3-4 0,-1 1 0,4-5 0,-3 4 0,3-4 0,-4 4 0,0 4 0,0 1 0,-2 3 0,-1 2 0,-1 1 0,0 3 0,2-3 0,-3-1 0,4-3 0,-2-2 0,3 2 0,-2-5 0,1 7 0,-4-3 0,1 6 0,-1 0 0,0-1 0,-5 4 0,0-1 0,-6 3 0,2 0 0,0 0 0,1 0 0,-1 0 0,-4 2 0,3 3 0,-5 1 0,-8 8 0,-7 7 0,1-3 0,-11 14 0,15-13 0,-7 7 0,5-8 0,12-4 0,-2-3 0,10-2 0,1-3 0,4 0 0,0-2 0,2 1 0,0 0 0,0 3 0,0-1 0,-2 4 0,1-1 0,-3 2 0,3-3 0,-2-2 0,2-1 0,0 0 0,1-2 0,0 3 0,0-2 0,-2 0 0,0 1 0,0-2 0,-1 3 0,2-3 0,-3 5 0,4-5 0,-4 4 0,3-4 0,-1 2 0,1 2 0,-2 2 0,-2 4 0,0 3 0,2-4 0,-2-1 0,3-3 0,-1 0 0,1 0 0,0-2 0,2-2 0,-1 0 0,1 0 0,0 3 0,0 7 0,-3-1 0,0 7 0,-3-1 0,3 2 0,-2 0 0,4-1 0,-4-5 0,3-3 0,-1-1 0,-1-3 0,3-2 0,-2-1 0,0 0 0,1-2 0,-2 1 0,4 0 0,-3-1 0,1 3 0,-1-4 0,1 2 0,-2 0 0,3-1 0,-4 0 0,4 4 0,-3-1 0,0 3 0,1-1 0,1 0 0,0 0 0,1-2 0,-1-2 0,2 1 0,0-2 0,0 5 0,0 1 0,0-1 0,0 4 0,0-4 0,3 3 0,-1-5 0,3 5 0,-2-8 0,1 2 0,0-3 0,1-1 0,0 0 0,0-2 0,1 0 0,1 0 0,1-4 0,4-2 0,-2-3 0,5-2 0,-1 1 0,-1 0 0,-1 0 0,0 0 0,-4 3 0,3-2 0,-4 4 0,0-3 0,1 3 0,-1-4 0,2 2 0,0-2 0,1-3 0,2 1 0,4-6 0,0 5 0,4-7 0,-4 8 0,2-4 0,0 0 0,-1 3 0,-3-2 0,3 0 0,-2-1 0,6-10 0,-6 9 0,1-5 0,-6 8 0,0-1 0,-2 2 0,-2 6 0,-2-3 0,0 3 0,0-1 0,4-9 0,-3 8 0,6-12 0,-5 7 0,4-8 0,-5 7 0,2-2 0,-3 9 0,0 1 0,-2 3 0,1-2 0,-3 0 0,3 0 0,-2-1 0,2 2 0,-2-2 0,3 2 0,-1-1 0,0 2 0,1-2 0,-1 1 0,1-1 0,-1 1 0,1 1 0,-14 16 0,6-3 0,-11 14 0,9-3 0,1-4 0,1 8 0,-1 20 0,4-13 0,-2 12 0,3-19 0,0-3 0,0 0 0,0-2 0,0-3 0,0-4 0,0 3 0,0-7 0,0 4 0,0-7 0,0 2 0,0-3 0,0 0 0,3-18 0,0 4 0,0-15 0,2 7 0,1-11 0,0 9 0,0-14 0,-1 12 0,-4-1 0,4-3 0,-1 7 0,-1-3 0,2 8 0,-5 1 0,2 3 0,0 2 0,-1 1 0,1 3 0,1-2 0,3 13 0,-3-1 0,4 13 0,-4 1 0,3-4 0,0 4 0,1-1 0,-1-6 0,1 3 0,-5-11 0,2 0 0,-2-3 0,1 1 0,0-17 0,-1 4 0,0-15 0,-2 8 0,0 0 0,0 2 0,0 2 0,0 6 0,0 0 0,4 2 0,0 18 0,1-11 0,-3 17 0,-2-16 0,0 3 0,0-24 0,0 8 0,0-17 0,0 10 0,0 6 0,0 1 0,0 3 0,0 2 0,2 18 0,-3-12 0,0 14 0,-2-16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3.954"/>
    </inkml:context>
    <inkml:brush xml:id="br0">
      <inkml:brushProperty name="width" value="0.2" units="cm"/>
      <inkml:brushProperty name="height" value="0.2" units="cm"/>
      <inkml:brushProperty name="color" value="#FFFFFF"/>
    </inkml:brush>
  </inkml:definitions>
  <inkml:trace contextRef="#ctx0" brushRef="#br0">1 1 24575,'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5.532"/>
    </inkml:context>
    <inkml:brush xml:id="br0">
      <inkml:brushProperty name="width" value="0.2" units="cm"/>
      <inkml:brushProperty name="height" value="0.2" units="cm"/>
      <inkml:brushProperty name="color" value="#FFFFFF"/>
    </inkml:brush>
  </inkml:definitions>
  <inkml:trace contextRef="#ctx0" brushRef="#br0">0 1 24575,'0'29'0,"0"1"0,0-12 0,0 2 0,0-7 0,0-1 0,0-3 0,2-3 0,-2 0 0,2-1 0,-2-1 0,0 2 0,0 0 0,0-2 0,0 2 0,0-2 0,-2 2 0,2 0 0,-1-1 0,1 1 0,0-1 0,0 1 0,0-1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7.407"/>
    </inkml:context>
    <inkml:brush xml:id="br0">
      <inkml:brushProperty name="width" value="0.2" units="cm"/>
      <inkml:brushProperty name="height" value="0.2" units="cm"/>
      <inkml:brushProperty name="color" value="#FFFFFF"/>
    </inkml:brush>
  </inkml:definitions>
  <inkml:trace contextRef="#ctx0" brushRef="#br0">0 0 24575,'0'16'0,"0"-1"0,0-5 0,0-3 0,0 0 0,0-4 0,0 5 0,0-3 0,0 3 0,0-3 0,0-1 0,0 3 0,0-3 0,0 2 0,0 0 0,0-3 0,0 5 0,0-3 0,0 0 0,0 1 0,2-2 0,-1 1 0,4 1 0,-3-2 0,4 1 0,-4-2 0,3 0 0,0 1 0,-2-1 0,3 0 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41.450"/>
    </inkml:context>
    <inkml:brush xml:id="br0">
      <inkml:brushProperty name="width" value="0.2" units="cm"/>
      <inkml:brushProperty name="height" value="0.2" units="cm"/>
      <inkml:brushProperty name="color" value="#FFFFFF"/>
    </inkml:brush>
  </inkml:definitions>
  <inkml:trace contextRef="#ctx0" brushRef="#br0">137 503 24575,'-7'-15'0,"1"3"0,4 7 0,-1 2 0,0-4 0,-2 1 0,2-1 0,-1 1 0,2 2 0,-1 1 0,0-2 0,1 1 0,-1-1 0,1 0 0,0 1 0,-1-2 0,3 1 0,-2 0 0,2-1 0,-1 2 0,1-2 0,-2 1 0,2-1 0,0 2 0,10 8 0,-4-2 0,7 8 0,-5-8 0,-2 1 0,6 0 0,2 4 0,-3-2 0,-2 0 0,-5-1 0,-1-1 0,2 2 0,-3-1 0,3 5 0,-2 1 0,2 4 0,0 3 0,1-1 0,0 4 0,-1-3 0,2 1 0,-1-6 0,0-4 0,-2-1 0,0-1 0,-1-3 0,1 0 0,-10-17 0,4 7 0,-8-18 0,5 15 0,-2-9 0,1 5 0,-1-3 0,2 5 0,3 3 0,-2 3 0,4 0 0,-2-2 0,1 4 0,0-3 0,-2 2 0,3-2 0,-1 2 0,1-1 0,0-1 0,0 2 0,0-2 0,0 2 0,5 3 0,0 0 0,3 2 0,-3 0 0,-1 0 0,1 1 0,1 3 0,-1-1 0,3 3 0,-4-3 0,1 1 0,-1-1 0,-1 1 0,-10-22 0,4 7 0,-12-18 0,10 16 0,-10-10 0,8 12 0,-11-13 0,10 14 0,-2-2 0,1 5 0,2-2 0,0 2 0,-1 0 0,1-1 0,1 4 0,-1-5 0,1 3 0,2-1 0,-4-1 0,0-2 0,-1 1 0,1-7 0,-1 7 0,1-7 0,-2 3 0,2-3 0,-2 3 0,5 1 0,-1 3 0,1 0 0,3 3 0,-2-3 0,3 5 0,-2-2 0,2 2 0,0-1 0,1-1 0,0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43.786"/>
    </inkml:context>
    <inkml:brush xml:id="br0">
      <inkml:brushProperty name="width" value="0.2" units="cm"/>
      <inkml:brushProperty name="height" value="0.2" units="cm"/>
      <inkml:brushProperty name="color" value="#FFFFFF"/>
    </inkml:brush>
  </inkml:definitions>
  <inkml:trace contextRef="#ctx0" brushRef="#br0">0 0 24575,'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45.103"/>
    </inkml:context>
    <inkml:brush xml:id="br0">
      <inkml:brushProperty name="width" value="0.2" units="cm"/>
      <inkml:brushProperty name="height" value="0.2" units="cm"/>
      <inkml:brushProperty name="color" value="#FFFFFF"/>
    </inkml:brush>
  </inkml:definitions>
  <inkml:trace contextRef="#ctx0" brushRef="#br0">1 1 24575,'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57.912"/>
    </inkml:context>
    <inkml:brush xml:id="br0">
      <inkml:brushProperty name="width" value="0.2" units="cm"/>
      <inkml:brushProperty name="height" value="0.2" units="cm"/>
      <inkml:brushProperty name="color" value="#FFFFFF"/>
    </inkml:brush>
  </inkml:definitions>
  <inkml:trace contextRef="#ctx0" brushRef="#br0">0 156 24575,'15'0'0,"2"0"0,-10 0 0,4 0 0,3 0 0,4 0 0,13 0 0,1 0 0,5-4 0,6 3 0,-4-2 0,-1 0 0,-2 3 0,-9-3 0,4 3 0,-6 0 0,-3 0 0,2 0 0,-6 0 0,-1 0 0,-2 0 0,-5 0 0,5 0 0,-2 0 0,3 0 0,1 0 0,3 0 0,1-3 0,5 2 0,0-5 0,-1 3 0,1-1 0,0-1 0,0 1 0,-5-2 0,-1 3 0,-3 0 0,-4 1 0,-1 2 0,0-2 0,1-1 0,7 3 0,7-3 0,33 0 0,-21 2 0,32-3 0,-25 4 0,6 0 0,6 0 0,-14 0 0,5 0 0,-15 0 0,8 0 0,-15 0 0,3 0 0,-4 0 0,5 0 0,-4 0 0,9 0 0,-10 0 0,10 0 0,-9 0 0,-1 0 0,-1-3 0,-8 2 0,4-4 0,-5 2 0,0 0 0,0-2 0,1 5 0,-1-5 0,4 1 0,2-2 0,-1 3 0,4-3 0,-8 5 0,3-4 0,-3 4 0,-1-1 0,1 0 0,-4 2 0,3-2 0,-3 2 0,3 0 0,4-3 0,-2 2 0,2-2 0,-4 3 0,1 0 0,-1 0 0,-3-2 0,2 2 0,-5-2 0,5 2 0,-5 0 0,5 0 0,-2-3 0,3 3 0,0-3 0,1 3 0,-4-2 0,-1 2 0,-3-2 0,-1 2 0,1 0 0,0 0 0,0 0 0,12-4 0,-6 4 0,15-4 0,-3 4 0,5 0 0,0 0 0,10 0 0,-14 0 0,10 0 0,-17 0 0,4 0 0,-8 0 0,8 0 0,-8 3 0,3 0 0,-4 2 0,1 0 0,-4 0 0,-1 0 0,-4 0 0,-1-1 0,-1-1 0,-3-1 0,2 1 0,-1 1 0,0-1 0,-2 3 0,0-1 0,-4 0 0,-2 0 0,-5-1 0,-2-1 0,-2 1 0,3-1 0,1-1 0,-3 3 0,2-3 0,-5 6 0,2-3 0,-4 6 0,1-3 0,3 2 0,-7 1 0,6-1 0,-10 3 0,-5 4 0,6-7 0,-5 4 0,15-9 0,1 0 0,3-1 0,0-1 0,3-1 0,0-2 0,0 0 0,2 0 0,-6 0 0,3 0 0,-3 0 0,1 0 0,0 0 0,0 0 0,-3 0 0,2 0 0,-2 0 0,3 0 0,1 0 0,-5 0 0,-4 0 0,-9 0 0,-1 0 0,-9 0 0,9 0 0,-9 0 0,9 0 0,0 0 0,3 0 0,6 0 0,-2 0 0,-6 0 0,-2 0 0,1 0 0,-8 0 0,7 0 0,-4 0 0,1 0 0,5 0 0,5 0 0,4 0 0,4 0 0,5 0 0,-1 1 0,0 0 0,-3 3 0,-1-1 0,-13 4 0,-8 0 0,-10 0 0,8 1 0,-10 0 0,10-1 0,-8 1 0,6-1 0,7 0 0,5-1 0,0-2 0,1 1 0,-6-4 0,-1 5 0,-11-5 0,9 5 0,-14-5 0,15 2 0,-11 0 0,7-2 0,0 2 0,5-3 0,1 0 0,10 0 0,-4 0 0,4 0 0,-17 0 0,10 0 0,-9 0 0,11 0 0,4 0 0,-2 0 0,6 0 0,-2 0 0,7 0 0,-2 0 0,2 0 0,-4 0 0,-3 0 0,-2 0 0,-3 0 0,-1 0 0,0 0 0,0 0 0,5 0 0,-4 0 0,8 3 0,-3-3 0,3 3 0,1-3 0,0 0 0,3 0 0,-3 0 0,3 0 0,-3 0 0,3 2 0,1-2 0,3 2 0,0 0 0,0-2 0,3 2 0,-6 1 0,2-3 0,-3 3 0,-14-1 0,15-1 0,-15 4 0,14-5 0,0 2 0,1-2 0,3 0 0,0 0 0,0 0 0,-3 0 0,2 0 0,-5 0 0,5 0 0,-5 0 0,7 0 0,-3 0 0,7 0 0,-2 0 0,1 0 0,0 2 0,19 0 0,-8-1 0,29 1 0,-5-2 0,52 4 0,-7 2 0,-22-1 0,0 1 0,10 3 0,7 0 0,-23-1 0,10 1 0,-12-1 0,-7 0 0,-12-4 0,2-2 0,-13-2 0,7 0 0,0 0 0,-3 0 0,16 0 0,-13 0 0,9 0 0,0 0 0,-8 0 0,2 0 0,-9 0 0,1 0 0,-1 0 0,0 0 0,0 0 0,5-3 0,0 3 0,5-6 0,5 5 0,-4-4 0,8 4 0,-8-5 0,9 5 0,-9-4 0,4 4 0,-5-2 0,-1 0 0,6 3 0,-4-3 0,20-1 0,-12 4 0,13-7 0,-5 6 0,-4-5 0,4 5 0,-6-6 0,21 2 0,-21 0 0,25-3 0,-28 0 0,9-1 0,-6-1 0,-5 3 0,-1 0 0,-10 1 0,0 0 0,-5 1 0,0 2 0,10-3 0,-4 2 0,14-3 0,-9 3 0,15-3 0,-8 3 0,9-4 0,-6 4 0,-5-2 0,-1 2 0,-10 1 0,7-3 0,-14 6 0,6-3 0,-12 3 0,4 0 0,-2 0 0,6 0 0,-7 0 0,7 0 0,-4 0 0,1 0 0,3 0 0,-3 0 0,0 0 0,-1 0 0,0 0 0,-2 0 0,2 0 0,-6 0 0,2 0 0,-1 0 0,1 0 0,1 0 0,-2 0 0,1 0 0,-4 0 0,4 0 0,-4 0 0,2 0 0,0 0 0,-2 0 0,3 0 0,-1 0 0,0 2 0,-1-2 0,0 2 0,-1-1 0,-13 6 0,0 1 0,-12 5 0,3 2 0,1-3 0,-8 10 0,10-10 0,-5 3 0,8-5 0,2-3 0,-2 0 0,3 0 0,0-3 0,0 1 0,3-1 0,-2-2 0,4-1 0,-2-1 0,1 0 0,0 0 0,-1 0 0,-1 0 0,3 0 0,-5 0 0,3 0 0,-3 0 0,0 0 0,0 0 0,-7-2 0,2 1 0,-22-10 0,12 10 0,-18-10 0,10 7 0,0-3 0,-4 3 0,14-2 0,-8 6 0,16-3 0,-2 3 0,4 0 0,4 0 0,-3 0 0,4 0 0,-2 0 0,0 0 0,1 0 0,-1 0 0,2 0 0,-1 0 0,4 0 0,-2 0 0,3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02.804"/>
    </inkml:context>
    <inkml:brush xml:id="br0">
      <inkml:brushProperty name="width" value="0.2" units="cm"/>
      <inkml:brushProperty name="height" value="0.2" units="cm"/>
      <inkml:brushProperty name="color" value="#FFFFFF"/>
    </inkml:brush>
  </inkml:definitions>
  <inkml:trace contextRef="#ctx0" brushRef="#br0">0 1 24575,'14'0'0,"-1"0"0,8 0 0,4 0 0,9 0 0,8 0 0,-13 0 0,7 0 0,-5 0 0,-8 0 0,7 0 0,-13 0 0,3 0 0,-7 0 0,-1 0 0,-5 0 0,1 0 0,2 0 0,-1 0 0,7 0 0,-7 0 0,7 0 0,-3 0 0,3 0 0,0 0 0,4 0 0,7 0 0,0 0 0,9 0 0,-4 0 0,5 0 0,-5 2 0,-1-1 0,-6 2 0,-3-3 0,-5 2 0,-5-2 0,-6 2 0,3-2 0,-5 2 0,2-2 0,1 4 0,3-4 0,1 4 0,9-3 0,-6 3 0,6-3 0,-7 3 0,2-4 0,-5 4 0,0-3 0,-4 2 0,-3-2 0,2 0 0,0-1 0,0 0 0,2 0 0,-2 0 0,0 0 0,1 3 0,-3-1 0,2 3 0,-1-2 0,0 0 0,2 0 0,-2 1 0,1-1 0,1-1 0,-2 1 0,4-1 0,-4 0 0,2 2 0,-1-2 0,-2 1 0,4 1 0,-4-1 0,2 0 0,0 0 0,-2 0 0,2 0 0,-2 2 0,-1-1 0,1 2 0,-1-2 0,1 2 0,0-3 0,0 3 0,1-1 0,-3 0 0,4 0 0,-3-2 0,2 0 0,0 2 0,-1-1 0,0 1 0,1-1 0,-3 1 0,2 0 0,-2 1 0,0-2 0,-1 3 0,0-2 0,0 0 0,0 2 0,0-4 0,0 4 0,0-2 0,-1 0 0,-2 2 0,-1-5 0,-1 2 0,-1 0 0,1-2 0,-1 2 0,0-1 0,2 0 0,-4 0 0,1 0 0,1-2 0,-3 2 0,3-2 0,0 2 0,-3-2 0,3 0 0,-3-1 0,0 0 0,-3 0 0,2 0 0,-2 0 0,0 0 0,2 0 0,-5 0 0,2-2 0,-8 1 0,0-4 0,-5 1 0,0-2 0,1 2 0,-6 2 0,4 2 0,-9 0 0,9 0 0,1 0 0,5 0 0,5-3 0,0 3 0,3-3 0,0 3 0,1-2 0,3 1 0,-4-3 0,5 3 0,-5-3 0,4 3 0,-11-1 0,6-1 0,-2 3 0,0-3 0,6 3 0,-2 0 0,0 0 0,-1 0 0,-3 0 0,0 0 0,-1 0 0,1 0 0,3 0 0,-2 0 0,7 0 0,-3 0 0,7 0 0,-2 0 0,0 0 0,2 0 0,-3 0 0,2 0 0,0 0 0,-1 0 0,1 0 0,0 0 0,-1 0 0,2 0 0,-5 0 0,5 0 0,-4 0 0,3 0 0,-1 0 0,0 0 0,-2 0 0,-2 0 0,0 0 0,-3 0 0,7 0 0,0 0 0,0 0 0,2 0 0,-3 0 0,2 0 0,-3 0 0,2 0 0,0 0 0,1 0 0,0 0 0,-1 0 0,1 0 0,0 0 0,0 0 0,-2 0 0,2 0 0,-1 2 0,-1-2 0,2 2 0,-1-2 0,1 0 0,0 1 0,-1 1 0,3 2 0,1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03.489"/>
    </inkml:context>
    <inkml:brush xml:id="br0">
      <inkml:brushProperty name="width" value="0.2" units="cm"/>
      <inkml:brushProperty name="height" value="0.2" units="cm"/>
      <inkml:brushProperty name="color" value="#FFFFFF"/>
    </inkml:brush>
  </inkml:definitions>
  <inkml:trace contextRef="#ctx0" brushRef="#br0">1 0 24575,'0'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08.503"/>
    </inkml:context>
    <inkml:brush xml:id="br0">
      <inkml:brushProperty name="width" value="0.2" units="cm"/>
      <inkml:brushProperty name="height" value="0.2" units="cm"/>
      <inkml:brushProperty name="color" value="#FFFFFF"/>
    </inkml:brush>
  </inkml:definitions>
  <inkml:trace contextRef="#ctx0" brushRef="#br0">41 131 24575,'20'0'0,"-6"0"0,4 0 0,3 0 0,6 0 0,59 0 0,-42 0 0,56 0 0,-47 0 0,6-8 0,-2 6 0,-12-5 0,-2 4 0,-11 2 0,-1-3 0,-1 1 0,2 2 0,5-2 0,7-1 0,-6 3 0,11-2 0,-10 3 0,4 0 0,-6 0 0,-5 0 0,-5 0 0,-7 0 0,-7 0 0,-1 0 0,-6 0 0,0 0 0,-1 0 0,0 0 0,-17 4 0,7-2 0,-14 4 0,10-3 0,5 0 0,-2 1 0,0 0 0,0 0 0,0 0 0,-3 2 0,3-2 0,-3 5 0,3-5 0,-3 2 0,3 0 0,-3-1 0,0 2 0,-3 0 0,2 0 0,-5 4 0,2-2 0,0 1 0,-3 1 0,7-4 0,-3 2 0,5-4 0,-1 1 0,4-3 0,-4 2 0,3-2 0,-3 2 0,2-1 0,-11 1 0,7 1 0,-14 1 0,10 2 0,-11-2 0,8 1 0,-4-2 0,8-1 0,-2 0 0,2-2 0,-13 3 0,8-6 0,-12 4 0,9-4 0,-10 0 0,-1 3 0,0-2 0,5 2 0,7-3 0,3 0 0,4 0 0,1 0 0,3 0 0,-7 0 0,5 0 0,-13 0 0,10 0 0,-6 0 0,4 0 0,-8-2 0,9-1 0,-4 0 0,10-1 0,1 2 0,-3-2 0,-1-1 0,-1 0 0,-3 0 0,7 0 0,-3 2 0,3 1 0,-3 0 0,4 1 0,-3-1 0,4 2 0,-2 0 0,1 0 0,-1 0 0,0 0 0,2 0 0,1 0 0,1 0 0,0-2 0,0 2 0,0-3 0,-4-2 0,1 0 0,-4-2 0,3 0 0,2 0 0,1 1 0,2-2 0,1 4 0,0-2 0,2-2 0,1 4 0,0-3 0,0-1 0,0 4 0,0-4 0,0 3 0,0 2 0,0-5 0,1 4 0,3-2 0,3 0 0,2-1 0,-3 1 0,2-3 0,-3 3 0,1-1 0,-2-1 0,0 4 0,0-4 0,-1 4 0,1-2 0,0 2 0,1 1 0,2-3 0,2 1 0,-1-4 0,1 2 0,-2-1 0,1 1 0,-3-2 0,1 5 0,-2-2 0,0 0 0,-2 2 0,0-2 0,2 2 0,1 1 0,3 1 0,1 2 0,0 0 0,4 0 0,-6 0 0,5 0 0,-8 0 0,4 0 0,-4 0 0,5 0 0,-5 0 0,8 0 0,3 0 0,12 0 0,-4 0 0,6 0 0,-7 0 0,11 0 0,-10-3 0,5 3 0,-16-5 0,1 5 0,-7-2 0,2 0 0,-4 1 0,4-1 0,-4 2 0,5 0 0,-5 0 0,4 0 0,-2 0 0,1 0 0,1 0 0,-2 0 0,6 0 0,1 0 0,4 0 0,-1 0 0,0 0 0,0 0 0,0 0 0,-3 0 0,3 0 0,-7 0 0,3 0 0,-3 0 0,-2 0 0,-2 0 0,0 0 0,0 0 0,2 0 0,-3 2 0,1-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2:06.388"/>
    </inkml:context>
    <inkml:brush xml:id="br0">
      <inkml:brushProperty name="width" value="0.2" units="cm"/>
      <inkml:brushProperty name="height" value="0.2" units="cm"/>
      <inkml:brushProperty name="color" value="#FFFFFF"/>
    </inkml:brush>
  </inkml:definitions>
  <inkml:trace contextRef="#ctx0" brushRef="#br0">0 958 24575,'4'-14'0,"0"3"0,-3 7 0,0 1 0,1-4 0,-2 3 0,3-3 0,-3 3 0,3 0 0,2-8 0,3-3 0,8-14 0,0 5 0,2-7 0,1 11 0,-2-3 0,-1 5 0,-5 4 0,-1 3 0,-6 5 0,2 4 0,-3-1 0,2 1 0,-2-2 0,2 1 0,-3-2 0,0 0 0,-2-1 0,0 0 0,1 2 0,0-2 0,2 1 0,-3 0 0,3-1 0,-1 2 0,2-7 0,1 0 0,0-2 0,-1 1 0,-1-1 0,0 6 0,-2-5 0,0 8 0,1-4 0,-1 4 0,1-2 0,-1 1 0,0 0 0,0 0 0,-1 0 0,0-1 0,0 0 0,0 1 0,2-2 0,-2 3 0,5-8 0,-5 4 0,5-7 0,-2 5 0,0-2 0,1 3 0,-4 0 0,2 0 0,-2 2 0,0 1 0,0 1 0,0 0 0,0-1 0,0 1 0,0 0 0,0 0 0,3 1 0,-1-1 0,2 0 0,-1 1 0,-3-2 0,3 2 0,-2-2 0,1 2 0,-1-3 0,0 3 0,1-5 0,-1 5 0,1-2 0,-2 0 0,1 2 0,1-3 0,0 3 0,0-1 0,-1 0 0,1 1 0,0-2 0,0 1 0,-2 0 0,2-1 0,0 3 0,3-2 0,-3 0 0,0 2 0,-1-3 0,2 1 0,-3 0 0,1-2 0,-1 2 0,0 0 0,0-2 0,0 0 0,2-2 0,-1 0 0,1 1 0,-2-1 0,2 0 0,-2 0 0,2 2 0,0 1 0,-2 3 0,3-2 0,-1-1 0,0 1 0,1 0 0,0 2 0,0-1 0,2 1 0,-2-2 0,2 2 0,-1-1 0,1-2 0,-1 2 0,0-4 0,0 4 0,0-2 0,-2 0 0,1 3 0,-1-4 0,1 5 0,0-3 0,1 3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18.771"/>
    </inkml:context>
    <inkml:brush xml:id="br0">
      <inkml:brushProperty name="width" value="0.2" units="cm"/>
      <inkml:brushProperty name="height" value="0.2" units="cm"/>
      <inkml:brushProperty name="color" value="#FFFFFF"/>
    </inkml:brush>
  </inkml:definitions>
  <inkml:trace contextRef="#ctx0" brushRef="#br0">35 1 24575,'69'0'0,"5"0"0,-2 0 0,4 0 0,-7 0 0,-8 5 0,5-4 0,-27 9 0,-2-9 0,-13 3 0,-7-4 0,-6 0 0,-5 0 0,0 0 0,5 0 0,-4 0 0,4 0 0,-1 0 0,2 0 0,4 0 0,6 0 0,1 0 0,7 0 0,-1 0 0,0 0 0,1 0 0,7 0 0,-6 4 0,14-3 0,-14 4 0,0-5 0,-3 0 0,-10 0 0,-1 3 0,-2-3 0,-7 3 0,2-3 0,-4 0 0,1 0 0,-1 0 0,0 0 0,0 3 0,0-3 0,-3 6 0,2-3 0,-2 1 0,0 1 0,5-1 0,-4 2 0,5 0 0,-3-3 0,0 3 0,1-5 0,-1 1 0,0 1 0,0-2 0,-3 4 0,1-2 0,-3 2 0,1 3 0,-5-2 0,0-1 0,-8 1 0,4-5 0,-4 5 0,1-1 0,2 1 0,-14 2 0,13-2 0,-11 1 0,13-1 0,-6-3 0,6 3 0,-8-6 0,8 6 0,-4-6 0,5 3 0,-5-3 0,4 0 0,-8 0 0,3 0 0,-4 0 0,0 0 0,0 0 0,0 0 0,0 0 0,0 0 0,-6 0 0,4 0 0,-4 0 0,0 0 0,4 0 0,-4 0 0,0 0 0,5 0 0,-19 0 0,11 0 0,-20 0 0,6 5 0,-8 2 0,0 4 0,1 1 0,-1 0 0,8-6 0,-6 4 0,20-5 0,-24 6 0,28-7 0,-14 0 0,13-4 0,-2 0 0,-5 5 0,-1-4 0,7 3 0,-5-4 0,10 0 0,-4 0 0,10 0 0,2 0 0,4 0 0,-1 0 0,1 0 0,0 0 0,1 0 0,-1 0 0,3 7 0,1-3 0,0 3 0,1-20 0,2 7 0,3-16 0,2 14 0,6-3 0,-4 0 0,3 3 0,-4 0 0,-1 3 0,0 1 0,0 1 0,0-3 0,-2 3 0,1-1 0,-4-1 0,4 1 0,-4-2 0,5 3 0,-6-2 0,8 4 0,-5-2 0,5 3 0,-2 0 0,4 0 0,2 0 0,-1 0 0,4 0 0,-3 0 0,4 0 0,0 0 0,0 0 0,0 0 0,0 0 0,-4 0 0,3 0 0,-4 0 0,5 0 0,-4 0 0,3 0 0,-4 0 0,5 0 0,0 0 0,0 0 0,0 0 0,0 0 0,0 0 0,0 0 0,-4 0 0,3 0 0,3 0 0,-1 0 0,5 0 0,-6 0 0,0 0 0,6 0 0,-4 0 0,3 0 0,-4 0 0,-1 0 0,0 0 0,5 0 0,-3 0 0,4 0 0,8 0 0,-5 0 0,12 0 0,-14 0 0,5 0 0,-10 0 0,4 0 0,-10 0 0,2 0 0,-6 0 0,2 0 0,-4 0 0,1 0 0,-1 0 0,4 0 0,2 0 0,17 0 0,-10 0 0,10 0 0,-13 4 0,0-3 0,0 2 0,0-3 0,-4 3 0,-1-2 0,-1 1 0,-3 1 0,4-2 0,-5 2 0,0-3 0,0 2 0,1-1 0,-1 4 0,0-4 0,5 5 0,0-5 0,5 6 0,0-2 0,-4-1 0,-2 3 0,1-7 0,-4 3 0,4 0 0,-8 0 0,0 2 0,-3 1 0,0-1 0,0 1 0,0-1 0,-10 2 0,5-1 0,-9-1 0,4 1 0,2-3 0,-2 2 0,-1 1 0,4-2 0,-4 0 0,0 2 0,4-5 0,-4 5 0,5-5 0,0 5 0,-5-6 0,0 6 0,-6-5 0,6 6 0,-10-7 0,8 3 0,-9-3 0,5 4 0,1-4 0,5 4 0,-4-4 0,3 0 0,0 0 0,-3 0 0,4 0 0,-6 0 0,1 0 0,0 0 0,5 0 0,-4 0 0,3 0 0,-4 0 0,0 0 0,0 0 0,4 0 0,-3 0 0,3 0 0,-4 0 0,0 0 0,0 0 0,-6 0 0,4 0 0,1 0 0,-4 0 0,12 0 0,-12 0 0,9 0 0,-4 0 0,0 0 0,4 0 0,-3 4 0,4-4 0,-13 8 0,6-8 0,0 4 0,3-4 0,3 4 0,0-4 0,1 4 0,5-4 0,0 0 0,0 0 0,0 0 0,25 0 0,-16 0 0,19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27.997"/>
    </inkml:context>
    <inkml:brush xml:id="br0">
      <inkml:brushProperty name="width" value="0.2" units="cm"/>
      <inkml:brushProperty name="height" value="0.2" units="cm"/>
      <inkml:brushProperty name="color" value="#FFFFFF"/>
    </inkml:brush>
  </inkml:definitions>
  <inkml:trace contextRef="#ctx0" brushRef="#br0">0 0 24575,'12'7'0,"-4"-1"0,-5-3 0,-1 0 0,1 3 0,-1-2 0,-1 2 0,2-1 0,-1-2 0,4 2 0,-3-1 0,2-1 0,-2 3 0,-2-2 0,1 2 0,-1-2 0,1 1 0,1 1 0,0-3 0,1 1 0,1-1 0,-1 0 0,0 0 0,1 2 0,-2-2 0,2 2 0,-2-2 0,1 0 0,1 0 0,0 0 0,0-1 0,-1 0 0,2-2 0,0 2 0,-1-2 0,0 0 0,0 0 0,0 0 0,1 1 0,0-1 0,-2 3 0,2-2 0,0 0 0,0-1 0,0 0 0,1 0 0,-3 0 0,3 0 0,-3 0 0,1 1 0,1 0 0,-1 0 0,1 0 0,-2 0 0,2 0 0,-1-1 0,0 0 0,1 0 0,-1 0 0,1 0 0,0 0 0,-1 0 0,1-1 0,-2-2 0,1 1 0,-2-4 0,0 3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31.707"/>
    </inkml:context>
    <inkml:brush xml:id="br0">
      <inkml:brushProperty name="width" value="0.2" units="cm"/>
      <inkml:brushProperty name="height" value="0.2" units="cm"/>
      <inkml:brushProperty name="color" value="#FFFFFF"/>
    </inkml:brush>
  </inkml:definitions>
  <inkml:trace contextRef="#ctx0" brushRef="#br0">1 1 24575,'0'18'0,"0"-1"0,0-8 0,0 0 0,0-1 0,0-3 0,0 0 0,0 0 0,1 0 0,-1 1 0,1-1 0,-1 1 0,0-1 0,0 1 0,0 0 0,0-1 0,2 1 0,-2-2 0,3 2 0,-1-1 0,-1 0 0,1 2 0,-2-3 0,0 4 0,0-5 0,0 5 0,0-4 0,0 1 0,0 2 0,0-4 0,1 4 0,0-3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35.944"/>
    </inkml:context>
    <inkml:brush xml:id="br0">
      <inkml:brushProperty name="width" value="0.2" units="cm"/>
      <inkml:brushProperty name="height" value="0.2" units="cm"/>
      <inkml:brushProperty name="color" value="#FFFFFF"/>
    </inkml:brush>
  </inkml:definitions>
  <inkml:trace contextRef="#ctx0" brushRef="#br0">1 1 24575,'10'11'0,"-2"-3"0,-4-5 0,-1-3 0,2 6 0,-1-4 0,1 4 0,-1-1 0,-2-2 0,3 3 0,-4-2 0,2 1 0,-1-1 0,1 0 0,0 2 0,-1-2 0,1 0 0,0 0 0,1 0 0,0 0 0,-1-1 0,1 2 0,0-1 0,0-1 0,2 0 0,-3-2 0,3 3 0,-3-1 0,3-2 0,-4 5 0,2-4 0,-2 5 0,1-4 0,-1 3 0,0-1 0,0 0 0,1 0 0,0-1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4:38.018"/>
    </inkml:context>
    <inkml:brush xml:id="br0">
      <inkml:brushProperty name="width" value="0.2" units="cm"/>
      <inkml:brushProperty name="height" value="0.2" units="cm"/>
      <inkml:brushProperty name="color" value="#FFFFFF"/>
    </inkml:brush>
  </inkml:definitions>
  <inkml:trace contextRef="#ctx0" brushRef="#br0">1 1 24575,'13'5'0,"-2"-1"0,-8-1 0,0 0 0,1 2 0,0-1 0,-1 2 0,0-2 0,-1-1 0,4 3 0,-4-3 0,2 1 0,-1 1 0,0-2 0,2 2 0,-1-2 0,0 1 0,0-1 0,1 2 0,-2-3 0,3 3 0,-1-2 0,0 0 0,1-1 0,-3 0 0,3 0 0,-2 0 0,1 0 0,-1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5:07.394"/>
    </inkml:context>
    <inkml:brush xml:id="br0">
      <inkml:brushProperty name="width" value="0.05" units="cm"/>
      <inkml:brushProperty name="height" value="0.05" units="cm"/>
      <inkml:brushProperty name="color" value="#034A72"/>
    </inkml:brush>
  </inkml:definitions>
  <inkml:trace contextRef="#ctx0" brushRef="#br0">5 1 24575,'2'4'0,"2"1"0,-3-2 0,2 4 0,0-2 0,-1 1 0,1 1 0,-1-3 0,0 1 0,-2-2 0,3-2 0,-2 0 0,0 0 0,1 0 0,-1 0 0,1-1 0,0 1 0,-1 1 0,1-2 0,0 2 0,0-2 0,-1 2 0,2-1 0,-2 0 0,2 0 0,-1-1 0,1 2 0,-1 0 0,1 0 0,-1-1 0,1 2 0,-1-2 0,1 1 0,-1 0 0,1-2 0,-1 2 0,0-2 0,1 2 0,0-1 0,-2 1 0,1-2 0,0 3 0,1-2 0,0 0 0,1 2 0,-2-3 0,1 2 0,-1-2 0,1 3 0,0-3 0,0 2 0,0-1 0,1 0 0,-3 0 0,1-1 0,0 1 0,0-1 0,-1 1 0,1 0 0,0 0 0,-1 0 0,1-1 0,0 1 0,-1 0 0,1 0 0,-2 1 0,3-2 0,-2 3 0,2-3 0,-1 2 0,1-2 0,-2 2 0,1-1 0,-1 1 0,2-2 0,-1 1 0,-1 0 0,1-1 0,-1 1 0,2-1 0,-1 0 0,1 0 0,-1 0 0,1 0 0,-1 0 0,1 0 0,-1 0 0,1 0 0,-1 0 0,1 2 0,-1-2 0,1 2 0,-1-2 0,0 2 0,1-2 0,-1 1 0,0-1 0,1 0 0,-1 0 0,1 0 0,-1 0 0,0 0 0,1 0 0,-1 0 0,1 0 0,-1 0 0,1 0 0,-1 0 0,1 0 0,-1 0 0,1 0 0,-1 0 0,1 0 0,-1 0 0,1 0 0,-1 0 0,1 0 0,0 0 0,-1 0 0,1 0 0,-1 0 0,1 0 0,-1 0 0,1 0 0,-1 0 0,1 0 0,-1 0 0,0 0 0,-1-1 0,1 1 0,-1-2 0,1 2 0,-2-3 0,2 2 0,-2-1 0,2 1 0,-5 0 0,3 2 0,-5 0 0,3 2 0,-1-1 0,-2 3 0,2-2 0,-1 2 0,2-2 0,2-1 0,-3 1 0,2-2 0,-1 1 0,-1-2 0,1 1 0,0-1 0,-1 0 0,1 0 0,-1 0 0,2 2 0,-1-2 0,1 1 0,-1 0 0,0-1 0,1 3 0,-1-3 0,0 2 0,-1-2 0,1 1 0,-1-1 0,1 0 0,-1 0 0,1 1 0,-1-1 0,1 1 0,0-1 0,-1 1 0,1 0 0,-1 0 0,2 0 0,-2-1 0,2 1 0,-1 0 0,0 0 0,1 0 0,-2-1 0,1 0 0,0 0 0,-1 0 0,1 0 0,-1 0 0,0 0 0,1 0 0,-1 0 0,1 0 0,-1-1 0,0 0 0,1-1 0,-1 2 0,1-2 0,-1 1 0,1 0 0,0 0 0,0 1 0,0-2 0,0 2 0,-1-1 0,1 1 0,-1-2 0,1 1 0,-1-1 0,1 2 0,0-2 0,-1 1 0,2-1 0,-2 2 0,2-1 0,0-1 0,-2 2 0,2-2 0,-2 1 0,1-1 0,1 0 0,-2 2 0,2-3 0,-2 0 0,1 0 0,0-1 0,0-1 0,-1 2 0,0-3 0,-1 3 0,0-3 0,-1 2 0,3 0 0,-1 1 0,0 2 0,1-2 0,-1 2 0,1-1 0,-1 0 0,2 0 0,-1 1 0,1-2 0,-1 2 0,2-1 0,-1 0 0,-1 1 0,2-2 0,-2 3 0,2-2 0,-3 2 0,2-2 0,-1 1 0,0 1 0,1-1 0,-2 1 0,1 0 0,-1-1 0,0 0 0,1 0 0,-1 1 0,1 0 0,-1-1 0,1 1 0,0-2 0,0 1 0,1-1 0,-1 1 0,0-1 0,2-1 0,-1 1 0,1 0 0,0-1 0,-1 1 0,1-1 0,-1 1 0,0 0 0,1 0 0,-3 2 0,3-3 0,-2 3 0,2-2 0,-2 1 0,1-2 0,0 1 0,1 0 0,0 0 0,1 1 0,1 0 0,0 1 0,0 0 0,0 0 0,1 0 0,-1 0 0,1 0 0,-1 0 0,3 0 0,-2 0 0,1 0 0,-1 0 0,-1 0 0,1 0 0,-1 0 0,1 0 0,-1 1 0,0 0 0,1 0 0,-2 1 0,1-2 0,0 2 0,-1 0 0,1 0 0,0 1 0,-1-1 0,0 0 0,-1 0 0,0 1 0,1-2 0,0 1 0,2-2 0,-2 2 0,1-2 0,-1 3 0,1-2 0,-1 0 0,0 1 0,1-2 0,-1 1 0,2-1 0,-1 0 0,0 0 0,1 0 0,0 1 0,-1-1 0,1 2 0,-1-2 0,1 0 0,-1 1 0,1 0 0,-2 1 0,1-1 0,-1 0 0,1-1 0,-1-1 0,0 0 0,-1-1 0,0-1 0,0-1 0,0 1 0,0-2 0,0 3 0,0-1 0,-1 2 0,0 0 0,-2 1 0,1 0 0,-3 0 0,2 0 0,-1 0 0,1 0 0,1 0 0,-1 0 0,1-1 0,1 0 0,4 4 0,-1-2 0,4 5 0,-5-3 0,0-1 0,-1 1 0,0-1 0,0 1 0,0-1 0,0 1 0,0-1 0,1-1 0,0 0 0,0 0 0,1 0 0,-1 0 0,1 0 0,0-1 0,-2 2 0,2-2 0,-2 2 0,3-1 0,-2 1 0,1-2 0,0 2 0,1-2 0,-1 1 0,1-1 0,0 0 0,-1 1 0,1 0 0,-1 0 0,1-1 0,-1 0 0,1 0 0,-1 1 0,0-1 0,0 2 0,0-2 0,-2 2 0,2-2 0,0 1 0,-1 1 0,1-2 0,-1 1 0,1-1 0,0 1 0,0-1 0,-1 2 0,1-2 0,1 0 0,-1 0 0,0 0 0,0 0 0,1 0 0,-1 0 0,0 0 0,0 0 0,0 0 0,0 1 0,0-1 0,-1 1 0,2-1 0,-1 1 0,1-1 0,-1 1 0,1-1 0,-1 0 0,0 0 0,1 0 0,-1 0 0,0 1 0,1-1 0,-1 1 0,0-1 0,1 0 0,-1 0 0,0 0 0,1 2 0,-1-2 0,1 1 0,-1-1 0,0 0 0,1 0 0,-1 0 0,1 0 0,-1 0 0,0 0 0,1 0 0,-1 0 0,0 0 0,0 0 0,1 0 0,-1 0 0,0 0 0,0 0 0,0 0 0,0 0 0,-1-1 0,0 0 0,-1-1 0,0 1 0,0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5:17.242"/>
    </inkml:context>
    <inkml:brush xml:id="br0">
      <inkml:brushProperty name="width" value="0.05" units="cm"/>
      <inkml:brushProperty name="height" value="0.05" units="cm"/>
      <inkml:brushProperty name="color" value="#034A72"/>
    </inkml:brush>
  </inkml:definitions>
  <inkml:trace contextRef="#ctx0" brushRef="#br0">0 80 24575,'0'6'0,"0"1"0,0-3 0,0 1 0,0-2 0,0-1 0,2 0 0,-2 1 0,2-2 0,-2 2 0,3-2 0,-3 2 0,1-1 0,0 0 0,-1 0 0,2-1 0,-1 1 0,-1 0 0,1-1 0,0 1 0,0 0 0,1 0 0,-2 0 0,2-1 0,-1 2 0,1-2 0,-1 2 0,1-1 0,-1 0 0,0 0 0,-1 0 0,2-1 0,-2 2 0,2-2 0,-1 1 0,0-1 0,0 2 0,0-1 0,1 1 0,0-1 0,-2 1 0,1-1 0,0 0 0,-1 1 0,1-1 0,-1 1 0,1-1 0,0 1 0,0 0 0,0-1 0,0 0 0,1 1 0,-1-1 0,0 1 0,-1-1 0,3 3 0,-3 0 0,3-1 0,-3 3 0,1-4 0,0 3 0,0-3 0,0 1 0,-1-1 0,1-1 0,0 1 0,0-1 0,0 1 0,-1-1 0,1 3 0,-1-2 0,1 1 0,0-1 0,0-1 0,-1 2 0,0-1 0,0 2 0,1-1 0,0-1 0,2 3 0,-3-1 0,3 2 0,-3-1 0,3-1 0,-1 1 0,-1-3 0,1 2 0,-1-1 0,-1-1 0,2 1 0,-2-1 0,0-1 0,0 1 0,1 0 0,-1-1 0,1 1 0,-1-1 0,0 1 0,0-1 0,0 0 0,0 1 0,0-1 0,0 0 0,0 1 0,0-1 0,0 0 0,0 1 0,0-1 0,0 1 0,0-1 0,0 1 0,0-1 0,0 1 0,0-1 0,0 0 0,0 0 0,0 1 0,0-1 0,0 0 0,0 0 0,0 0 0,1-1 0,1 0 0,0-1 0,0-1 0,0-1 0,2-3 0,-4 1 0,3-1 0,-2 2 0,-1 1 0,1-1 0,1-1 0,-2 1 0,3-2 0,-3 3 0,1-3 0,-1 2 0,0-1 0,0 1 0,0-1 0,0 2 0,0-2 0,0 1 0,0 1 0,0-1 0,0 1 0,0-1 0,0 1 0,0-3 0,0 1 0,0-1 0,0-2 0,0 3 0,0-5 0,0 1 0,-3-1 0,1 0 0,-5-1 0,3 1 0,-2-1 0,2 1 0,1 2 0,-1-2 0,1 4 0,2-1 0,-1 3 0,2-2 0,0 3 0,0-1 0,0 1 0,0-1 0,0 1 0,0-1 0,0 1 0,0-1 0,0 1 0,0 0 0,0-1 0,0 1 0,0-1 0,0 1 0,0-1 0,0 1 0,-1-1 0,1 1 0,-1-1 0,0 1 0,-1-1 0,1 0 0,-2-1 0,1-1 0,-1-1 0,-3-4 0,2 1 0,-3-3 0,2-1 0,-1 1 0,2 2 0,1-1 0,-1 5 0,1-2 0,1 5 0,0-2 0,0 4 0,0 0 0,1 2 0,0 0 0,6 1 0,-3-1 0,5 0 0,-4-1 0,2 0 0,-3 0 0,3 0 0,-2 0 0,1 0 0,-1 1 0,-1 0 0,1 1 0,-1-1 0,1 1 0,-1 0 0,0 0 0,0 0 0,-2 1 0,2-1 0,-2 1 0,1-1 0,0 1 0,1-1 0,0 0 0,1 1 0,-1 0 0,0 0 0,0-1 0,-2 1 0,2-2 0,0 2 0,-1-1 0,2 1 0,-2-1 0,1 1 0,0-1 0,0 1 0,-1-1 0,0 0 0,1 1 0,0-2 0,-1 1 0,1-2 0,-2 2 0,2-1 0,-1 1 0,1-1 0,-2 1 0,2 1 0,-2-1 0,2 0 0,-2 0 0,1 1 0,0-1 0,0 1 0,0-1 0,0 1 0,-1 0 0,2-2 0,-1 1 0,1 0 0,-1 0 0,1 1 0,0-2 0,-1 1 0,2-1 0,-2 2 0,1 0 0,0-1 0,0 0 0,0 0 0,0-1 0,-1 2 0,2-1 0,-2 1 0,1-1 0,-1 1 0,1-2 0,-2 1 0,2 0 0,-1 0 0,1 1 0,-2-1 0,2 0 0,-2 0 0,2 1 0,-1-1 0,0 1 0,-1-1 0,0 0 0,0 1 0,0 0 0,0-1 0,0 1 0,0-1 0,0 1 0,0-1 0,0 1 0,1-1 0,-1 1 0,1-1 0,-1 1 0,0-1 0,0 1 0,0-1 0,0 1 0,0-1 0,0 1 0,0 0 0,0-1 0,0 0 0,0 0 0,0 1 0,0-1 0,0 0 0,0 0 0,0 1 0,0-1 0,0 0 0,0 0 0,0 0 0,0 1 0,0-1 0,0 0 0,0 1 0,0-1 0,0 1 0,0-1 0,1 1 0,1 1 0,0 1 0,1 2 0,-3-2 0,3 1 0,-3-3 0,3 1 0,-3 0 0,2-1 0,-1 2 0,1-3 0,-2 1 0,1-1 0,-1 1 0,0 0 0,0-1 0,0 0 0,0 1 0,0-1 0,0 0 0,-1-1 0,0 1 0,-1-2 0,-1 2 0,1-1 0,-1-1 0,1 1 0,-1 0 0,1 0 0,-1 1 0,1-2 0,-1 1 0,1-1 0,0 1 0,0-1 0,1 1 0,-2-1 0,1 0 0,-1 0 0,1 0 0,0 2 0,0-2 0,1 1 0,-2-1 0,1 0 0,1-2 0,0 0 0,1-3 0,0 0 0,0-1 0,0 1 0,0-1 0,0 1 0,0 0 0,0-1 0,0 3 0,0-3 0,0 1 0,0-2 0,0 1 0,0-1 0,0 0 0,0-2 0,0 4 0,0-4 0,0 4 0,-2-2 0,2 3 0,-3-1 0,3 3 0,-2-1 0,1 1 0,-1-1 0,2 1 0,-2 0 0,2 0 0,-2 2 0,0-2 0,1 1 0,0-2 0,1 1 0,0-2 0,0-1 0,0-2 0,0 3 0,0-3 0,0 3 0,0-3 0,0 2 0,0-1 0,0 3 0,0-2 0,0 3 0,0-1 0,0 1 0,0-1 0,0-1 0,1 1 0,-1-2 0,2 3 0,-2-1 0,0 1 0,0-1 0,0 1 0,0-1 0,0 1 0,0 0 0,0-1 0,0 1 0,-1 0 0,-1 0 0,1 0 0,-1 1 0,0-2 0,0 2 0,-1-1 0,0 0 0,1-2 0,0 1 0,-1-2 0,2 3 0,-2-3 0,2 2 0,-2-1 0,1 1 0,1 1 0,-1-1 0,0 1 0,1-1 0,0 0 0,0 1 0,0-1 0,-1 1 0,2-1 0,-2 2 0,2-1 0,-3 0 0,3 0 0,-2 1 0,2-2 0,-1 2 0,-1 0 0,2-2 0,-2 2 0,2-1 0,-2 0 0,1-1 0,-1 2 0,2-1 0,-1 1 0,0 0 0,0-1 0,0 0 0,1 0 0,-1 1 0,1-1 0,-2 1 0,2-2 0,-2 1 0,1 0 0,-1-1 0,2 1 0,-2 0 0,1 0 0,0 0 0,-2 0 0,3 0 0,-1 1 0,0-2 0,1 1 0,-2-1 0,1 1 0,-1 1 0,1-1 0,-2 1 0,1-1 0,1 0 0,-1 2 0,0-1 0,0 1 0,-1 0 0,1 0 0,0 0 0,-1 0 0,1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5:23.144"/>
    </inkml:context>
    <inkml:brush xml:id="br0">
      <inkml:brushProperty name="width" value="0.05" units="cm"/>
      <inkml:brushProperty name="height" value="0.05" units="cm"/>
      <inkml:brushProperty name="color" value="#034A72"/>
    </inkml:brush>
  </inkml:definitions>
  <inkml:trace contextRef="#ctx0" brushRef="#br0">111 139 24575,'0'5'0,"0"0"0,0-2 0,0 0 0,0 1 0,0 0 0,0 2 0,0 0 0,0-1 0,0-2 0,0 0 0,0-1 0,-2-1 0,2 2 0,-1-2 0,1 2 0,0-1 0,0 1 0,0-1 0,0 0 0,0 1 0,0 0 0,0-1 0,0 1 0,-1-2 0,0 1 0,-2-2 0,1 1 0,0 0 0,-1 0 0,1 0 0,-1-1 0,1 0 0,0 1 0,-1-1 0,2 2 0,-1-1 0,1 1 0,-1-1 0,2 2 0,-3-1 0,2 0 0,0 0 0,-1-1 0,1 2 0,1 0 0,-2-1 0,1 1 0,-1-1 0,2 1 0,-3-1 0,3 1 0,-2-1 0,2 1 0,-2-1 0,1 1 0,1 0 0,-2-1 0,1 1 0,-1-2 0,2 1 0,-2 0 0,0 0 0,1 1 0,0-1 0,0-1 0,0 2 0,0-2 0,0 2 0,1-1 0,-2-1 0,2 1 0,-2-1 0,1 2 0,0-3 0,1-3 0,0 0 0,2-8 0,-2 6 0,2-5 0,-2 4 0,0-1 0,0 0 0,0 1 0,0 1 0,0 0 0,1 3 0,-1-1 0,2 1 0,-1-1 0,1 2 0,-1-1 0,1 1 0,0 0 0,1 1 0,-1 0 0,0 0 0,0 0 0,1 0 0,0-1 0,1 1 0,1-3 0,0 2 0,-1-1 0,-2 0 0,1 1 0,0 0 0,-1 0 0,0 0 0,-1-1 0,-2-1 0,-1 1 0,0 0 0,-1-2 0,2 1 0,-1-1 0,1 2 0,0-1 0,1 1 0,0-1 0,0 0 0,0 1 0,0-1 0,0 1 0,0 0 0,0 0 0,1 0 0,0 1 0,2 0 0,-1 1 0,1-1 0,-2 2 0,0 2 0,-1-1 0,0 5 0,0-3 0,0 1 0,0 1 0,0-3 0,0 4 0,0-4 0,0 1 0,-2 0 0,2-1 0,-2 2 0,1-3 0,1 1 0,-1-1 0,1 1 0,0-1 0,-1 1 0,1-1 0,-2-1 0,1 1 0,0 0 0,0-1 0,1 1 0,-1-1 0,0 2 0,1-1 0,-2-1 0,1 1 0,0 0 0,0-1 0,0 0 0,-1-1 0,0-1 0,2-2 0,0 0 0,0-3 0,0 3 0,1-1 0,-1 1 0,1 1 0,0-1 0,0 1 0,1-1 0,-1 1 0,0-1 0,-1 0 0,1 1 0,-1-1 0,0 1 0,0-1 0,0 1 0,0-3 0,0 2 0,0-1 0,0 1 0,0 1 0,0 0 0,-1 0 0,0 1 0,-1 1 0,1-1 0,-2 1 0,2-1 0,-2 1 0,-1 0 0,3 1 0,-1-2 0,2 0 0,0-4 0,0 1 0,-1 0 0,0 1 0,0 1 0,1-1 0,0 1 0,0-1 0,0 1 0,0-1 0,-1 1 0,1 0 0,-1-1 0,1 1 0,0-1 0,0 1 0,0 0 0,0-1 0,0 1 0,0-1 0,-1 2 0,1-1 0,-2 1 0,2-2 0,0 1 0,0 0 0,0 0 0,-1 0 0,1 0 0,-1 1 0,0-1 0,0 0 0,-1 1 0,1-2 0,0 1 0,-1 1 0,2-2 0,-3 3 0,3-2 0,-2 1 0,1-1 0,-1 2 0,2-2 0,-2 0 0,0 1 0,1-2 0,-1 2 0,0-1 0,1-1 0,-1 2 0,2-1 0,-1 0 0,0 0 0,1 0 0,-3 0 0,3 0 0,-2 1 0,2-2 0,-3 1 0,3-1 0,-2 1 0,2-1 0,-2 1 0,2 0 0,-2-1 0,1 1 0,-1-1 0,2 1 0,-3 0 0,3-1 0,-1 1 0,1-1 0,0 1 0,0 0 0,0-1 0,0 1 0,0 0 0,0-1 0,0 1 0,0 0 0,0 0 0,0 0 0,0 6 0,0-3 0,0 6 0,0-4 0,0 1 0,1-1 0,-1 2 0,2-2 0,-2-1 0,0 1 0,1-1 0,-1 1 0,1-1 0,-1 1 0,0-1 0,0 1 0,0-1 0,1 1 0,-1 0 0,2-1 0,-1 1 0,-1-1 0,1 1 0,-1-1 0,1 1 0,0 1 0,0-1 0,-1 2 0,0-3 0,0 1 0,0-1 0,0 1 0,0-1 0,1 0 0,-1 1 0,2-1 0,-2 1 0,2-1 0,-2 0 0,2 1 0,-2-1 0,3 0 0,-3 1 0,1-1 0,-1 1 0,0-1 0,0 1 0,1-1 0,-1 1 0,2-1 0,-2 1 0,0-1 0,1 1 0,-1-1 0,2 1 0,0-1 0,0 1 0,1-2 0,-1 2 0,1-2 0,-2 2 0,2-1 0,-2 1 0,0-1 0,1 0 0,-2 0 0,0-1 0,0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5:31.973"/>
    </inkml:context>
    <inkml:brush xml:id="br0">
      <inkml:brushProperty name="width" value="0.05" units="cm"/>
      <inkml:brushProperty name="height" value="0.05" units="cm"/>
      <inkml:brushProperty name="color" value="#034A72"/>
    </inkml:brush>
  </inkml:definitions>
  <inkml:trace contextRef="#ctx0" brushRef="#br0">0 89 24575,'5'0'0,"0"1"0,-3 0 0,2 3 0,0 0 0,0 0 0,0-1 0,-2 0 0,3 0 0,-2 1 0,1 0 0,0 2 0,-2-3 0,2 2 0,-1-2 0,0 1 0,-1-2 0,-2 1 0,3-1 0,-3 1 0,2 0 0,-2-1 0,3 1 0,-3-1 0,1 1 0,0-1 0,1 3 0,1-1 0,-1 3 0,0-2 0,0 1 0,0-3 0,1 3 0,-3-3 0,3 2 0,-2-2 0,0 0 0,0 1 0,0-3 0,0 1 0,1 0 0,-2 0 0,2-1 0,-2 1 0,2-2 0,0 3 0,-1-2 0,1 0 0,-2 1 0,3 0 0,-2-1 0,0 2 0,1-2 0,0 1 0,-1 1 0,1-2 0,0 1 0,-1 0 0,1 0 0,0 1 0,0 0 0,1-1 0,-2 1 0,1-1 0,0 1 0,0-1 0,0 0 0,0 0 0,-2 0 0,2-2 0,0 1 0,-1 0 0,1 0 0,-1 1 0,1-2 0,-1 2 0,2-1 0,-2 1 0,1-1 0,0 1 0,0 0 0,2 0 0,-1 0 0,4 2 0,-4-2 0,4 1 0,-4-1 0,3 0 0,-4-2 0,1 1 0,-1 0 0,1 0 0,-1 0 0,1-1 0,-1 0 0,0 0 0,1 0 0,-1 0 0,0 1 0,0-1 0,0 1 0,0 0 0,0-1 0,-1 2 0,1-1 0,0 0 0,0 0 0,-8 0 0,2-5 0,-4 3 0,4-3 0,2 2 0,1 0 0,-2-1 0,0 0 0,1 1 0,-1-1 0,1 1 0,-1-1 0,0 1 0,1-1 0,-1 0 0,1 1 0,-3-3 0,2 2 0,-1-1 0,1 0 0,0 1 0,-1-2 0,0 0 0,0 2 0,0-3 0,0 1 0,-1-2 0,-3-2 0,1-1 0,-1-2 0,0 0 0,2 2 0,-2-1 0,4 4 0,-1-3 0,2 6 0,0-1 0,0 3 0,1-1 0,-1 1 0,1 0 0,-1 1 0,1 0 0,-1 1 0,1-2 0,-1 1 0,1-1 0,1 1 0,-2 0 0,3-1 0,-2 2 0,2-3 0,-2 2 0,1 0 0,1-2 0,-1 2 0,1-1 0,0-1 0,0 1 0,0-1 0,0 1 0,0-1 0,0-1 0,-1 1 0,0-3 0,0 1 0,0-2 0,0 2 0,-2-1 0,3 3 0,-1-3 0,1 3 0,-2-2 0,2 3 0,-1-1 0,0 1 0,0-1 0,-1 2 0,-1 0 0,1 1 0,1-1 0,-1 1 0,2-2 0,-1 0 0,0 1 0,4 4 0,-2-1 0,4 4 0,-3-3 0,4 1 0,-3-1 0,3 1 0,-4-3 0,1 1 0,-1-1 0,1 1 0,-1-2 0,1 2 0,-1-1 0,0 1 0,0-1 0,-1 2 0,1-1 0,-1 0 0,0 0 0,-1 0 0,1-1 0,0 2 0,0-1 0,1 1 0,-1-2 0,1 2 0,0-2 0,-1 2 0,2-1 0,-2 1 0,2-1 0,-2 1 0,2-1 0,-2 1 0,1 0 0,0-1 0,-1 1 0,1-1 0,-1 1 0,1-1 0,-2 1 0,3-1 0,-3 1 0,2-2 0,-2 2 0,3-2 0,-2 1 0,0 1 0,1-1 0,0 0 0,0 0 0,1-1 0,-1 2 0,1-1 0,0 1 0,-1 0 0,1-1 0,-1 1 0,1-1 0,-1 1 0,1-2 0,-1 1 0,1 0 0,-1-1 0,1 2 0,0-2 0,-1 2 0,1-1 0,1 1 0,-1 0 0,1-1 0,-1 1 0,-1 0 0,1-1 0,0 1 0,-1-1 0,1 0 0,-2 0 0,1-1 0,-1 2 0,1-1 0,-1 1 0,2-1 0,-2 1 0,1-2 0,-2 1 0,2-1 0,-2 2 0,2-1 0,-2 0 0,2 1 0,0-2 0,-1 1 0,1 0 0,0 0 0,-1 1 0,1-2 0,-2 1 0,3-1 0,-2 2 0,1-1 0,1 1 0,-1-1 0,0 0 0,0-1 0,0 1 0,0-1 0,-1 0 0,1 0 0,0-1 0,-2 3 0,2-3 0,-1 2 0,1-2 0,-1 3 0,1-2 0,0 0 0,-2 1 0,2-2 0,0 2 0,0 0 0,0 0 0,0-1 0,-1 1 0,1-2 0,0 2 0,0-2 0,-1 2 0,1-2 0,-1 1 0,1-1 0,0 0 0,0 0 0,1 0 0,-1 0 0,0 0 0,-1-1 0,0 0 0,-1-1 0,0-2 0,0 2 0,0-2 0,0 1 0,0 1 0,0-1 0,0 1 0,-2 1 0,2-1 0,-2 1 0,2-1 0,-3 2 0,3-2 0,-2 1 0,1-1 0,-1 2 0,2-3 0,-2 3 0,1-2 0,-1 1 0,1-1 0,-2 2 0,2-2 0,-1 2 0,1-2 0,-2 1 0,1 0 0,0 0 0,0 1 0,1-1 0,-2 0 0,1 0 0,0 0 0,-1 0 0,1 1 0,1-2 0,-1 1 0,1 0 0,-1 0 0,0 1 0,2-2 0,-2 1 0,2-1 0,-2 2 0,2-3 0,-3 3 0,2-2 0,-1 2 0,-1-2 0,1 1 0,-1 0 0,2 0 0,-2 1 0,2-3 0,-2 2 0,1-1 0,0 0 0,-1 0 0,2 0 0,-1 2 0,2-2 0,-3 1 0,3-1 0,-2 2 0,1-3 0,-1 3 0,2-2 0,-2 2 0,1-3 0,-1 2 0,1-2 0,-2 1 0,2-1 0,-1 2 0,0-1 0,0 0 0,-1 0 0,1-1 0,0 1 0,0-1 0,2 1 0,-3-1 0,2 1 0,-2-3 0,2 2 0,-2 0 0,1 1 0,0 0 0,0 0 0,0-1 0,1 2 0,-1-2 0,0 2 0,1-2 0,-1 1 0,0-1 0,2 1 0,-3 1 0,3-1 0,-2 1 0,2-1 0,-3 2 0,2-2 0,-1 1 0,1-1 0,-1 1 0,1-1 0,-1 0 0,2 0 0,-1 0 0,0 0 0,-1 0 0,2 0 0,-2 2 0,1-2 0,-2 1 0,2-1 0,-1 2 0,2-3 0,-1 2 0,-1 0 0,2-1 0,-2 1 0,2-1 0,-1 1 0,0-1 0,0 0 0,0 1 0,0-2 0,1 1 0,-3 1 0,3-1 0,-2 1 0,2-1 0,-3 2 0,2-2 0,-1 1 0,0-1 0,0 2 0,2-2 0,-2 1 0,2-1 0,-2 2 0,1-2 0,-1 1 0,2-2 0,-2 2 0,2-1 0,-2 1 0,2-2 0,-2 2 0,2-1 0,-3 2 0,3-2 0,-1 1 0,0-2 0,1 1 0,-1 0 0,0 0 0,0-1 0,0 1 0,0 1 0,1-1 0,-2 2 0,1-2 0,-1 2 0,1-2 0,-1 0 0,1 1 0,0-1 0,1 1 0,0-1 0,0 0 0,0 0 0,0-1 0,0 1 0,0 0 0,0 0 0,-1 1 0,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09.263"/>
    </inkml:context>
    <inkml:brush xml:id="br0">
      <inkml:brushProperty name="width" value="0.2" units="cm"/>
      <inkml:brushProperty name="height" value="0.2" units="cm"/>
      <inkml:brushProperty name="color" value="#F2F5FA"/>
    </inkml:brush>
  </inkml:definitions>
  <inkml:trace contextRef="#ctx0" brushRef="#br0">2267 246 24575,'-48'68'0,"0"0"0,1-18 0,5 19 0,3-8 0,13-41 0,1 20 0,-16-11 0,12 19 0,-23-11 0,14 17 0,2-13 0,0-1 0,18-9 0,-2-10 0,4 10 0,3-12 0,-2 5 0,2-6 0,1-5 0,4-2 0,1-4 0,0 0 0,3 0 0,1-6 0,3-21 0,5-2 0,1-19 0,4 15 0,5-5 0,1 6 0,1-8 0,3 1 0,-3-1 0,1-8 0,-3 6 0,4-14 0,-2 14 0,2-5 0,-4 7 0,-4 0 0,6-7 0,-4 5 0,4-6 0,-6 9 0,-1-1 0,0 7 0,0 2 0,-1 6 0,-4 5 0,-1 2 0,-1 4 0,-3 0 0,-1 3 0,-15 2 0,-7 7 0,-22 22 0,-9 4 0,18 4 0,-4 4-684,-13-2 0,-3 2 684,3 8 0,-2 2-1041,-16 2 0,-1 1 1041,9 3 0,4-1 0,6-14 0,0 0-367,-4 12 0,1-1 367,15-14 0,2-2 0,-5 5 0,0-1 0,5-4 0,3-2 0,-14 15 0,12-16 0,11-5 0,14-14 0,1-1 1167,5-6-1167,0 1 2135,0 0-2135,4 0 882,0 0-882,-1-4 0,1 0 0,-4-3 0,3-16 0,10 4 0,5-22 0,19-4 0,-6 3 0,16-12 0,-17 14 0,14-5 0,-4-14 0,19-11 0,5-17-572,-22 32 1,1-1 571,0 0 0,0-2 0,8-13 0,0 0 0,0 5 0,-1 1 0,-4 5 0,-1 2 0,2 2 0,-3 3 0,10-16-645,5 1 645,-23 16 0,-7 16 0,-12 5 0,-5 11 0,-4 5 1104,-9 5-1104,-5 3 684,-4 0-684,-16 6 0,5 0 0,-13 11 0,-3 10 0,-15 17 0,-14 13-696,29-18 1,-1 2 695,-4-1 0,0 2 0,-6 12 0,-1 0 0,-1-5 0,0 0-911,-5 11 1,0 2 910,2-6 0,0-1 0,-1 1 0,2 0 0,11-10 0,1 0-140,-11 11 0,3-2 140,-12 14 0,24-19 0,3-3 0,1-7 0,9-3 1238,17-20-1238,1-4 1922,4-1-1922,4-6 332,1 1-332,21-20 0,-6 4 0,16-13 0,-10 5 0,-5 8 0,11-11 0,-9 10 0,10-11 0,-1 10 0,14-18 0,28 5 0,5-20 0,5 13 0,-23 3 0,-2 0 0,12-3 0,23-15 0,-46 28 0,-14 3 0,-6 6 0,-9 4 0,-4-1 0,0 6 0,-3-6 0,1 5 0,-29 4 0,13 6 0,-31 7 0,23 2 0,-12 3 0,12-3 0,-5 2 0,6-6 0,0 2 0,-9 7 0,-2 6 0,-2 7 0,-6 2 0,6-2 0,-7 2 0,8-9 0,2 5 0,14-20 0,1 4 0,9-11 0,1 0 0,5-3 0,10-12 0,-4 2 0,11-10 0,-11 9 0,9-1 0,-8-4 0,7 2 0,-7-2 0,8 3 0,-5-3 0,1 3 0,4-3 0,-5 0 0,6 2 0,0-3 0,-1 4 0,-4 4 0,-1-2 0,-6 6 0,1-2 0,0 3 0,0 0 0,-1 0 0,0 0 0,0 0 0,5 0 0,9 0 0,5-5 0,8-1 0,-1-4 0,1-1 0,-1 5 0,1-9 0,-1 13 0,0-13 0,1 9 0,-7-4 0,-2 5 0,-6-3 0,-6 7 0,0-3 0,-5 4 0,0-3 0,-1 2 0,1-2 0,-1 3 0,1 0 0,4 0 0,8 0 0,16 0 0,8 0 0,8 0 0,0 0 0,1 0 0,-9 0 0,-3 0 0,-14 0 0,-2 0 0,-6 0 0,-5 0 0,-2 0 0,-4 0 0,5 0 0,1 0 0,4 0 0,1 0 0,6-5 0,-5 4 0,6-8 0,-13 8 0,5-3 0,-9 4 0,3 0 0,0 0 0,17 0 0,0 0 0,13 0 0,-8 0 0,8 0 0,-7-10 0,7 8 0,-8-8 0,-1 10 0,-6 0 0,-2-4 0,-6 3 0,-1-2 0,-4 3 0,-1-4 0,-5 4 0,4-3 0,-3 3 0,4 0 0,-1-4 0,2 3 0,5-3 0,-1 0 0,1 3 0,0-7 0,-1 7 0,-4-6 0,-1 6 0,-1-2 0,-3 3 0,4 0 0,-5 0 0,0 0 0,-1 0 0,-2-3 0,2 2 0,-2-2 0,2 3 0,-1 0 0,1 0 0,0 0 0,0 0 0,0 0 0,1 0 0,0 0 0,-1 0 0,1 0 0,0 0 0,5 0 0,0 0 0,1 0 0,4 0 0,-9 0 0,3 0 0,-4 0 0,0 0 0,-1 0 0,1 0 0,-2 0 0,1 0 0,1-3 0,-1 2 0,-3-5 0,3 5 0,-3-2 0,3 3 0,0-3 0,-1 3 0,-2-6 0,4 5 0,-5-4 0,5 4 0,-3-1 0,2-1 0,0 0 0,0 0 0,-1-2 0,-2 2 0,0-3 0,-3 0 0,0 1 0,0-1 0,0 0 0,0 0 0,0 0 0,0-1 0,0 0 0,0 0 0,0 1 0,0-1 0,3 1 0,-2-1 0,4 4 0,-2-2 0,3 4 0,-3-4 0,2-1 0,-4 0 0,2-3 0,-3 3 0,0-1 0,3 1 0,0-1 0,5-5 0,0-1 0,1-5 0,0 1 0,-2 4 0,2-4 0,-2 9 0,1-4 0,-4 6 0,-1-1 0,-3 1 0,3 3 0,-3-5 0,3 4 0,0-2 0,-2 1 0,5 1 0,-1-8 0,-1 4 0,3-4 0,-2 1 0,2 2 0,1-7 0,-1 8 0,3-15 0,-1 2 0,6-12 0,-3 1 0,7 6 0,-9 1 0,3 8 0,-4-1 0,-1 5 0,-3 1 0,1 5 0,-6 1 0,3 0 0,-3 0 0,-2 1 0,-1-3 0,0 1 0,0-2 0,0 2 0,-1 0 0,-3 0 0,-1-4 0,1 3 0,0-4 0,-5 4 0,-1 0 0,0 3 0,-4 1 0,5 4 0,-13 0 0,6 0 0,-12 0 0,5 0 0,-6 5 0,6 4 0,-5 7 0,5 4 0,-7 2 0,1-5 0,-1 3 0,7-9 0,-5 4 0,12-6 0,-5 1 0,-1 0 0,6-5 0,-5 0 0,6-5 0,-6 0 0,-2 0 0,-25 0 0,14 0 0,-23 0 0,17 0 0,-8 0 0,-1 0 0,9 0 0,-6 0 0,14 0 0,-14 0 0,15 0 0,-7 0 0,8 0 0,1 0 0,-9 0 0,-2 0 0,-9 0 0,1 0 0,-1 0 0,9 0 0,2 0 0,9 0 0,6 0 0,-5 0 0,17 0 0,-10 0 0,11-4 0,1 3 0,-5-7 0,4 7 0,-11-8 0,5 4 0,-6-5 0,12 2 0,-3-1 0,3 1 0,0 0 0,1 4 0,5-6 0,0 6 0,4-6 0,0 4 0,5 3 0,12 0 0,7 3 0,4 0 0,6 0 0,-6 0 0,8 0 0,8 0 0,2 0 0,8 0 0,0 0 0,-8 0 0,6 0 0,-14 0 0,6 0 0,-16 0 0,0 0 0,-8 0 0,1 0 0,0 0 0,-1-4 0,-4 3 0,3-6 0,-3 2 0,0 0 0,3-3 0,-3 7 0,0-6 0,10 6 0,-8-6 0,9 6 0,0-8 0,2 8 0,0-8 0,-2 8 0,-3-6 0,-8 6 0,7-2 0,-12 3 0,3 0 0,-4 0 0,-1 0 0,1 0 0,-2 0 0,1 0 0,0 0 0,0 0 0,1 0 0,0 0 0,-1 0 0,1 0 0,5 0 0,-4 0 0,3 0 0,1 0 0,-4 0 0,4 0 0,-1 0 0,-3 0 0,4 0 0,0 0 0,0 0 0,1 0 0,-1 0 0,-1 0 0,-3 0 0,4 0 0,0 0 0,-4 0 0,8 0 0,4 0 0,5 0 0,8 0 0,-1 0 0,1 0 0,-7 0 0,4 0 0,-15 0 0,8 0 0,-15 0 0,3 0 0,-4 0 0,0 0 0,0 0 0,-1 0 0,0 0 0,0 0 0,0 0 0,0 0 0,1 0 0,-1 0 0,1 0 0,-1 0 0,1 0 0,0 0 0,0 0 0,-1 0 0,6 0 0,-4 0 0,8 0 0,-8 0 0,4 0 0,-5 0 0,0 0 0,-1 0 0,1 0 0,0 0 0,0 0 0,-1 0 0,1 0 0,-1 0 0,1 0 0,0 0 0,0 0 0,-1 0 0,0 0 0,0 3 0,-3 0 0,2 0 0,-1 0 0,3 0 0,5 1 0,-3 0 0,4 2 0,-2-5 0,-3 5 0,4-5 0,-5 2 0,-1 0 0,1-3 0,0 3 0,0-3 0,0 3 0,-1-2 0,1 2 0,0-3 0,0 0 0,0 0 0,-1 3 0,1-2 0,-1 2 0,-3 0 0,3-2 0,-1 2 0,2-1 0,1-1 0,-1 1 0,0 1 0,-1-2 0,1 5 0,0-5 0,0 2 0,-3 0 0,1-2 0,-1 4 0,-1-2 0,0 3 0,-3-1 0,-3 1 0,-1-3 0,-3 4 0,1-4 0,-1 4 0,3-1 0,-1-2 0,4 2 0,-2-3 0,3 4 0,0-1 0,-3 0 0,2 1 0,-5 0 0,2-1 0,-9 13 0,-6 20 0,-5 7 0,-12 19 0,8-13 0,-6 3 0,8-4 0,7-8 0,-2-9 0,11-9 0,1-8 0,5-4 0,4-1 0,0-6 0,0 1 0,0-1 0,-3 0 0,0-3 0,-2 0 0,-1-3 0,0 0 0,0 0 0,-1 0 0,1 0 0,-1 0 0,0 0 0,1 0 0,-1 0 0,1 0 0,0 0 0,0 0 0,0 0 0,0 0 0,-1 0 0,-5 0 0,4 0 0,-9 0 0,9 0 0,-8 0 0,3 0 0,0 0 0,-4 0 0,9 0 0,-8 0 0,3 0 0,-5-4 0,0-5 0,5 0 0,2-3 0,-1 0 0,7 4 0,-7-8 0,11 8 0,-3-4 0,4 5 0,0 0 0,0-4 0,0 2 0,-3-2 0,-1 4 0,-3 0 0,1 0 0,-6-5 0,-1 3 0,-5-3 0,0 3 0,1 0 0,-1 4 0,0 1 0,1 4 0,-1 0 0,-6 0 0,4 0 0,-11 0 0,-40 7 0,5 25 0,-26-6-204,47 1 0,2 2 204,-29 18 0,29-23 0,-1 1 0,-35 30 0,11-10 0,14-11 0,10-2 0,11-11 0,7-5 0,2-2 0,11-6 0,-3 1 0,8-5 408,-4 0-408,5-4 0,0 3 0,0-2 0,0 2 0,-4-3 0,-9 0 0,-6 0 0,-6 0 0,-1 0 0,1 0 0,6 0 0,-5 0 0,16 0 0,-8 0 0,15 0 0,-4 0 0,8-3 0,1-1 0,3-2 0,0-1 0,4-4 0,12 1 0,6-4 0,10-2 0,1 4 0,7-4 0,-5 0 0,14 2 0,-14-2 0,6 4 0,-9 1 0,0-4 0,-6 4 0,5-5 0,-12 7 0,6-1 0,-13 2 0,5-1 0,-4 1 0,4 0 0,1-1 0,0 0 0,-1 0 0,1 0 0,-5-4 0,4 3 0,-3-3 0,-1 5 0,-2 1 0,-4 3 0,0-2 0,0 2 0,-1 0 0,0-2 0,0 6 0,0-3 0,1 3 0,0 0 0,-1 0 0,1-3 0,0 2 0,0-2 0,-1 3 0,1 0 0,-4 10 0,0 1 0,-3 9 0,0-3 0,-5 7 0,0-4 0,-1 10 0,-2-10 0,3 4 0,0 0 0,1-5 0,4 5 0,0-6 0,0-5 0,0 3 0,0-3 0,0 0 0,0-2 0,0-4 0,0 0 0,0 0 0,0 0 0,0-1 0,0 1 0,0 0 0,3-3 0,-2 1 0,5-1 0,-3-1 0,3 1 0,0-2 0,0-1 0,1 4 0,-1-1 0,1 3 0,0 0 0,-1-1 0,1 1 0,-1-1 0,0-2 0,1 2 0,-2-3 0,-1 3 0,1-3 0,-4 3 0,5-3 0,-3 1 0,4-1 0,-2-3 0,1 0 0,0 0 0,0 0 0,-1 0 0,-2 5 0,0 0 0,-3 9 0,0-6 0,0 3 0,0-4 0,0 0 0,0 0 0,0 0 0,0-1 0,-3 1 0,2 0 0,-5 0 0,5 0 0,-2-1 0,3 0 0,0 0 0,5-3 0,-1-1 0,5-2 0,-4 0 0,-1-5 0,-2 0 0,-2-4 0,0 2 0,0 0 0,0 0 0,0-4 0,0-2 0,0-11 0,0 4 0,0-11 0,-5-3 0,3-9 0,-4-8 0,1-1 0,3 1 0,-3-1 0,5 1 0,0 8 0,0 2 0,0 15 0,0-5 0,0 16 0,0-8 0,0 15 0,3-3 0,0 7 0,4-2 0,0 2 0,5-4 0,-4 4 0,3-3 0,-4 6 0,0-5 0,0 5 0,-1-2 0,1 0 0,0 2 0,0-5 0,0 5 0,-1-4 0,-2 2 0,1-1 0,-3 12 0,1 2 0,0 25 0,-3-14 0,0 11 0,0-8 0,0-4 0,0 4 0,0-7 0,0-4 0,0 4 0,0-9 0,0 3 0,2-7 0,2-17 0,0 1 0,3-13 0,-6 7 0,7 0 0,0-2 0,-2 1 0,4 3 0,-9 4 0,5 6 0,-3 2 0,1-2 0,2 5 0,-5-5 0,5 2 0,-3 1 0,2 0 0,1 3 0,-3 9 0,-1-4 0,-2 7 0,0-6 0,0 1 0,3-3 0,-2 2 0,2-3 0,-3 4 0,0 0 0,0 0 0,0-1 0,0 0 0,0 0 0,0-1 0,-3-20 0,-1 10 0,-3-13 0,0 12 0,0 5 0,0-2 0,18-5 0,4-3 0,18-9 0,-8 0 0,7-4 0,-12 10 0,6-3 0,-14 9 0,0 0 0,0 4 0,-4-2 0,3 2 0,1-8 0,1 3 0,11-9 0,-5 4 0,5-2 0,-11 4 0,3 4 0,-8 1 0,4-1 0,-5 1 0,-1 3 0,1 1 0,0 3 0,0 0 0,0-3 0,-1 2 0,-2-5 0,1 5 0,-1-4 0,2 4 0,-2-5 0,2 6 0,-3-3 0,4-1 0,0 1 0,5-5 0,0 0 0,6-1 0,0 0 0,-1 0 0,-4 1 0,-1 3 0,-5-1 0,-1 5 0,1-2 0,-3 0 0,2 3 0,-3-3 0,3 3 0,1 0 0,-1 0 0,0 0 0,0 0 0,1 0 0,-1 0 0,1 0 0,-1 0 0,1 0 0,0 0 0,-1 0 0,1 0 0,-1-4 0,1 4 0,-1-3 0,1 0 0,-1 2 0,1-2 0,0 0 0,0 2 0,-1-2 0,-2 0 0,2 2 0,-2-2 0,2 0 0,-2 0 0,1-1 0,-1 2 0,-1-4 0,3 5 0,-6-7 0,6 7 0,-5-4 0,8 1 0,-4 0 0,5-2 0,-4 2 0,2-8 0,4 3 0,2-3 0,-1-1 0,4 7 0,-8-5 0,3 7 0,-6-3 0,1 0 0,0 4 0,-3-3 0,-1 3 0,-3-2 0,-5 0 0,-1-1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11.794"/>
    </inkml:context>
    <inkml:brush xml:id="br0">
      <inkml:brushProperty name="width" value="0.2" units="cm"/>
      <inkml:brushProperty name="height" value="0.2" units="cm"/>
      <inkml:brushProperty name="color" value="#F2F5FA"/>
    </inkml:brush>
  </inkml:definitions>
  <inkml:trace contextRef="#ctx0" brushRef="#br0">0 223 24575,'10'-13'0,"-1"0"0,-2 7 0,-4-1 0,3 4 0,-5-3 0,5 2 0,-3-3 0,1 1 0,1 3 0,-4-3 0,5 2 0,-5-2 0,5 2 0,-5-1 0,2 2 0,-3-5 0,2 4 0,-1-4 0,1 5 0,-2-4 0,3 1 0,0 0 0,0-1 0,3 1 0,-3-1 0,1 0 0,3-4 0,-6 3 0,3-4 0,-1 5 0,-2 0 0,2 1 0,-3 2 0,0 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13.370"/>
    </inkml:context>
    <inkml:brush xml:id="br0">
      <inkml:brushProperty name="width" value="0.2" units="cm"/>
      <inkml:brushProperty name="height" value="0.2" units="cm"/>
      <inkml:brushProperty name="color" value="#F2F5FA"/>
    </inkml:brush>
  </inkml:definitions>
  <inkml:trace contextRef="#ctx0" brushRef="#br0">0 0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14.397"/>
    </inkml:context>
    <inkml:brush xml:id="br0">
      <inkml:brushProperty name="width" value="0.2" units="cm"/>
      <inkml:brushProperty name="height" value="0.2" units="cm"/>
      <inkml:brushProperty name="color" value="#F2F5FA"/>
    </inkml:brush>
  </inkml:definitions>
  <inkml:trace contextRef="#ctx0" brushRef="#br0">0 0 24575,'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2.274"/>
    </inkml:context>
    <inkml:brush xml:id="br0">
      <inkml:brushProperty name="width" value="0.2" units="cm"/>
      <inkml:brushProperty name="height" value="0.2" units="cm"/>
      <inkml:brushProperty name="color" value="#FFFFFF"/>
    </inkml:brush>
  </inkml:definitions>
  <inkml:trace contextRef="#ctx0" brushRef="#br0">0 613 24575,'15'0'0,"-1"0"0,-5 0 0,-2 0 0,1 0 0,-4 0 0,2 0 0,1 0 0,-3 0 0,9 0 0,-5 0 0,4 0 0,-4 0 0,5 0 0,-4 0 0,3 0 0,-6 0 0,0 0 0,-1 0 0,0 0 0,1 2 0,-2 1 0,0 2 0,-3 0 0,2-1 0,-1 1 0,0 3 0,0 0 0,-2 0 0,0 0 0,2-2 0,-2 3 0,2 0 0,-1-3 0,0 3 0,0-5 0,1 4 0,-1-4 0,2 2 0,0 0 0,-1-2 0,1 1 0,-1 0 0,0-1 0,5-1 0,-4 0 0,4-3 0,-2 3 0,-1-3 0,2 5 0,-3-2 0,2 1 0,0 0 0,-2-2 0,4 1 0,-3-1 0,0 1 0,1-3 0,1 2 0,-1-2 0,1 0 0,-1 0 0,1 0 0,2 0 0,6 0 0,2 0 0,9 0 0,-4 0 0,5 3 0,-1 0 0,-3 1 0,-2 1 0,-7-4 0,-1 1 0,-5-2 0,-1 2 0,-2-2 0,1 2 0,2-5 0,-2 1 0,-1-1 0,4 1 0,2 2 0,1 0 0,4 0 0,-2 0 0,0 0 0,-1 0 0,-3 0 0,0 0 0,0 0 0,-1 0 0,-1 2 0,1-2 0,-1 2 0,1 0 0,-1-2 0,1 2 0,-2 0 0,3-1 0,0 1 0,0-2 0,0 2 0,-1-2 0,5 2 0,-4 0 0,7-1 0,-3 0 0,3 2 0,-3-3 0,-1 3 0,-3-3 0,-3 0 0,0 0 0,0 0 0,-1 0 0,7 0 0,-4 2 0,8-2 0,-4 2 0,5-2 0,-1 3 0,0-3 0,0 3 0,-3-3 0,-1 0 0,-3 0 0,0 0 0,3 0 0,-2 0 0,5 0 0,-2 0 0,3 0 0,-3 0 0,-1 0 0,-3 0 0,0 0 0,-3 0 0,0 0 0,0 0 0,-2 0 0,6 0 0,-4 0 0,5 0 0,-2 0 0,3 0 0,-3 0 0,3 0 0,1 0 0,-4 0 0,3 0 0,-3 0 0,3 0 0,5 0 0,1 0 0,11 0 0,-6 0 0,13 0 0,-9 0 0,4 0 0,-6 2 0,-3-1 0,-5 4 0,-5-5 0,-3 2 0,-3-2 0,0 0 0,-1 0 0,0 0 0,1 0 0,0 0 0,-2 0 0,3 0 0,-3 0 0,4 0 0,-1 0 0,-1 0 0,2 0 0,-4 0 0,2 0 0,1 0 0,-2 0 0,5 0 0,-4 2 0,3-1 0,-3 1 0,6 0 0,-5 1 0,5 0 0,0 1 0,-2-1 0,2 1 0,-3 1 0,-3-1 0,2-2 0,-4 1 0,5-1 0,-5 0 0,1 2 0,0-2 0,-1 0 0,2-1 0,-1 0 0,1 0 0,0 0 0,-2-1 0,2 2 0,-1-1 0,1 1 0,-1 1 0,0-2 0,-2 2 0,4 0 0,-4 1 0,1 0 0,-3 3 0,-1-4 0,0 6 0,0 1 0,0 3 0,0 3 0,-2 0 0,1 1 0,-1-5 0,2 0 0,0-3 0,0-2 0,0-1 0,0-26 0,-3 9 0,3-16 0,-5 0 0,5 15 0,-2-15 0,-3 14 0,2 0 0,-7-2 0,2 2 0,-3-3 0,1 3 0,0 1 0,-2 2 0,2 1 0,-2 1 0,3 2 0,0 1 0,0 1 0,1-1 0,-5 3 0,-4-3 0,-9 1 0,3-2 0,-7-1 0,9 1 0,-5 0 0,4 2 0,2-1 0,4 2 0,3-2 0,0 2 0,5-1 0,-1 1 0,-3-4 0,-1 2 0,-4-3 0,1 2 0,0 1 0,0-1 0,3 1 0,0 3 0,5-2 0,1 3 0,1-1 0,3 1 0,-2 0 0,-6 0 0,2-1 0,-8 1 0,4-1 0,-4 2 0,5-2 0,-1 2 0,5-2 0,1 0 0,1 2 0,3-5 0,1 1 0,0-2 0,2 0 0,0 1 0,0 0 0,2-3 0,0 2 0,3-3 0,-2 5 0,1-5 0,0 5 0,0-4 0,-2 2 0,2-1 0,-4 1 0,3 3 0,-1-2 0,1 0 0,1-3 0,0 2 0,0-2 0,-2 4 0,2-4 0,-2 4 0,0-5 0,1 5 0,-2-4 0,2 4 0,-1-2 0,1 0 0,1 2 0,1-7 0,3-4 0,-2-2 0,5-4 0,-3 5 0,1 0 0,-2 3 0,-2 1 0,-1 3 0,1 0 0,-1 2 0,-1 2 0,-1 1 0,2 0 0,-2 0 0,2 0 0,-2-1 0,-1 0 0,1-1 0,-2 1 0,2-1 0,-2 1 0,0 0 0,1-2 0,0 4 0,2-6 0,-2 4 0,1-5 0,-2 6 0,0-4 0,0 4 0,0-4 0,0 4 0,0-2 0,0 0 0,0 2 0,1-3 0,1 4 0,1-2 0,0 0 0,0 2 0,-1-3 0,1 2 0,-1-4 0,0 4 0,1-2 0,-3 0 0,3 2 0,-3-4 0,2 4 0,0-2 0,-2 1 0,1 0 0,-1 0 0,0-2 0,0 2 0,0 0 0,0-2 0,0 4 0,0-4 0,0 3 0,0-1 0,0-2 0,0 3 0,3-2 0,1 2 0,0 1 0,-1-3 0,-1 2 0,-2-2 0,0 1 0,0 0 0,0-1 0,-7 2 0,-1 3 0,-2 2 0,-2 6 0,6-1 0,-3 3 0,2 0 0,-1 0 0,3 0 0,-2-1 0,3-1 0,-2 1 0,2-1 0,-3 1 0,3 1 0,-1 0 0,-7 9 0,-1-2 0,-4 6 0,-3 2 0,5-5 0,-6 5 0,5-6 0,3-4 0,3-2 0,3-3 0,1-3 0,2 0 0,2-3 0,-2 2 0,2-1 0,-6 3 0,1 3 0,-2-1 0,-2 7 0,1-3 0,1 0 0,-2 2 0,-1-5 0,3 3 0,-3-4 0,5-2 0,0 2 0,1-2 0,-1 5 0,1 1 0,-5 7 0,1 1 0,-2 5 0,2 0 0,-2-5 0,3 4 0,0-8 0,1 0 0,3-5 0,0-3 0,1-2 0,0-2 0,2-1 0,-2-1 0,0 1 0,-1-3 0,-3 2 0,4-1 0,-2 0 0,1 2 0,-2-4 0,-2 2 0,0 0 0,-3-1 0,3 1 0,-7-2 0,6 0 0,-5 0 0,2 0 0,-3 0 0,-1 0 0,4 0 0,-6 0 0,5 0 0,-7 0 0,5 0 0,-4 0 0,2 0 0,-2 0 0,4 0 0,-1 0 0,1 0 0,3 0 0,-2 0 0,5-2 0,-2 1 0,0-1 0,-1 2 0,-4 0 0,1 0 0,0 0 0,0 0 0,-1 0 0,1 0 0,3 0 0,3 0 0,2 0 0,4 0 0,-2 0 0,1-1 0,2-1 0,-2-3 0,2 1 0,-1-1 0,1 1 0,-1 1 0,-1-2 0,-1 1 0,2-1 0,-4 0 0,6 2 0,-4 0 0,0 0 0,2 2 0,-2-1 0,0 2 0,2 0 0,-3 0 0,2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3.065"/>
    </inkml:context>
    <inkml:brush xml:id="br0">
      <inkml:brushProperty name="width" value="0.2" units="cm"/>
      <inkml:brushProperty name="height" value="0.2" units="cm"/>
      <inkml:brushProperty name="color" value="#FFFFFF"/>
    </inkml:brush>
  </inkml:definitions>
  <inkml:trace contextRef="#ctx0" brushRef="#br0">1 0 24575,'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7T12:03:33.461"/>
    </inkml:context>
    <inkml:brush xml:id="br0">
      <inkml:brushProperty name="width" value="0.2" units="cm"/>
      <inkml:brushProperty name="height" value="0.2" units="cm"/>
      <inkml:brushProperty name="color" value="#FFFFFF"/>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27A23A-0E1A-4C26-B845-400A4E7327CC}" type="datetimeFigureOut">
              <a:rPr lang="de-DE" smtClean="0"/>
              <a:t>09.03.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CA4918-FAF0-4D4A-A97D-E797C1D42D09}" type="slidenum">
              <a:rPr lang="de-DE" smtClean="0"/>
              <a:t>‹#›</a:t>
            </a:fld>
            <a:endParaRPr lang="de-DE"/>
          </a:p>
        </p:txBody>
      </p:sp>
    </p:spTree>
    <p:extLst>
      <p:ext uri="{BB962C8B-B14F-4D97-AF65-F5344CB8AC3E}">
        <p14:creationId xmlns:p14="http://schemas.microsoft.com/office/powerpoint/2010/main" val="118117458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717225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a:t>Das liegt an der unterschiedlichen Zielgröße</a:t>
            </a:r>
          </a:p>
          <a:p>
            <a:pPr marL="171450" indent="-171450">
              <a:buFontTx/>
              <a:buChar char="-"/>
            </a:pPr>
            <a:r>
              <a:rPr lang="de-DE"/>
              <a:t>Eine kleinere Prozentuale Abweichung führt zu sehr guten regressionsspezifischen Kennzahlen,</a:t>
            </a:r>
          </a:p>
          <a:p>
            <a:pPr marL="171450" indent="-171450">
              <a:buFontTx/>
              <a:buChar char="-"/>
            </a:pPr>
            <a:r>
              <a:rPr lang="de-DE"/>
              <a:t>Jedoch ist die Korrelation der Startzeit so hoch, dass alle anderen Features im Vergleich nahezu unbedeutend sind</a:t>
            </a:r>
          </a:p>
          <a:p>
            <a:pPr marL="171450" indent="-171450">
              <a:buFontTx/>
              <a:buChar char="-"/>
            </a:pPr>
            <a:endParaRPr lang="de-DE"/>
          </a:p>
          <a:p>
            <a:pPr marL="171450" indent="-171450">
              <a:buFontTx/>
              <a:buChar char="-"/>
            </a:pPr>
            <a:r>
              <a:rPr lang="de-DE"/>
              <a:t>Das dynamische Modell betrachtet die Abweichung in h, deswegen ist die prozentuale Abweichung um den gleichen Betrag deutlich höher gewichtet. </a:t>
            </a:r>
          </a:p>
          <a:p>
            <a:pPr marL="171450" indent="-171450">
              <a:buFontTx/>
              <a:buChar char="-"/>
            </a:pPr>
            <a:r>
              <a:rPr lang="de-DE"/>
              <a:t>Die Korrelation ausgeglichener, mehr Faktoren potenziell möglich</a:t>
            </a:r>
          </a:p>
          <a:p>
            <a:pPr marL="171450" indent="-171450">
              <a:buFontTx/>
              <a:buChar char="-"/>
            </a:pPr>
            <a:r>
              <a:rPr lang="de-DE"/>
              <a:t>(Die lineare Regression kann dies jedoch nicht so gut beschreiben)</a:t>
            </a:r>
          </a:p>
          <a:p>
            <a:pPr marL="171450" indent="-171450">
              <a:buFontTx/>
              <a:buChar char="-"/>
            </a:pPr>
            <a:endParaRPr lang="de-DE"/>
          </a:p>
          <a:p>
            <a:pPr marL="171450" indent="-171450">
              <a:buFontTx/>
              <a:buChar char="-"/>
            </a:pPr>
            <a:r>
              <a:rPr lang="de-DE"/>
              <a:t>Mit diesen beiden Modellen haben wir das erste Ziel des Projekts erreicht. Ronny stellt nun unser Dashboard vor.</a:t>
            </a:r>
          </a:p>
        </p:txBody>
      </p:sp>
    </p:spTree>
    <p:extLst>
      <p:ext uri="{BB962C8B-B14F-4D97-AF65-F5344CB8AC3E}">
        <p14:creationId xmlns:p14="http://schemas.microsoft.com/office/powerpoint/2010/main" val="1751884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2042800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1064516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21639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1574616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1682904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yp: OK, Ereignis, Ort, Action</a:t>
            </a:r>
          </a:p>
        </p:txBody>
      </p:sp>
    </p:spTree>
    <p:extLst>
      <p:ext uri="{BB962C8B-B14F-4D97-AF65-F5344CB8AC3E}">
        <p14:creationId xmlns:p14="http://schemas.microsoft.com/office/powerpoint/2010/main" val="6775048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TONSPUR: Logistische Ziele in Problemidentifikation bzw. vom Case Study Partner und Integration in Dashboard: Steuerung Logisti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Verbesserung des </a:t>
            </a:r>
            <a:r>
              <a:rPr lang="de-DE" sz="1200" err="1">
                <a:solidFill>
                  <a:schemeClr val="tx1"/>
                </a:solidFill>
              </a:rPr>
              <a:t>akteursübergreifenden</a:t>
            </a:r>
            <a:r>
              <a:rPr lang="de-DE" sz="1200">
                <a:solidFill>
                  <a:schemeClr val="tx1"/>
                </a:solidFill>
              </a:rPr>
              <a:t> Informationsaustausches &amp; Koordination von Ressourc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Zuweisung Lade-&amp;Löschzeitpunkte und optimale Reisegeschwindigkeit</a:t>
            </a:r>
          </a:p>
          <a:p>
            <a:endParaRPr lang="de-DE"/>
          </a:p>
        </p:txBody>
      </p:sp>
    </p:spTree>
    <p:extLst>
      <p:ext uri="{BB962C8B-B14F-4D97-AF65-F5344CB8AC3E}">
        <p14:creationId xmlns:p14="http://schemas.microsoft.com/office/powerpoint/2010/main" val="2109308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sz="1200">
                <a:solidFill>
                  <a:srgbClr val="000000"/>
                </a:solidFill>
                <a:ea typeface="Arial"/>
                <a:cs typeface="Arial" pitchFamily="34" charset="0"/>
                <a:sym typeface="Wingdings" panose="05000000000000000000" pitchFamily="2" charset="2"/>
              </a:rPr>
              <a:t>Nutzung AIS-Daten: </a:t>
            </a:r>
            <a:r>
              <a:rPr lang="de-DE" sz="1200">
                <a:solidFill>
                  <a:srgbClr val="000000"/>
                </a:solidFill>
                <a:ea typeface="Arial"/>
                <a:cs typeface="Arial" pitchFamily="34" charset="0"/>
              </a:rPr>
              <a:t>die über 2019 hinaus gehen, um Saisonalitäten besser beurteilen zu können und die Verlässlichkeit zu verbessern</a:t>
            </a:r>
            <a:br>
              <a:rPr lang="de-DE" sz="1200">
                <a:solidFill>
                  <a:srgbClr val="000000"/>
                </a:solidFill>
                <a:ea typeface="Arial"/>
                <a:cs typeface="Arial" pitchFamily="34" charset="0"/>
              </a:rPr>
            </a:br>
            <a:r>
              <a:rPr lang="de-DE" sz="1200">
                <a:solidFill>
                  <a:srgbClr val="000000"/>
                </a:solidFill>
                <a:ea typeface="Arial"/>
                <a:cs typeface="Arial" pitchFamily="34" charset="0"/>
                <a:sym typeface="Wingdings" panose="05000000000000000000" pitchFamily="2" charset="2"/>
              </a:rPr>
              <a:t> Ressourcenmanagement </a:t>
            </a:r>
            <a:r>
              <a:rPr lang="de-DE" sz="1200">
                <a:solidFill>
                  <a:srgbClr val="000000"/>
                </a:solidFill>
                <a:ea typeface="Arial"/>
                <a:cs typeface="Arial" pitchFamily="34" charset="0"/>
              </a:rPr>
              <a:t>insbesondere Liegeplatzmanage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sz="1200">
                <a:solidFill>
                  <a:srgbClr val="000000"/>
                </a:solidFill>
                <a:ea typeface="Arial"/>
                <a:cs typeface="Arial" pitchFamily="34" charset="0"/>
              </a:rPr>
              <a:t>Rücksprache Hafenbetreiber um weitere Anforderungen zu definieren &amp; konkretisier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de-DE" sz="1200">
                <a:solidFill>
                  <a:srgbClr val="000000"/>
                </a:solidFill>
                <a:ea typeface="Arial"/>
                <a:cs typeface="Arial" pitchFamily="34" charset="0"/>
              </a:rPr>
              <a:t>Kommunikation Schiffsbetreiber: , u.a. bessere Pflege manueller Daten</a:t>
            </a:r>
          </a:p>
          <a:p>
            <a:r>
              <a:rPr lang="de-DE">
                <a:sym typeface="Wingdings" panose="05000000000000000000" pitchFamily="2" charset="2"/>
              </a:rPr>
              <a:t> Umsetzung Dashboard, bspw. </a:t>
            </a:r>
            <a:r>
              <a:rPr lang="de-DE" err="1">
                <a:sym typeface="Wingdings" panose="05000000000000000000" pitchFamily="2" charset="2"/>
              </a:rPr>
              <a:t>Shiny</a:t>
            </a:r>
            <a:r>
              <a:rPr lang="de-DE">
                <a:sym typeface="Wingdings" panose="05000000000000000000" pitchFamily="2" charset="2"/>
              </a:rPr>
              <a:t> &amp; </a:t>
            </a:r>
            <a:r>
              <a:rPr lang="de-DE" err="1">
                <a:sym typeface="Wingdings" panose="05000000000000000000" pitchFamily="2" charset="2"/>
              </a:rPr>
              <a:t>PowerBI</a:t>
            </a:r>
            <a:endParaRPr lang="de-DE"/>
          </a:p>
        </p:txBody>
      </p:sp>
    </p:spTree>
    <p:extLst>
      <p:ext uri="{BB962C8B-B14F-4D97-AF65-F5344CB8AC3E}">
        <p14:creationId xmlns:p14="http://schemas.microsoft.com/office/powerpoint/2010/main" val="10183596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852FE526-AE9F-4639-87F5-2330DB2495E1}" type="slidenum">
              <a:rPr lang="en-US" smtClean="0"/>
              <a:pPr/>
              <a:t>42</a:t>
            </a:fld>
            <a:endParaRPr lang="en-US"/>
          </a:p>
        </p:txBody>
      </p:sp>
    </p:spTree>
    <p:extLst>
      <p:ext uri="{BB962C8B-B14F-4D97-AF65-F5344CB8AC3E}">
        <p14:creationId xmlns:p14="http://schemas.microsoft.com/office/powerpoint/2010/main" val="1303629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TONSPUR: Logistische Ziele erfüllen Problem, da bestimmte Informationen benötigt – u.a. Eta – bereits über AIS verbessert aber noch unsicher / intransparent </a:t>
            </a:r>
            <a:r>
              <a:rPr lang="de-DE" sz="1200">
                <a:solidFill>
                  <a:schemeClr val="tx1"/>
                </a:solidFill>
                <a:sym typeface="Wingdings" panose="05000000000000000000" pitchFamily="2" charset="2"/>
              </a:rPr>
              <a:t> daher Select Projekt, das Analyse einsetzt, um ETA </a:t>
            </a:r>
            <a:r>
              <a:rPr lang="de-DE" sz="1200" err="1">
                <a:solidFill>
                  <a:schemeClr val="tx1"/>
                </a:solidFill>
                <a:sym typeface="Wingdings" panose="05000000000000000000" pitchFamily="2" charset="2"/>
              </a:rPr>
              <a:t>voherzusagen</a:t>
            </a:r>
            <a:r>
              <a:rPr lang="de-DE" sz="1200">
                <a:solidFill>
                  <a:schemeClr val="tx1"/>
                </a:solidFill>
                <a:sym typeface="Wingdings" panose="05000000000000000000" pitchFamily="2" charset="2"/>
              </a:rPr>
              <a:t> &amp; zu verbessern</a:t>
            </a:r>
            <a:endParaRPr lang="de-DE"/>
          </a:p>
        </p:txBody>
      </p:sp>
    </p:spTree>
    <p:extLst>
      <p:ext uri="{BB962C8B-B14F-4D97-AF65-F5344CB8AC3E}">
        <p14:creationId xmlns:p14="http://schemas.microsoft.com/office/powerpoint/2010/main" val="2069702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852FE526-AE9F-4639-87F5-2330DB2495E1}" type="slidenum">
              <a:rPr lang="en-US" smtClean="0"/>
              <a:pPr/>
              <a:t>43</a:t>
            </a:fld>
            <a:endParaRPr lang="en-US"/>
          </a:p>
        </p:txBody>
      </p:sp>
    </p:spTree>
    <p:extLst>
      <p:ext uri="{BB962C8B-B14F-4D97-AF65-F5344CB8AC3E}">
        <p14:creationId xmlns:p14="http://schemas.microsoft.com/office/powerpoint/2010/main" val="1162123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TONSPUR: Logistische Ziele in Problemidentifikation bzw. vom Case Study Partner und Integration in Dashboard: Steuerung Logisti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Verbesserung des </a:t>
            </a:r>
            <a:r>
              <a:rPr lang="de-DE" sz="1200" err="1">
                <a:solidFill>
                  <a:schemeClr val="tx1"/>
                </a:solidFill>
              </a:rPr>
              <a:t>akteursübergreifenden</a:t>
            </a:r>
            <a:r>
              <a:rPr lang="de-DE" sz="1200">
                <a:solidFill>
                  <a:schemeClr val="tx1"/>
                </a:solidFill>
              </a:rPr>
              <a:t> Informationsaustausches &amp; Koordination von Ressourc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Zuweisung Lade-&amp;Löschzeitpunkte und optimale Reisegeschwindigkeit</a:t>
            </a:r>
          </a:p>
          <a:p>
            <a:endParaRPr lang="de-DE"/>
          </a:p>
        </p:txBody>
      </p:sp>
    </p:spTree>
    <p:extLst>
      <p:ext uri="{BB962C8B-B14F-4D97-AF65-F5344CB8AC3E}">
        <p14:creationId xmlns:p14="http://schemas.microsoft.com/office/powerpoint/2010/main" val="66139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TONSPUR: Logistische Ziele in Problemidentifikation bzw. vom Case Study Partner und Integration in Dashboard: Steuerung Logisti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Verbesserung des </a:t>
            </a:r>
            <a:r>
              <a:rPr lang="de-DE" sz="1200" err="1">
                <a:solidFill>
                  <a:schemeClr val="tx1"/>
                </a:solidFill>
              </a:rPr>
              <a:t>akteursübergreifenden</a:t>
            </a:r>
            <a:r>
              <a:rPr lang="de-DE" sz="1200">
                <a:solidFill>
                  <a:schemeClr val="tx1"/>
                </a:solidFill>
              </a:rPr>
              <a:t> Informationsaustausches &amp; Koordination von Ressourc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solidFill>
                  <a:schemeClr val="tx1"/>
                </a:solidFill>
              </a:rPr>
              <a:t>Zuweisung Lade-&amp;Löschzeitpunkte und optimale Reisegeschwindigkeit</a:t>
            </a:r>
          </a:p>
          <a:p>
            <a:endParaRPr lang="de-DE"/>
          </a:p>
        </p:txBody>
      </p:sp>
    </p:spTree>
    <p:extLst>
      <p:ext uri="{BB962C8B-B14F-4D97-AF65-F5344CB8AC3E}">
        <p14:creationId xmlns:p14="http://schemas.microsoft.com/office/powerpoint/2010/main" val="2574486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44571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 </a:t>
            </a:r>
            <a:r>
              <a:rPr lang="en-US" err="1"/>
              <a:t>Erster</a:t>
            </a:r>
            <a:r>
              <a:rPr lang="en-US"/>
              <a:t> Schritt </a:t>
            </a:r>
            <a:r>
              <a:rPr lang="en-US" err="1"/>
              <a:t>nach</a:t>
            </a:r>
            <a:r>
              <a:rPr lang="en-US"/>
              <a:t> </a:t>
            </a:r>
            <a:r>
              <a:rPr lang="en-US" err="1"/>
              <a:t>Klärung</a:t>
            </a:r>
            <a:r>
              <a:rPr lang="en-US"/>
              <a:t> der </a:t>
            </a:r>
            <a:r>
              <a:rPr lang="en-US" err="1"/>
              <a:t>Aufgabenstellung</a:t>
            </a:r>
            <a:r>
              <a:rPr lang="en-US"/>
              <a:t> war die Exploration der </a:t>
            </a:r>
            <a:r>
              <a:rPr lang="en-US" err="1"/>
              <a:t>Daten</a:t>
            </a:r>
            <a:endParaRPr lang="en-US"/>
          </a:p>
          <a:p>
            <a:pPr marL="171450" indent="-171450">
              <a:buFontTx/>
              <a:buChar char="-"/>
            </a:pPr>
            <a:r>
              <a:rPr lang="en-US"/>
              <a:t>Eine </a:t>
            </a:r>
            <a:r>
              <a:rPr lang="en-US" err="1"/>
              <a:t>Erkenntnis</a:t>
            </a:r>
            <a:r>
              <a:rPr lang="en-US"/>
              <a:t>: </a:t>
            </a:r>
            <a:r>
              <a:rPr lang="en-US" err="1"/>
              <a:t>Bereinigung</a:t>
            </a:r>
            <a:r>
              <a:rPr lang="en-US"/>
              <a:t> der NA </a:t>
            </a:r>
            <a:r>
              <a:rPr lang="en-US" err="1"/>
              <a:t>Werte</a:t>
            </a:r>
            <a:r>
              <a:rPr lang="en-US"/>
              <a:t> </a:t>
            </a:r>
            <a:r>
              <a:rPr lang="en-US" err="1"/>
              <a:t>nicht</a:t>
            </a:r>
            <a:r>
              <a:rPr lang="en-US"/>
              <a:t> von </a:t>
            </a:r>
            <a:r>
              <a:rPr lang="en-US" err="1"/>
              <a:t>großem</a:t>
            </a:r>
            <a:r>
              <a:rPr lang="en-US"/>
              <a:t> Wert </a:t>
            </a:r>
            <a:r>
              <a:rPr lang="en-US" err="1"/>
              <a:t>für</a:t>
            </a:r>
            <a:r>
              <a:rPr lang="en-US"/>
              <a:t> </a:t>
            </a:r>
            <a:r>
              <a:rPr lang="en-US" err="1"/>
              <a:t>unser</a:t>
            </a:r>
            <a:r>
              <a:rPr lang="en-US"/>
              <a:t> Modell</a:t>
            </a:r>
          </a:p>
          <a:p>
            <a:pPr marL="171450" indent="-171450">
              <a:buFontTx/>
              <a:buChar char="-"/>
            </a:pPr>
            <a:endParaRPr lang="en-US"/>
          </a:p>
        </p:txBody>
      </p:sp>
      <p:sp>
        <p:nvSpPr>
          <p:cNvPr id="4" name="Foliennummernplatzhalter 3"/>
          <p:cNvSpPr>
            <a:spLocks noGrp="1"/>
          </p:cNvSpPr>
          <p:nvPr>
            <p:ph type="sldNum" sz="quarter" idx="10"/>
          </p:nvPr>
        </p:nvSpPr>
        <p:spPr/>
        <p:txBody>
          <a:bodyPr/>
          <a:lstStyle/>
          <a:p>
            <a:fld id="{852FE526-AE9F-4639-87F5-2330DB2495E1}" type="slidenum">
              <a:rPr lang="en-US" smtClean="0"/>
              <a:pPr/>
              <a:t>9</a:t>
            </a:fld>
            <a:endParaRPr lang="en-US"/>
          </a:p>
        </p:txBody>
      </p:sp>
    </p:spTree>
    <p:extLst>
      <p:ext uri="{BB962C8B-B14F-4D97-AF65-F5344CB8AC3E}">
        <p14:creationId xmlns:p14="http://schemas.microsoft.com/office/powerpoint/2010/main" val="1181604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Für die Erstellung der beiden Prognosemodelle haben die die Wrapper-Methode mit Forward </a:t>
            </a:r>
            <a:r>
              <a:rPr lang="de-DE" err="1"/>
              <a:t>Selection</a:t>
            </a:r>
            <a:r>
              <a:rPr lang="de-DE"/>
              <a:t> gewählt,</a:t>
            </a:r>
          </a:p>
          <a:p>
            <a:r>
              <a:rPr lang="de-DE"/>
              <a:t>d.h. wir haben verschiedene lineare Regressionsmodelle erstellt und dem besten Modell aus der jeweiligen Iteration weitere Features hinzugefügt, bis sich die Fehlerkennzahlen R^2, MAE und MAPE nicht mehr signifikant verbessern. </a:t>
            </a:r>
          </a:p>
          <a:p>
            <a:r>
              <a:rPr lang="de-DE"/>
              <a:t>Mithilfe der nächsten Folie werde ich Ihnen nun das statische Modell vorstellen.</a:t>
            </a:r>
          </a:p>
        </p:txBody>
      </p:sp>
    </p:spTree>
    <p:extLst>
      <p:ext uri="{BB962C8B-B14F-4D97-AF65-F5344CB8AC3E}">
        <p14:creationId xmlns:p14="http://schemas.microsoft.com/office/powerpoint/2010/main" val="1410155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a:t>Das erste Modell </a:t>
            </a:r>
            <a:r>
              <a:rPr lang="de-DE" err="1"/>
              <a:t>addressiert</a:t>
            </a:r>
            <a:r>
              <a:rPr lang="de-DE"/>
              <a:t> die Port-</a:t>
            </a:r>
            <a:r>
              <a:rPr lang="de-DE" err="1"/>
              <a:t>to</a:t>
            </a:r>
            <a:r>
              <a:rPr lang="de-DE"/>
              <a:t>-Port Analyse</a:t>
            </a:r>
          </a:p>
          <a:p>
            <a:pPr marL="171450" indent="-171450">
              <a:buFontTx/>
              <a:buChar char="-"/>
            </a:pPr>
            <a:r>
              <a:rPr lang="de-DE"/>
              <a:t>Zunächst Korrelationsanalyse, Startzeit auffällig, Korrelation &gt;0.15</a:t>
            </a:r>
          </a:p>
          <a:p>
            <a:pPr marL="171450" indent="-171450">
              <a:buFontTx/>
              <a:buChar char="-"/>
            </a:pPr>
            <a:r>
              <a:rPr lang="de-DE"/>
              <a:t>Daraus ergeben sich die 3 Features, die die Ankunftszeit beschreiben. KLICK</a:t>
            </a:r>
          </a:p>
          <a:p>
            <a:pPr marL="171450" indent="-171450">
              <a:buFontTx/>
              <a:buChar char="-"/>
            </a:pPr>
            <a:r>
              <a:rPr lang="de-DE"/>
              <a:t>Tatsächlich beschreiben diese Features die Zielgröße nahezu perfekt. </a:t>
            </a:r>
          </a:p>
          <a:p>
            <a:pPr marL="171450" indent="-171450">
              <a:buFontTx/>
              <a:buChar char="-"/>
            </a:pPr>
            <a:r>
              <a:rPr lang="de-DE"/>
              <a:t>Bestimmtheitsmaß 1, MAPE nahe Null, genauso die Residuen</a:t>
            </a:r>
          </a:p>
          <a:p>
            <a:pPr marL="171450" indent="-171450">
              <a:buFontTx/>
              <a:buChar char="-"/>
            </a:pPr>
            <a:r>
              <a:rPr lang="de-DE"/>
              <a:t>Um die Sinnhaftigkeit der Ankunftszeit als Zielgröße zu testen haben wir für das zweite Modell eine andere Zielgröße </a:t>
            </a:r>
            <a:r>
              <a:rPr lang="de-DE" err="1"/>
              <a:t>gwählt</a:t>
            </a:r>
            <a:r>
              <a:rPr lang="de-DE"/>
              <a:t> KLICK</a:t>
            </a:r>
          </a:p>
        </p:txBody>
      </p:sp>
    </p:spTree>
    <p:extLst>
      <p:ext uri="{BB962C8B-B14F-4D97-AF65-F5344CB8AC3E}">
        <p14:creationId xmlns:p14="http://schemas.microsoft.com/office/powerpoint/2010/main" val="1013317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a:t>Im Gegensatz zu Modell 1 haben wir im dynamischen Modell die verbleibende Tripdauer ab einem beliebigen Punkt auf der Strecke untersucht,</a:t>
            </a:r>
          </a:p>
          <a:p>
            <a:pPr marL="171450" indent="-171450">
              <a:buFontTx/>
              <a:buChar char="-"/>
            </a:pPr>
            <a:r>
              <a:rPr lang="de-DE"/>
              <a:t>Die Korrelationsanalyse ergibt deutlich stärke Korrelationszahlen, sodass auch mehr Features getestet wurden</a:t>
            </a:r>
          </a:p>
          <a:p>
            <a:pPr marL="171450" indent="-171450">
              <a:buFontTx/>
              <a:buChar char="-"/>
            </a:pPr>
            <a:r>
              <a:rPr lang="de-DE"/>
              <a:t>Das finale Modell enthält die Features vorhergesagte Stoppzeit, Geschwindigkeit, Tiefgang und Ferien. </a:t>
            </a:r>
          </a:p>
          <a:p>
            <a:pPr marL="171450" indent="-171450">
              <a:buFontTx/>
              <a:buChar char="-"/>
            </a:pPr>
            <a:r>
              <a:rPr lang="de-DE"/>
              <a:t>Allerdings sind die regressionsspezifischen Kennzahlen bei weitem nicht so gut, wie beim vorherigen Modell</a:t>
            </a:r>
          </a:p>
          <a:p>
            <a:pPr marL="171450" indent="-171450">
              <a:buFontTx/>
              <a:buChar char="-"/>
            </a:pPr>
            <a:r>
              <a:rPr lang="de-DE"/>
              <a:t>Woran liegt das? KLICK</a:t>
            </a:r>
          </a:p>
        </p:txBody>
      </p:sp>
    </p:spTree>
    <p:extLst>
      <p:ext uri="{BB962C8B-B14F-4D97-AF65-F5344CB8AC3E}">
        <p14:creationId xmlns:p14="http://schemas.microsoft.com/office/powerpoint/2010/main" val="13294001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8.jpeg"/><Relationship Id="rId4" Type="http://schemas.openxmlformats.org/officeDocument/2006/relationships/oleObject" Target="../embeddings/oleObject4.bin"/><Relationship Id="rId9"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5" name="Textplatzhalter 7"/>
          <p:cNvSpPr>
            <a:spLocks noGrp="1"/>
          </p:cNvSpPr>
          <p:nvPr>
            <p:ph type="body" sz="quarter" idx="10" hasCustomPrompt="1"/>
          </p:nvPr>
        </p:nvSpPr>
        <p:spPr>
          <a:xfrm>
            <a:off x="227348" y="420467"/>
            <a:ext cx="4032448" cy="344237"/>
          </a:xfrm>
          <a:prstGeom prst="rect">
            <a:avLst/>
          </a:prstGeom>
        </p:spPr>
        <p:txBody>
          <a:bodyPr lIns="0" tIns="36000" rIns="36000" bIns="36000"/>
          <a:lstStyle>
            <a:lvl1pPr marL="0" indent="0" algn="l">
              <a:spcBef>
                <a:spcPts val="0"/>
              </a:spcBef>
              <a:buNone/>
              <a:defRPr sz="1800" baseline="0">
                <a:solidFill>
                  <a:schemeClr val="accent1"/>
                </a:solidFill>
                <a:latin typeface="+mn-lt"/>
              </a:defRPr>
            </a:lvl1pPr>
            <a:lvl2pPr marL="457200" indent="0" algn="l">
              <a:buNone/>
              <a:defRPr sz="1800">
                <a:solidFill>
                  <a:schemeClr val="tx1"/>
                </a:solidFill>
                <a:latin typeface="+mn-lt"/>
              </a:defRPr>
            </a:lvl2pPr>
            <a:lvl3pPr marL="914400" indent="0" algn="l">
              <a:buNone/>
              <a:defRPr sz="1800">
                <a:solidFill>
                  <a:schemeClr val="tx1"/>
                </a:solidFill>
                <a:latin typeface="+mn-lt"/>
              </a:defRPr>
            </a:lvl3pPr>
            <a:lvl4pPr marL="1371600" indent="0" algn="l">
              <a:buNone/>
              <a:defRPr sz="1800">
                <a:solidFill>
                  <a:schemeClr val="tx1"/>
                </a:solidFill>
                <a:latin typeface="+mn-lt"/>
              </a:defRPr>
            </a:lvl4pPr>
            <a:lvl5pPr marL="1828800" indent="0" algn="l">
              <a:buNone/>
              <a:defRPr sz="1800">
                <a:solidFill>
                  <a:schemeClr val="tx1"/>
                </a:solidFill>
                <a:latin typeface="+mn-lt"/>
              </a:defRPr>
            </a:lvl5pPr>
          </a:lstStyle>
          <a:p>
            <a:pPr lvl="0"/>
            <a:r>
              <a:rPr lang="de-DE"/>
              <a:t>Einordnung</a:t>
            </a:r>
            <a:br>
              <a:rPr lang="de-DE"/>
            </a:br>
            <a:endParaRPr lang="de-DE"/>
          </a:p>
        </p:txBody>
      </p:sp>
      <p:sp>
        <p:nvSpPr>
          <p:cNvPr id="6" name="Textplatzhalter 7"/>
          <p:cNvSpPr>
            <a:spLocks noGrp="1"/>
          </p:cNvSpPr>
          <p:nvPr>
            <p:ph type="body" sz="quarter" idx="13" hasCustomPrompt="1"/>
          </p:nvPr>
        </p:nvSpPr>
        <p:spPr>
          <a:xfrm>
            <a:off x="227348" y="779064"/>
            <a:ext cx="4032264" cy="684076"/>
          </a:xfrm>
          <a:prstGeom prst="rect">
            <a:avLst/>
          </a:prstGeom>
        </p:spPr>
        <p:txBody>
          <a:bodyPr lIns="0" tIns="36000" rIns="36000" bIns="36000"/>
          <a:lstStyle>
            <a:lvl1pPr marL="0" indent="0" algn="l">
              <a:spcBef>
                <a:spcPts val="0"/>
              </a:spcBef>
              <a:buNone/>
              <a:defRPr sz="1800" baseline="0">
                <a:solidFill>
                  <a:schemeClr val="accent5"/>
                </a:solidFill>
                <a:latin typeface="+mn-lt"/>
              </a:defRPr>
            </a:lvl1pPr>
            <a:lvl2pPr marL="457200" indent="0" algn="l">
              <a:buNone/>
              <a:defRPr sz="1800">
                <a:solidFill>
                  <a:schemeClr val="tx1"/>
                </a:solidFill>
                <a:latin typeface="+mn-lt"/>
              </a:defRPr>
            </a:lvl2pPr>
            <a:lvl3pPr marL="914400" indent="0" algn="l">
              <a:buNone/>
              <a:defRPr sz="1800">
                <a:solidFill>
                  <a:schemeClr val="tx1"/>
                </a:solidFill>
                <a:latin typeface="+mn-lt"/>
              </a:defRPr>
            </a:lvl3pPr>
            <a:lvl4pPr marL="1371600" indent="0" algn="l">
              <a:buNone/>
              <a:defRPr sz="1800">
                <a:solidFill>
                  <a:schemeClr val="tx1"/>
                </a:solidFill>
                <a:latin typeface="+mn-lt"/>
              </a:defRPr>
            </a:lvl4pPr>
            <a:lvl5pPr marL="1828800" indent="0" algn="l">
              <a:buNone/>
              <a:defRPr sz="1800">
                <a:solidFill>
                  <a:schemeClr val="tx1"/>
                </a:solidFill>
                <a:latin typeface="+mn-lt"/>
              </a:defRPr>
            </a:lvl5pPr>
          </a:lstStyle>
          <a:p>
            <a:pPr lvl="0"/>
            <a:r>
              <a:rPr lang="de-DE"/>
              <a:t>Überschrift</a:t>
            </a:r>
            <a:br>
              <a:rPr lang="de-DE"/>
            </a:br>
            <a:endParaRPr lang="de-DE"/>
          </a:p>
        </p:txBody>
      </p:sp>
      <p:sp>
        <p:nvSpPr>
          <p:cNvPr id="7" name="Textplatzhalter 15"/>
          <p:cNvSpPr>
            <a:spLocks noGrp="1"/>
          </p:cNvSpPr>
          <p:nvPr>
            <p:ph type="body" sz="quarter" idx="11" hasCustomPrompt="1"/>
          </p:nvPr>
        </p:nvSpPr>
        <p:spPr>
          <a:xfrm>
            <a:off x="227348" y="2024844"/>
            <a:ext cx="3240000" cy="216000"/>
          </a:xfrm>
          <a:prstGeom prst="rect">
            <a:avLst/>
          </a:prstGeom>
        </p:spPr>
        <p:txBody>
          <a:bodyPr lIns="0" tIns="0" rIns="0" bIns="0">
            <a:normAutofit/>
          </a:bodyPr>
          <a:lstStyle>
            <a:lvl1pPr marL="0" indent="0" algn="l">
              <a:lnSpc>
                <a:spcPct val="120000"/>
              </a:lnSpc>
              <a:spcBef>
                <a:spcPts val="0"/>
              </a:spcBef>
              <a:buNone/>
              <a:defRPr sz="14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br>
              <a:rPr lang="de-DE"/>
            </a:br>
            <a:endParaRPr lang="de-DE"/>
          </a:p>
        </p:txBody>
      </p:sp>
      <p:sp>
        <p:nvSpPr>
          <p:cNvPr id="8" name="Textplatzhalter 15"/>
          <p:cNvSpPr>
            <a:spLocks noGrp="1"/>
          </p:cNvSpPr>
          <p:nvPr>
            <p:ph type="body" sz="quarter" idx="14" hasCustomPrompt="1"/>
          </p:nvPr>
        </p:nvSpPr>
        <p:spPr>
          <a:xfrm>
            <a:off x="227348" y="2276872"/>
            <a:ext cx="3240000" cy="216000"/>
          </a:xfrm>
          <a:prstGeom prst="rect">
            <a:avLst/>
          </a:prstGeom>
        </p:spPr>
        <p:txBody>
          <a:bodyPr lIns="0" tIns="0" rIns="0" bIns="0">
            <a:normAutofit/>
          </a:bodyPr>
          <a:lstStyle>
            <a:lvl1pPr marL="0" indent="0" algn="l">
              <a:lnSpc>
                <a:spcPct val="120000"/>
              </a:lnSpc>
              <a:spcBef>
                <a:spcPts val="0"/>
              </a:spcBef>
              <a:buNone/>
              <a:defRPr sz="14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br>
              <a:rPr lang="de-DE"/>
            </a:br>
            <a:endParaRPr lang="de-DE"/>
          </a:p>
        </p:txBody>
      </p:sp>
      <p:sp>
        <p:nvSpPr>
          <p:cNvPr id="9" name="Textplatzhalter 15"/>
          <p:cNvSpPr>
            <a:spLocks noGrp="1"/>
          </p:cNvSpPr>
          <p:nvPr>
            <p:ph type="body" sz="quarter" idx="15" hasCustomPrompt="1"/>
          </p:nvPr>
        </p:nvSpPr>
        <p:spPr>
          <a:xfrm>
            <a:off x="227348" y="2528900"/>
            <a:ext cx="3240000" cy="216000"/>
          </a:xfrm>
          <a:prstGeom prst="rect">
            <a:avLst/>
          </a:prstGeom>
        </p:spPr>
        <p:txBody>
          <a:bodyPr lIns="0" tIns="0" rIns="0" bIns="0">
            <a:normAutofit/>
          </a:bodyPr>
          <a:lstStyle>
            <a:lvl1pPr marL="0" indent="0" algn="l">
              <a:lnSpc>
                <a:spcPct val="120000"/>
              </a:lnSpc>
              <a:spcBef>
                <a:spcPts val="0"/>
              </a:spcBef>
              <a:buNone/>
              <a:defRPr sz="14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br>
              <a:rPr lang="de-DE"/>
            </a:br>
            <a:endParaRPr lang="de-DE"/>
          </a:p>
        </p:txBody>
      </p:sp>
      <p:sp>
        <p:nvSpPr>
          <p:cNvPr id="10" name="Textplatzhalter 15"/>
          <p:cNvSpPr>
            <a:spLocks noGrp="1"/>
          </p:cNvSpPr>
          <p:nvPr>
            <p:ph type="body" sz="quarter" idx="16" hasCustomPrompt="1"/>
          </p:nvPr>
        </p:nvSpPr>
        <p:spPr>
          <a:xfrm>
            <a:off x="227348" y="2780928"/>
            <a:ext cx="3240000" cy="216000"/>
          </a:xfrm>
          <a:prstGeom prst="rect">
            <a:avLst/>
          </a:prstGeom>
        </p:spPr>
        <p:txBody>
          <a:bodyPr lIns="0" tIns="0" rIns="0" bIns="0">
            <a:normAutofit/>
          </a:bodyPr>
          <a:lstStyle>
            <a:lvl1pPr marL="0" indent="0" algn="l">
              <a:lnSpc>
                <a:spcPct val="120000"/>
              </a:lnSpc>
              <a:spcBef>
                <a:spcPts val="0"/>
              </a:spcBef>
              <a:buNone/>
              <a:defRPr sz="14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br>
              <a:rPr lang="de-DE"/>
            </a:br>
            <a:endParaRPr lang="de-DE"/>
          </a:p>
        </p:txBody>
      </p:sp>
      <p:sp>
        <p:nvSpPr>
          <p:cNvPr id="11" name="Textplatzhalter 15"/>
          <p:cNvSpPr>
            <a:spLocks noGrp="1"/>
          </p:cNvSpPr>
          <p:nvPr>
            <p:ph type="body" sz="quarter" idx="17" hasCustomPrompt="1"/>
          </p:nvPr>
        </p:nvSpPr>
        <p:spPr>
          <a:xfrm>
            <a:off x="227348" y="3032956"/>
            <a:ext cx="3240000" cy="216000"/>
          </a:xfrm>
          <a:prstGeom prst="rect">
            <a:avLst/>
          </a:prstGeom>
        </p:spPr>
        <p:txBody>
          <a:bodyPr lIns="0" tIns="0" rIns="0" bIns="0">
            <a:normAutofit/>
          </a:bodyPr>
          <a:lstStyle>
            <a:lvl1pPr marL="0" indent="0" algn="l">
              <a:lnSpc>
                <a:spcPct val="120000"/>
              </a:lnSpc>
              <a:spcBef>
                <a:spcPts val="0"/>
              </a:spcBef>
              <a:buNone/>
              <a:defRPr sz="14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br>
              <a:rPr lang="de-DE"/>
            </a:br>
            <a:endParaRPr lang="de-DE"/>
          </a:p>
        </p:txBody>
      </p:sp>
      <p:sp>
        <p:nvSpPr>
          <p:cNvPr id="14" name="Bildplatzhalter 13"/>
          <p:cNvSpPr>
            <a:spLocks noGrp="1"/>
          </p:cNvSpPr>
          <p:nvPr>
            <p:ph type="pic" sz="quarter" idx="18"/>
          </p:nvPr>
        </p:nvSpPr>
        <p:spPr>
          <a:xfrm>
            <a:off x="3134694" y="-6525"/>
            <a:ext cx="9058912" cy="6868800"/>
          </a:xfrm>
          <a:custGeom>
            <a:avLst/>
            <a:gdLst>
              <a:gd name="connsiteX0" fmla="*/ 25049 w 9058912"/>
              <a:gd name="connsiteY0" fmla="*/ 6866097 h 6868800"/>
              <a:gd name="connsiteX1" fmla="*/ 6953 w 9058912"/>
              <a:gd name="connsiteY1" fmla="*/ 6868800 h 6868800"/>
              <a:gd name="connsiteX2" fmla="*/ 1905 w 9058912"/>
              <a:gd name="connsiteY2" fmla="*/ 6868800 h 6868800"/>
              <a:gd name="connsiteX3" fmla="*/ 0 w 9058912"/>
              <a:gd name="connsiteY3" fmla="*/ 6868537 h 6868800"/>
              <a:gd name="connsiteX4" fmla="*/ 23522 w 9058912"/>
              <a:gd name="connsiteY4" fmla="*/ 6866163 h 6868800"/>
              <a:gd name="connsiteX5" fmla="*/ 1327666 w 9058912"/>
              <a:gd name="connsiteY5" fmla="*/ 28 h 6868800"/>
              <a:gd name="connsiteX6" fmla="*/ 1405673 w 9058912"/>
              <a:gd name="connsiteY6" fmla="*/ 542 h 6868800"/>
              <a:gd name="connsiteX7" fmla="*/ 9058912 w 9058912"/>
              <a:gd name="connsiteY7" fmla="*/ 1232 h 6868800"/>
              <a:gd name="connsiteX8" fmla="*/ 9058912 w 9058912"/>
              <a:gd name="connsiteY8" fmla="*/ 6864520 h 6868800"/>
              <a:gd name="connsiteX9" fmla="*/ 83521 w 9058912"/>
              <a:gd name="connsiteY9" fmla="*/ 6864520 h 6868800"/>
              <a:gd name="connsiteX10" fmla="*/ 48435 w 9058912"/>
              <a:gd name="connsiteY10" fmla="*/ 6865095 h 6868800"/>
              <a:gd name="connsiteX11" fmla="*/ 25049 w 9058912"/>
              <a:gd name="connsiteY11" fmla="*/ 6866097 h 6868800"/>
              <a:gd name="connsiteX12" fmla="*/ 28682 w 9058912"/>
              <a:gd name="connsiteY12" fmla="*/ 6865554 h 6868800"/>
              <a:gd name="connsiteX13" fmla="*/ 152992 w 9058912"/>
              <a:gd name="connsiteY13" fmla="*/ 6759170 h 6868800"/>
              <a:gd name="connsiteX14" fmla="*/ 1517754 w 9058912"/>
              <a:gd name="connsiteY14" fmla="*/ 146236 h 6868800"/>
              <a:gd name="connsiteX15" fmla="*/ 1295766 w 9058912"/>
              <a:gd name="connsiteY15" fmla="*/ 618 h 6868800"/>
              <a:gd name="connsiteX16" fmla="*/ 1327666 w 9058912"/>
              <a:gd name="connsiteY16" fmla="*/ 28 h 686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58912" h="6868800">
                <a:moveTo>
                  <a:pt x="25049" y="6866097"/>
                </a:moveTo>
                <a:lnTo>
                  <a:pt x="6953" y="6868800"/>
                </a:lnTo>
                <a:lnTo>
                  <a:pt x="1905" y="6868800"/>
                </a:lnTo>
                <a:lnTo>
                  <a:pt x="0" y="6868537"/>
                </a:lnTo>
                <a:cubicBezTo>
                  <a:pt x="2698" y="6867899"/>
                  <a:pt x="10070" y="6866970"/>
                  <a:pt x="23522" y="6866163"/>
                </a:cubicBezTo>
                <a:close/>
                <a:moveTo>
                  <a:pt x="1327666" y="28"/>
                </a:moveTo>
                <a:cubicBezTo>
                  <a:pt x="1347998" y="-57"/>
                  <a:pt x="1376015" y="43"/>
                  <a:pt x="1405673" y="542"/>
                </a:cubicBezTo>
                <a:lnTo>
                  <a:pt x="9058912" y="1232"/>
                </a:lnTo>
                <a:lnTo>
                  <a:pt x="9058912" y="6864520"/>
                </a:lnTo>
                <a:lnTo>
                  <a:pt x="83521" y="6864520"/>
                </a:lnTo>
                <a:cubicBezTo>
                  <a:pt x="70013" y="6864595"/>
                  <a:pt x="58377" y="6864804"/>
                  <a:pt x="48435" y="6865095"/>
                </a:cubicBezTo>
                <a:lnTo>
                  <a:pt x="25049" y="6866097"/>
                </a:lnTo>
                <a:lnTo>
                  <a:pt x="28682" y="6865554"/>
                </a:lnTo>
                <a:cubicBezTo>
                  <a:pt x="70224" y="6856821"/>
                  <a:pt x="141623" y="6830184"/>
                  <a:pt x="152992" y="6759170"/>
                </a:cubicBezTo>
                <a:cubicBezTo>
                  <a:pt x="608283" y="4554477"/>
                  <a:pt x="1036884" y="2414923"/>
                  <a:pt x="1517754" y="146236"/>
                </a:cubicBezTo>
                <a:cubicBezTo>
                  <a:pt x="1549172" y="1105"/>
                  <a:pt x="1369268" y="5628"/>
                  <a:pt x="1295766" y="618"/>
                </a:cubicBezTo>
                <a:cubicBezTo>
                  <a:pt x="1294686" y="381"/>
                  <a:pt x="1307334" y="112"/>
                  <a:pt x="1327666" y="28"/>
                </a:cubicBezTo>
                <a:close/>
              </a:path>
            </a:pathLst>
          </a:custGeom>
        </p:spPr>
        <p:txBody>
          <a:bodyPr wrap="square" lIns="1800000">
            <a:noAutofit/>
          </a:bodyPr>
          <a:lstStyle>
            <a:lvl1pPr marL="144000" indent="-144000">
              <a:buClr>
                <a:schemeClr val="accent1"/>
              </a:buClr>
              <a:buSzPct val="80000"/>
              <a:buFont typeface="Wingdings" panose="05000000000000000000" pitchFamily="2" charset="2"/>
              <a:buChar char="§"/>
              <a:defRPr sz="2000"/>
            </a:lvl1pPr>
          </a:lstStyle>
          <a:p>
            <a:r>
              <a:rPr lang="de-DE"/>
              <a:t>Bild durch Klicken auf Symbol hinzufügen</a:t>
            </a:r>
          </a:p>
        </p:txBody>
      </p:sp>
      <p:sp>
        <p:nvSpPr>
          <p:cNvPr id="15" name="Fußzeilenplatzhalter 4">
            <a:extLst>
              <a:ext uri="{FF2B5EF4-FFF2-40B4-BE49-F238E27FC236}">
                <a16:creationId xmlns:a16="http://schemas.microsoft.com/office/drawing/2014/main" id="{ADE7F21F-DF02-9241-B887-45A525FBC581}"/>
              </a:ext>
            </a:extLst>
          </p:cNvPr>
          <p:cNvSpPr txBox="1">
            <a:spLocks/>
          </p:cNvSpPr>
          <p:nvPr userDrawn="1"/>
        </p:nvSpPr>
        <p:spPr>
          <a:xfrm>
            <a:off x="-766979" y="6436166"/>
            <a:ext cx="4896000" cy="255600"/>
          </a:xfrm>
          <a:prstGeom prst="rect">
            <a:avLst/>
          </a:prstGeom>
        </p:spPr>
        <p:txBody>
          <a:bodyPr tIns="46800" bIns="46800" anchor="b" anchorCtr="0"/>
          <a:lstStyle>
            <a:defPPr>
              <a:defRPr lang="de-DE"/>
            </a:defPPr>
            <a:lvl1pPr marL="0" algn="ctr" defTabSz="914400" rtl="0" eaLnBrk="1" latinLnBrk="0" hangingPunct="1">
              <a:defRPr lang="de-DE" sz="1000" kern="1200" baseline="0" dirty="0">
                <a:solidFill>
                  <a:schemeClr val="tx1"/>
                </a:solidFill>
                <a:latin typeface="Helvetica Light"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20000"/>
              </a:spcBef>
            </a:pPr>
            <a:r>
              <a:rPr lang="de-DE"/>
              <a:t>SCA Case Study – 28.07.2021</a:t>
            </a:r>
          </a:p>
        </p:txBody>
      </p:sp>
    </p:spTree>
    <p:extLst>
      <p:ext uri="{BB962C8B-B14F-4D97-AF65-F5344CB8AC3E}">
        <p14:creationId xmlns:p14="http://schemas.microsoft.com/office/powerpoint/2010/main" val="185901578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5" name="Textplatzhalter 7"/>
          <p:cNvSpPr>
            <a:spLocks noGrp="1"/>
          </p:cNvSpPr>
          <p:nvPr>
            <p:ph type="body" sz="quarter" idx="10" hasCustomPrompt="1"/>
          </p:nvPr>
        </p:nvSpPr>
        <p:spPr>
          <a:xfrm>
            <a:off x="7788188" y="4077072"/>
            <a:ext cx="4140028" cy="396044"/>
          </a:xfrm>
          <a:prstGeom prst="rect">
            <a:avLst/>
          </a:prstGeom>
        </p:spPr>
        <p:txBody>
          <a:bodyPr wrap="square" lIns="72000" tIns="36000" rIns="72000" bIns="36000">
            <a:normAutofit/>
          </a:bodyPr>
          <a:lstStyle>
            <a:lvl1pPr marL="0" indent="0" algn="ctr">
              <a:spcBef>
                <a:spcPts val="0"/>
              </a:spcBef>
              <a:buNone/>
              <a:defRPr sz="1600" baseline="0">
                <a:solidFill>
                  <a:schemeClr val="tx1"/>
                </a:solidFill>
                <a:latin typeface="+mn-lt"/>
              </a:defRPr>
            </a:lvl1pPr>
            <a:lvl2pPr marL="457200" indent="0" algn="l">
              <a:buNone/>
              <a:defRPr sz="1800">
                <a:solidFill>
                  <a:schemeClr val="tx1"/>
                </a:solidFill>
                <a:latin typeface="+mn-lt"/>
              </a:defRPr>
            </a:lvl2pPr>
            <a:lvl3pPr marL="914400" indent="0" algn="l">
              <a:buNone/>
              <a:defRPr sz="1800">
                <a:solidFill>
                  <a:schemeClr val="tx1"/>
                </a:solidFill>
                <a:latin typeface="+mn-lt"/>
              </a:defRPr>
            </a:lvl3pPr>
            <a:lvl4pPr marL="1371600" indent="0" algn="l">
              <a:buNone/>
              <a:defRPr sz="1800">
                <a:solidFill>
                  <a:schemeClr val="tx1"/>
                </a:solidFill>
                <a:latin typeface="+mn-lt"/>
              </a:defRPr>
            </a:lvl4pPr>
            <a:lvl5pPr marL="1828800" indent="0" algn="l">
              <a:buNone/>
              <a:defRPr sz="1800">
                <a:solidFill>
                  <a:schemeClr val="tx1"/>
                </a:solidFill>
                <a:latin typeface="+mn-lt"/>
              </a:defRPr>
            </a:lvl5pPr>
          </a:lstStyle>
          <a:p>
            <a:pPr lvl="0"/>
            <a:r>
              <a:rPr lang="de-DE"/>
              <a:t>Wir bedanken uns für Eure Aufmerksamkeit</a:t>
            </a:r>
          </a:p>
        </p:txBody>
      </p:sp>
      <p:sp>
        <p:nvSpPr>
          <p:cNvPr id="26" name="Textplatzhalter 15"/>
          <p:cNvSpPr>
            <a:spLocks noGrp="1"/>
          </p:cNvSpPr>
          <p:nvPr>
            <p:ph type="body" sz="quarter" idx="11" hasCustomPrompt="1"/>
          </p:nvPr>
        </p:nvSpPr>
        <p:spPr>
          <a:xfrm>
            <a:off x="7788188" y="4725144"/>
            <a:ext cx="2412268" cy="288000"/>
          </a:xfrm>
          <a:prstGeom prst="rect">
            <a:avLst/>
          </a:prstGeom>
        </p:spPr>
        <p:txBody>
          <a:bodyPr wrap="square" lIns="72000" tIns="36000" rIns="72000" bIns="36000" anchor="t" anchorCtr="0">
            <a:normAutofit/>
          </a:bodyPr>
          <a:lstStyle>
            <a:lvl1pPr marL="0" indent="0" algn="l">
              <a:lnSpc>
                <a:spcPct val="120000"/>
              </a:lnSpc>
              <a:spcBef>
                <a:spcPts val="0"/>
              </a:spcBef>
              <a:buNone/>
              <a:defRPr sz="16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p>
        </p:txBody>
      </p:sp>
      <p:sp>
        <p:nvSpPr>
          <p:cNvPr id="18" name="Bildplatzhalter 17"/>
          <p:cNvSpPr>
            <a:spLocks noGrp="1"/>
          </p:cNvSpPr>
          <p:nvPr>
            <p:ph type="pic" sz="quarter" idx="12"/>
          </p:nvPr>
        </p:nvSpPr>
        <p:spPr>
          <a:xfrm>
            <a:off x="-4573" y="-4949"/>
            <a:ext cx="8708929" cy="6867897"/>
          </a:xfrm>
          <a:custGeom>
            <a:avLst/>
            <a:gdLst>
              <a:gd name="connsiteX0" fmla="*/ 0 w 8697919"/>
              <a:gd name="connsiteY0" fmla="*/ 1690 h 6862870"/>
              <a:gd name="connsiteX1" fmla="*/ 8631465 w 8697919"/>
              <a:gd name="connsiteY1" fmla="*/ 2868 h 6862870"/>
              <a:gd name="connsiteX2" fmla="*/ 8599487 w 8697919"/>
              <a:gd name="connsiteY2" fmla="*/ 8897 h 6862870"/>
              <a:gd name="connsiteX3" fmla="*/ 8515501 w 8697919"/>
              <a:gd name="connsiteY3" fmla="*/ 71303 h 6862870"/>
              <a:gd name="connsiteX4" fmla="*/ 7133231 w 8697919"/>
              <a:gd name="connsiteY4" fmla="*/ 6726464 h 6862870"/>
              <a:gd name="connsiteX5" fmla="*/ 7228246 w 8697919"/>
              <a:gd name="connsiteY5" fmla="*/ 6862870 h 6862870"/>
              <a:gd name="connsiteX6" fmla="*/ 0 w 8697919"/>
              <a:gd name="connsiteY6" fmla="*/ 6859714 h 6862870"/>
              <a:gd name="connsiteX7" fmla="*/ 8665407 w 8697919"/>
              <a:gd name="connsiteY7" fmla="*/ 74 h 6862870"/>
              <a:gd name="connsiteX8" fmla="*/ 8690350 w 8697919"/>
              <a:gd name="connsiteY8" fmla="*/ 2876 h 6862870"/>
              <a:gd name="connsiteX9" fmla="*/ 8631465 w 8697919"/>
              <a:gd name="connsiteY9" fmla="*/ 2868 h 6862870"/>
              <a:gd name="connsiteX10" fmla="*/ 8634415 w 8697919"/>
              <a:gd name="connsiteY10" fmla="*/ 2312 h 6862870"/>
              <a:gd name="connsiteX11" fmla="*/ 8665407 w 8697919"/>
              <a:gd name="connsiteY11" fmla="*/ 74 h 6862870"/>
              <a:gd name="connsiteX0" fmla="*/ 0 w 8697919"/>
              <a:gd name="connsiteY0" fmla="*/ 1690 h 6862870"/>
              <a:gd name="connsiteX1" fmla="*/ 8631465 w 8697919"/>
              <a:gd name="connsiteY1" fmla="*/ 2868 h 6862870"/>
              <a:gd name="connsiteX2" fmla="*/ 8599487 w 8697919"/>
              <a:gd name="connsiteY2" fmla="*/ 8897 h 6862870"/>
              <a:gd name="connsiteX3" fmla="*/ 8513108 w 8697919"/>
              <a:gd name="connsiteY3" fmla="*/ 79676 h 6862870"/>
              <a:gd name="connsiteX4" fmla="*/ 7133231 w 8697919"/>
              <a:gd name="connsiteY4" fmla="*/ 6726464 h 6862870"/>
              <a:gd name="connsiteX5" fmla="*/ 7228246 w 8697919"/>
              <a:gd name="connsiteY5" fmla="*/ 6862870 h 6862870"/>
              <a:gd name="connsiteX6" fmla="*/ 0 w 8697919"/>
              <a:gd name="connsiteY6" fmla="*/ 6859714 h 6862870"/>
              <a:gd name="connsiteX7" fmla="*/ 0 w 8697919"/>
              <a:gd name="connsiteY7" fmla="*/ 1690 h 6862870"/>
              <a:gd name="connsiteX8" fmla="*/ 8665407 w 8697919"/>
              <a:gd name="connsiteY8" fmla="*/ 74 h 6862870"/>
              <a:gd name="connsiteX9" fmla="*/ 8690350 w 8697919"/>
              <a:gd name="connsiteY9" fmla="*/ 2876 h 6862870"/>
              <a:gd name="connsiteX10" fmla="*/ 8631465 w 8697919"/>
              <a:gd name="connsiteY10" fmla="*/ 2868 h 6862870"/>
              <a:gd name="connsiteX11" fmla="*/ 8634415 w 8697919"/>
              <a:gd name="connsiteY11" fmla="*/ 2312 h 6862870"/>
              <a:gd name="connsiteX12" fmla="*/ 8665407 w 8697919"/>
              <a:gd name="connsiteY12" fmla="*/ 74 h 6862870"/>
              <a:gd name="connsiteX0" fmla="*/ 0 w 8697919"/>
              <a:gd name="connsiteY0" fmla="*/ 1690 h 6862870"/>
              <a:gd name="connsiteX1" fmla="*/ 8631465 w 8697919"/>
              <a:gd name="connsiteY1" fmla="*/ 2868 h 6862870"/>
              <a:gd name="connsiteX2" fmla="*/ 8599487 w 8697919"/>
              <a:gd name="connsiteY2" fmla="*/ 8897 h 6862870"/>
              <a:gd name="connsiteX3" fmla="*/ 8513108 w 8697919"/>
              <a:gd name="connsiteY3" fmla="*/ 79676 h 6862870"/>
              <a:gd name="connsiteX4" fmla="*/ 7133231 w 8697919"/>
              <a:gd name="connsiteY4" fmla="*/ 6726464 h 6862870"/>
              <a:gd name="connsiteX5" fmla="*/ 7228246 w 8697919"/>
              <a:gd name="connsiteY5" fmla="*/ 6862870 h 6862870"/>
              <a:gd name="connsiteX6" fmla="*/ 0 w 8697919"/>
              <a:gd name="connsiteY6" fmla="*/ 6859714 h 6862870"/>
              <a:gd name="connsiteX7" fmla="*/ 0 w 8697919"/>
              <a:gd name="connsiteY7" fmla="*/ 1690 h 6862870"/>
              <a:gd name="connsiteX8" fmla="*/ 8665407 w 8697919"/>
              <a:gd name="connsiteY8" fmla="*/ 74 h 6862870"/>
              <a:gd name="connsiteX9" fmla="*/ 8690350 w 8697919"/>
              <a:gd name="connsiteY9" fmla="*/ 2876 h 6862870"/>
              <a:gd name="connsiteX10" fmla="*/ 8631465 w 8697919"/>
              <a:gd name="connsiteY10" fmla="*/ 2868 h 6862870"/>
              <a:gd name="connsiteX11" fmla="*/ 8634415 w 8697919"/>
              <a:gd name="connsiteY11" fmla="*/ 2312 h 6862870"/>
              <a:gd name="connsiteX12" fmla="*/ 8665407 w 8697919"/>
              <a:gd name="connsiteY12" fmla="*/ 74 h 6862870"/>
              <a:gd name="connsiteX0" fmla="*/ 0 w 8697919"/>
              <a:gd name="connsiteY0" fmla="*/ 1690 h 6862870"/>
              <a:gd name="connsiteX1" fmla="*/ 8631465 w 8697919"/>
              <a:gd name="connsiteY1" fmla="*/ 2868 h 6862870"/>
              <a:gd name="connsiteX2" fmla="*/ 8599487 w 8697919"/>
              <a:gd name="connsiteY2" fmla="*/ 8897 h 6862870"/>
              <a:gd name="connsiteX3" fmla="*/ 8508320 w 8697919"/>
              <a:gd name="connsiteY3" fmla="*/ 108383 h 6862870"/>
              <a:gd name="connsiteX4" fmla="*/ 7133231 w 8697919"/>
              <a:gd name="connsiteY4" fmla="*/ 6726464 h 6862870"/>
              <a:gd name="connsiteX5" fmla="*/ 7228246 w 8697919"/>
              <a:gd name="connsiteY5" fmla="*/ 6862870 h 6862870"/>
              <a:gd name="connsiteX6" fmla="*/ 0 w 8697919"/>
              <a:gd name="connsiteY6" fmla="*/ 6859714 h 6862870"/>
              <a:gd name="connsiteX7" fmla="*/ 0 w 8697919"/>
              <a:gd name="connsiteY7" fmla="*/ 1690 h 6862870"/>
              <a:gd name="connsiteX8" fmla="*/ 8665407 w 8697919"/>
              <a:gd name="connsiteY8" fmla="*/ 74 h 6862870"/>
              <a:gd name="connsiteX9" fmla="*/ 8690350 w 8697919"/>
              <a:gd name="connsiteY9" fmla="*/ 2876 h 6862870"/>
              <a:gd name="connsiteX10" fmla="*/ 8631465 w 8697919"/>
              <a:gd name="connsiteY10" fmla="*/ 2868 h 6862870"/>
              <a:gd name="connsiteX11" fmla="*/ 8634415 w 8697919"/>
              <a:gd name="connsiteY11" fmla="*/ 2312 h 6862870"/>
              <a:gd name="connsiteX12" fmla="*/ 8665407 w 8697919"/>
              <a:gd name="connsiteY12" fmla="*/ 74 h 6862870"/>
              <a:gd name="connsiteX0" fmla="*/ 0 w 8697919"/>
              <a:gd name="connsiteY0" fmla="*/ 1690 h 6862870"/>
              <a:gd name="connsiteX1" fmla="*/ 8631465 w 8697919"/>
              <a:gd name="connsiteY1" fmla="*/ 2868 h 6862870"/>
              <a:gd name="connsiteX2" fmla="*/ 8599487 w 8697919"/>
              <a:gd name="connsiteY2" fmla="*/ 8897 h 6862870"/>
              <a:gd name="connsiteX3" fmla="*/ 8508320 w 8697919"/>
              <a:gd name="connsiteY3" fmla="*/ 108383 h 6862870"/>
              <a:gd name="connsiteX4" fmla="*/ 7133231 w 8697919"/>
              <a:gd name="connsiteY4" fmla="*/ 6726464 h 6862870"/>
              <a:gd name="connsiteX5" fmla="*/ 7228246 w 8697919"/>
              <a:gd name="connsiteY5" fmla="*/ 6862870 h 6862870"/>
              <a:gd name="connsiteX6" fmla="*/ 0 w 8697919"/>
              <a:gd name="connsiteY6" fmla="*/ 6859714 h 6862870"/>
              <a:gd name="connsiteX7" fmla="*/ 0 w 8697919"/>
              <a:gd name="connsiteY7" fmla="*/ 1690 h 6862870"/>
              <a:gd name="connsiteX8" fmla="*/ 8665407 w 8697919"/>
              <a:gd name="connsiteY8" fmla="*/ 74 h 6862870"/>
              <a:gd name="connsiteX9" fmla="*/ 8690350 w 8697919"/>
              <a:gd name="connsiteY9" fmla="*/ 2876 h 6862870"/>
              <a:gd name="connsiteX10" fmla="*/ 8631465 w 8697919"/>
              <a:gd name="connsiteY10" fmla="*/ 2868 h 6862870"/>
              <a:gd name="connsiteX11" fmla="*/ 8634415 w 8697919"/>
              <a:gd name="connsiteY11" fmla="*/ 2312 h 6862870"/>
              <a:gd name="connsiteX12" fmla="*/ 8665407 w 8697919"/>
              <a:gd name="connsiteY12" fmla="*/ 74 h 6862870"/>
              <a:gd name="connsiteX0" fmla="*/ 0 w 8722008"/>
              <a:gd name="connsiteY0" fmla="*/ 1690 h 6862870"/>
              <a:gd name="connsiteX1" fmla="*/ 8631465 w 8722008"/>
              <a:gd name="connsiteY1" fmla="*/ 2868 h 6862870"/>
              <a:gd name="connsiteX2" fmla="*/ 8599487 w 8722008"/>
              <a:gd name="connsiteY2" fmla="*/ 8897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31465 w 8722008"/>
              <a:gd name="connsiteY10" fmla="*/ 2868 h 6862870"/>
              <a:gd name="connsiteX11" fmla="*/ 8634415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599487 w 8722008"/>
              <a:gd name="connsiteY2" fmla="*/ 8897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31465 w 8722008"/>
              <a:gd name="connsiteY10" fmla="*/ 2868 h 6862870"/>
              <a:gd name="connsiteX11" fmla="*/ 8647580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10259 w 8722008"/>
              <a:gd name="connsiteY2" fmla="*/ 4112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31465 w 8722008"/>
              <a:gd name="connsiteY10" fmla="*/ 2868 h 6862870"/>
              <a:gd name="connsiteX11" fmla="*/ 8647580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25818 w 8722008"/>
              <a:gd name="connsiteY2" fmla="*/ 6505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31465 w 8722008"/>
              <a:gd name="connsiteY10" fmla="*/ 2868 h 6862870"/>
              <a:gd name="connsiteX11" fmla="*/ 8647580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25818 w 8722008"/>
              <a:gd name="connsiteY2" fmla="*/ 6505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31465 w 8722008"/>
              <a:gd name="connsiteY10" fmla="*/ 2868 h 6862870"/>
              <a:gd name="connsiteX11" fmla="*/ 8671517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25818 w 8722008"/>
              <a:gd name="connsiteY2" fmla="*/ 6505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51812 w 8722008"/>
              <a:gd name="connsiteY10" fmla="*/ 4064 h 6862870"/>
              <a:gd name="connsiteX11" fmla="*/ 8671517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44968 w 8722008"/>
              <a:gd name="connsiteY2" fmla="*/ 6505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51812 w 8722008"/>
              <a:gd name="connsiteY10" fmla="*/ 4064 h 6862870"/>
              <a:gd name="connsiteX11" fmla="*/ 8671517 w 8722008"/>
              <a:gd name="connsiteY11" fmla="*/ 2312 h 6862870"/>
              <a:gd name="connsiteX12" fmla="*/ 8665407 w 8722008"/>
              <a:gd name="connsiteY12" fmla="*/ 74 h 6862870"/>
              <a:gd name="connsiteX0" fmla="*/ 0 w 8722008"/>
              <a:gd name="connsiteY0" fmla="*/ 1690 h 6862870"/>
              <a:gd name="connsiteX1" fmla="*/ 8631465 w 8722008"/>
              <a:gd name="connsiteY1" fmla="*/ 2868 h 6862870"/>
              <a:gd name="connsiteX2" fmla="*/ 8644968 w 8722008"/>
              <a:gd name="connsiteY2" fmla="*/ 6505 h 6862870"/>
              <a:gd name="connsiteX3" fmla="*/ 8508320 w 8722008"/>
              <a:gd name="connsiteY3" fmla="*/ 108383 h 6862870"/>
              <a:gd name="connsiteX4" fmla="*/ 7133231 w 8722008"/>
              <a:gd name="connsiteY4" fmla="*/ 6726464 h 6862870"/>
              <a:gd name="connsiteX5" fmla="*/ 7228246 w 8722008"/>
              <a:gd name="connsiteY5" fmla="*/ 6862870 h 6862870"/>
              <a:gd name="connsiteX6" fmla="*/ 0 w 8722008"/>
              <a:gd name="connsiteY6" fmla="*/ 6859714 h 6862870"/>
              <a:gd name="connsiteX7" fmla="*/ 0 w 8722008"/>
              <a:gd name="connsiteY7" fmla="*/ 1690 h 6862870"/>
              <a:gd name="connsiteX8" fmla="*/ 8665407 w 8722008"/>
              <a:gd name="connsiteY8" fmla="*/ 74 h 6862870"/>
              <a:gd name="connsiteX9" fmla="*/ 8717878 w 8722008"/>
              <a:gd name="connsiteY9" fmla="*/ 2876 h 6862870"/>
              <a:gd name="connsiteX10" fmla="*/ 8651812 w 8722008"/>
              <a:gd name="connsiteY10" fmla="*/ 4064 h 6862870"/>
              <a:gd name="connsiteX11" fmla="*/ 8671517 w 8722008"/>
              <a:gd name="connsiteY11" fmla="*/ 2312 h 6862870"/>
              <a:gd name="connsiteX12" fmla="*/ 8665407 w 8722008"/>
              <a:gd name="connsiteY12" fmla="*/ 74 h 6862870"/>
              <a:gd name="connsiteX0" fmla="*/ 0 w 8722008"/>
              <a:gd name="connsiteY0" fmla="*/ 2411 h 6863591"/>
              <a:gd name="connsiteX1" fmla="*/ 8631465 w 8722008"/>
              <a:gd name="connsiteY1" fmla="*/ 3589 h 6863591"/>
              <a:gd name="connsiteX2" fmla="*/ 8644968 w 8722008"/>
              <a:gd name="connsiteY2" fmla="*/ 7226 h 6863591"/>
              <a:gd name="connsiteX3" fmla="*/ 8508320 w 8722008"/>
              <a:gd name="connsiteY3" fmla="*/ 109104 h 6863591"/>
              <a:gd name="connsiteX4" fmla="*/ 7133231 w 8722008"/>
              <a:gd name="connsiteY4" fmla="*/ 6727185 h 6863591"/>
              <a:gd name="connsiteX5" fmla="*/ 7228246 w 8722008"/>
              <a:gd name="connsiteY5" fmla="*/ 6863591 h 6863591"/>
              <a:gd name="connsiteX6" fmla="*/ 0 w 8722008"/>
              <a:gd name="connsiteY6" fmla="*/ 6860435 h 6863591"/>
              <a:gd name="connsiteX7" fmla="*/ 0 w 8722008"/>
              <a:gd name="connsiteY7" fmla="*/ 2411 h 6863591"/>
              <a:gd name="connsiteX8" fmla="*/ 8665407 w 8722008"/>
              <a:gd name="connsiteY8" fmla="*/ 795 h 6863591"/>
              <a:gd name="connsiteX9" fmla="*/ 8717878 w 8722008"/>
              <a:gd name="connsiteY9" fmla="*/ 3597 h 6863591"/>
              <a:gd name="connsiteX10" fmla="*/ 8661387 w 8722008"/>
              <a:gd name="connsiteY10" fmla="*/ 0 h 6863591"/>
              <a:gd name="connsiteX11" fmla="*/ 8671517 w 8722008"/>
              <a:gd name="connsiteY11" fmla="*/ 3033 h 6863591"/>
              <a:gd name="connsiteX12" fmla="*/ 8665407 w 8722008"/>
              <a:gd name="connsiteY12" fmla="*/ 795 h 6863591"/>
              <a:gd name="connsiteX0" fmla="*/ 0 w 8736691"/>
              <a:gd name="connsiteY0" fmla="*/ 2411 h 6863591"/>
              <a:gd name="connsiteX1" fmla="*/ 8631465 w 8736691"/>
              <a:gd name="connsiteY1" fmla="*/ 3589 h 6863591"/>
              <a:gd name="connsiteX2" fmla="*/ 8644968 w 8736691"/>
              <a:gd name="connsiteY2" fmla="*/ 7226 h 6863591"/>
              <a:gd name="connsiteX3" fmla="*/ 8508320 w 8736691"/>
              <a:gd name="connsiteY3" fmla="*/ 109104 h 6863591"/>
              <a:gd name="connsiteX4" fmla="*/ 7133231 w 8736691"/>
              <a:gd name="connsiteY4" fmla="*/ 6727185 h 6863591"/>
              <a:gd name="connsiteX5" fmla="*/ 7228246 w 8736691"/>
              <a:gd name="connsiteY5" fmla="*/ 6863591 h 6863591"/>
              <a:gd name="connsiteX6" fmla="*/ 0 w 8736691"/>
              <a:gd name="connsiteY6" fmla="*/ 6860435 h 6863591"/>
              <a:gd name="connsiteX7" fmla="*/ 0 w 8736691"/>
              <a:gd name="connsiteY7" fmla="*/ 2411 h 6863591"/>
              <a:gd name="connsiteX8" fmla="*/ 8665407 w 8736691"/>
              <a:gd name="connsiteY8" fmla="*/ 795 h 6863591"/>
              <a:gd name="connsiteX9" fmla="*/ 8733437 w 8736691"/>
              <a:gd name="connsiteY9" fmla="*/ 5989 h 6863591"/>
              <a:gd name="connsiteX10" fmla="*/ 8661387 w 8736691"/>
              <a:gd name="connsiteY10" fmla="*/ 0 h 6863591"/>
              <a:gd name="connsiteX11" fmla="*/ 8671517 w 8736691"/>
              <a:gd name="connsiteY11" fmla="*/ 3033 h 6863591"/>
              <a:gd name="connsiteX12" fmla="*/ 8665407 w 8736691"/>
              <a:gd name="connsiteY12" fmla="*/ 795 h 6863591"/>
              <a:gd name="connsiteX0" fmla="*/ 0 w 8736230"/>
              <a:gd name="connsiteY0" fmla="*/ 2411 h 6863591"/>
              <a:gd name="connsiteX1" fmla="*/ 8631465 w 8736230"/>
              <a:gd name="connsiteY1" fmla="*/ 3589 h 6863591"/>
              <a:gd name="connsiteX2" fmla="*/ 8644968 w 8736230"/>
              <a:gd name="connsiteY2" fmla="*/ 7226 h 6863591"/>
              <a:gd name="connsiteX3" fmla="*/ 8508320 w 8736230"/>
              <a:gd name="connsiteY3" fmla="*/ 109104 h 6863591"/>
              <a:gd name="connsiteX4" fmla="*/ 7133231 w 8736230"/>
              <a:gd name="connsiteY4" fmla="*/ 6727185 h 6863591"/>
              <a:gd name="connsiteX5" fmla="*/ 7228246 w 8736230"/>
              <a:gd name="connsiteY5" fmla="*/ 6863591 h 6863591"/>
              <a:gd name="connsiteX6" fmla="*/ 0 w 8736230"/>
              <a:gd name="connsiteY6" fmla="*/ 6860435 h 6863591"/>
              <a:gd name="connsiteX7" fmla="*/ 0 w 8736230"/>
              <a:gd name="connsiteY7" fmla="*/ 2411 h 6863591"/>
              <a:gd name="connsiteX8" fmla="*/ 8653439 w 8736230"/>
              <a:gd name="connsiteY8" fmla="*/ 795 h 6863591"/>
              <a:gd name="connsiteX9" fmla="*/ 8733437 w 8736230"/>
              <a:gd name="connsiteY9" fmla="*/ 5989 h 6863591"/>
              <a:gd name="connsiteX10" fmla="*/ 8661387 w 8736230"/>
              <a:gd name="connsiteY10" fmla="*/ 0 h 6863591"/>
              <a:gd name="connsiteX11" fmla="*/ 8671517 w 8736230"/>
              <a:gd name="connsiteY11" fmla="*/ 3033 h 6863591"/>
              <a:gd name="connsiteX12" fmla="*/ 8653439 w 8736230"/>
              <a:gd name="connsiteY12" fmla="*/ 795 h 6863591"/>
              <a:gd name="connsiteX0" fmla="*/ 0 w 8708929"/>
              <a:gd name="connsiteY0" fmla="*/ 2411 h 6863591"/>
              <a:gd name="connsiteX1" fmla="*/ 8631465 w 8708929"/>
              <a:gd name="connsiteY1" fmla="*/ 3589 h 6863591"/>
              <a:gd name="connsiteX2" fmla="*/ 8644968 w 8708929"/>
              <a:gd name="connsiteY2" fmla="*/ 7226 h 6863591"/>
              <a:gd name="connsiteX3" fmla="*/ 8508320 w 8708929"/>
              <a:gd name="connsiteY3" fmla="*/ 109104 h 6863591"/>
              <a:gd name="connsiteX4" fmla="*/ 7133231 w 8708929"/>
              <a:gd name="connsiteY4" fmla="*/ 6727185 h 6863591"/>
              <a:gd name="connsiteX5" fmla="*/ 7228246 w 8708929"/>
              <a:gd name="connsiteY5" fmla="*/ 6863591 h 6863591"/>
              <a:gd name="connsiteX6" fmla="*/ 0 w 8708929"/>
              <a:gd name="connsiteY6" fmla="*/ 6860435 h 6863591"/>
              <a:gd name="connsiteX7" fmla="*/ 0 w 8708929"/>
              <a:gd name="connsiteY7" fmla="*/ 2411 h 6863591"/>
              <a:gd name="connsiteX8" fmla="*/ 8653439 w 8708929"/>
              <a:gd name="connsiteY8" fmla="*/ 795 h 6863591"/>
              <a:gd name="connsiteX9" fmla="*/ 8704712 w 8708929"/>
              <a:gd name="connsiteY9" fmla="*/ 5989 h 6863591"/>
              <a:gd name="connsiteX10" fmla="*/ 8661387 w 8708929"/>
              <a:gd name="connsiteY10" fmla="*/ 0 h 6863591"/>
              <a:gd name="connsiteX11" fmla="*/ 8671517 w 8708929"/>
              <a:gd name="connsiteY11" fmla="*/ 3033 h 6863591"/>
              <a:gd name="connsiteX12" fmla="*/ 8653439 w 8708929"/>
              <a:gd name="connsiteY12" fmla="*/ 795 h 6863591"/>
              <a:gd name="connsiteX0" fmla="*/ 0 w 8708929"/>
              <a:gd name="connsiteY0" fmla="*/ 2411 h 6863591"/>
              <a:gd name="connsiteX1" fmla="*/ 8631465 w 8708929"/>
              <a:gd name="connsiteY1" fmla="*/ 3589 h 6863591"/>
              <a:gd name="connsiteX2" fmla="*/ 8649755 w 8708929"/>
              <a:gd name="connsiteY2" fmla="*/ 4834 h 6863591"/>
              <a:gd name="connsiteX3" fmla="*/ 8508320 w 8708929"/>
              <a:gd name="connsiteY3" fmla="*/ 109104 h 6863591"/>
              <a:gd name="connsiteX4" fmla="*/ 7133231 w 8708929"/>
              <a:gd name="connsiteY4" fmla="*/ 6727185 h 6863591"/>
              <a:gd name="connsiteX5" fmla="*/ 7228246 w 8708929"/>
              <a:gd name="connsiteY5" fmla="*/ 6863591 h 6863591"/>
              <a:gd name="connsiteX6" fmla="*/ 0 w 8708929"/>
              <a:gd name="connsiteY6" fmla="*/ 6860435 h 6863591"/>
              <a:gd name="connsiteX7" fmla="*/ 0 w 8708929"/>
              <a:gd name="connsiteY7" fmla="*/ 2411 h 6863591"/>
              <a:gd name="connsiteX8" fmla="*/ 8653439 w 8708929"/>
              <a:gd name="connsiteY8" fmla="*/ 795 h 6863591"/>
              <a:gd name="connsiteX9" fmla="*/ 8704712 w 8708929"/>
              <a:gd name="connsiteY9" fmla="*/ 5989 h 6863591"/>
              <a:gd name="connsiteX10" fmla="*/ 8661387 w 8708929"/>
              <a:gd name="connsiteY10" fmla="*/ 0 h 6863591"/>
              <a:gd name="connsiteX11" fmla="*/ 8671517 w 8708929"/>
              <a:gd name="connsiteY11" fmla="*/ 3033 h 6863591"/>
              <a:gd name="connsiteX12" fmla="*/ 8653439 w 8708929"/>
              <a:gd name="connsiteY12" fmla="*/ 795 h 686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08929" h="6863591">
                <a:moveTo>
                  <a:pt x="0" y="2411"/>
                </a:moveTo>
                <a:lnTo>
                  <a:pt x="8631465" y="3589"/>
                </a:lnTo>
                <a:lnTo>
                  <a:pt x="8649755" y="4834"/>
                </a:lnTo>
                <a:cubicBezTo>
                  <a:pt x="8617931" y="4576"/>
                  <a:pt x="8531808" y="16913"/>
                  <a:pt x="8508320" y="109104"/>
                </a:cubicBezTo>
                <a:cubicBezTo>
                  <a:pt x="8042595" y="2343102"/>
                  <a:pt x="7586978" y="4513955"/>
                  <a:pt x="7133231" y="6727185"/>
                </a:cubicBezTo>
                <a:cubicBezTo>
                  <a:pt x="7099375" y="6882960"/>
                  <a:pt x="7393206" y="6860399"/>
                  <a:pt x="7228246" y="6863591"/>
                </a:cubicBezTo>
                <a:lnTo>
                  <a:pt x="0" y="6860435"/>
                </a:lnTo>
                <a:lnTo>
                  <a:pt x="0" y="2411"/>
                </a:lnTo>
                <a:close/>
                <a:moveTo>
                  <a:pt x="8653439" y="795"/>
                </a:moveTo>
                <a:cubicBezTo>
                  <a:pt x="8680982" y="178"/>
                  <a:pt x="8722288" y="5989"/>
                  <a:pt x="8704712" y="5989"/>
                </a:cubicBezTo>
                <a:lnTo>
                  <a:pt x="8661387" y="0"/>
                </a:lnTo>
                <a:lnTo>
                  <a:pt x="8671517" y="3033"/>
                </a:lnTo>
                <a:cubicBezTo>
                  <a:pt x="8682750" y="1654"/>
                  <a:pt x="8644258" y="1000"/>
                  <a:pt x="8653439" y="795"/>
                </a:cubicBezTo>
                <a:close/>
              </a:path>
            </a:pathLst>
          </a:custGeom>
        </p:spPr>
        <p:txBody>
          <a:bodyPr wrap="square" lIns="396000">
            <a:noAutofit/>
          </a:bodyPr>
          <a:lstStyle>
            <a:lvl1pPr marL="144000" indent="-144000">
              <a:buClr>
                <a:schemeClr val="accent1"/>
              </a:buClr>
              <a:buSzPct val="80000"/>
              <a:buFont typeface="Wingdings" panose="05000000000000000000" pitchFamily="2" charset="2"/>
              <a:buChar char="§"/>
              <a:defRPr sz="2000">
                <a:latin typeface="Helvetica Light" panose="02000403040000020004" pitchFamily="2" charset="0"/>
              </a:defRPr>
            </a:lvl1pPr>
          </a:lstStyle>
          <a:p>
            <a:r>
              <a:rPr lang="de-DE"/>
              <a:t>Bild durch Klicken auf Symbol hinzufügen</a:t>
            </a:r>
          </a:p>
        </p:txBody>
      </p:sp>
      <p:sp>
        <p:nvSpPr>
          <p:cNvPr id="8" name="Textplatzhalter 15"/>
          <p:cNvSpPr>
            <a:spLocks noGrp="1"/>
          </p:cNvSpPr>
          <p:nvPr>
            <p:ph type="body" sz="quarter" idx="13" hasCustomPrompt="1"/>
          </p:nvPr>
        </p:nvSpPr>
        <p:spPr>
          <a:xfrm>
            <a:off x="10308468" y="4725144"/>
            <a:ext cx="1619944" cy="288000"/>
          </a:xfrm>
          <a:prstGeom prst="rect">
            <a:avLst/>
          </a:prstGeom>
        </p:spPr>
        <p:txBody>
          <a:bodyPr wrap="square" lIns="72000" tIns="32400" rIns="72000" bIns="0" anchor="t" anchorCtr="0">
            <a:normAutofit/>
          </a:bodyPr>
          <a:lstStyle>
            <a:lvl1pPr marL="0" indent="0" algn="l">
              <a:lnSpc>
                <a:spcPct val="120000"/>
              </a:lnSpc>
              <a:spcBef>
                <a:spcPts val="0"/>
              </a:spcBef>
              <a:buNone/>
              <a:defRPr sz="1400" b="0" baseline="0">
                <a:solidFill>
                  <a:schemeClr val="tx1"/>
                </a:solidFill>
                <a:latin typeface="Helvetica" panose="020B0604020202020204" pitchFamily="34" charset="0"/>
                <a:cs typeface="Helvetica" panose="020B0604020202020204" pitchFamily="34" charset="0"/>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Projektfunktion</a:t>
            </a:r>
          </a:p>
        </p:txBody>
      </p:sp>
      <p:sp>
        <p:nvSpPr>
          <p:cNvPr id="9" name="Textplatzhalter 15"/>
          <p:cNvSpPr>
            <a:spLocks noGrp="1"/>
          </p:cNvSpPr>
          <p:nvPr>
            <p:ph type="body" sz="quarter" idx="14" hasCustomPrompt="1"/>
          </p:nvPr>
        </p:nvSpPr>
        <p:spPr>
          <a:xfrm>
            <a:off x="7788188" y="5085184"/>
            <a:ext cx="2412268" cy="288000"/>
          </a:xfrm>
          <a:prstGeom prst="rect">
            <a:avLst/>
          </a:prstGeom>
        </p:spPr>
        <p:txBody>
          <a:bodyPr wrap="square" lIns="72000" tIns="36000" rIns="72000" bIns="36000">
            <a:normAutofit/>
          </a:bodyPr>
          <a:lstStyle>
            <a:lvl1pPr marL="0" indent="0" algn="l">
              <a:lnSpc>
                <a:spcPct val="120000"/>
              </a:lnSpc>
              <a:spcBef>
                <a:spcPts val="0"/>
              </a:spcBef>
              <a:buNone/>
              <a:defRPr sz="16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p>
        </p:txBody>
      </p:sp>
      <p:sp>
        <p:nvSpPr>
          <p:cNvPr id="10" name="Textplatzhalter 15"/>
          <p:cNvSpPr>
            <a:spLocks noGrp="1"/>
          </p:cNvSpPr>
          <p:nvPr>
            <p:ph type="body" sz="quarter" idx="15" hasCustomPrompt="1"/>
          </p:nvPr>
        </p:nvSpPr>
        <p:spPr>
          <a:xfrm>
            <a:off x="10308468" y="5085184"/>
            <a:ext cx="1619944" cy="288000"/>
          </a:xfrm>
          <a:prstGeom prst="rect">
            <a:avLst/>
          </a:prstGeom>
        </p:spPr>
        <p:txBody>
          <a:bodyPr wrap="square" lIns="72000" tIns="32400" rIns="72000" bIns="0">
            <a:normAutofit/>
          </a:bodyPr>
          <a:lstStyle>
            <a:lvl1pPr marL="0" indent="0" algn="l">
              <a:lnSpc>
                <a:spcPct val="120000"/>
              </a:lnSpc>
              <a:spcBef>
                <a:spcPts val="0"/>
              </a:spcBef>
              <a:buNone/>
              <a:defRPr sz="1400" b="0" baseline="0">
                <a:solidFill>
                  <a:schemeClr val="tx1"/>
                </a:solidFill>
                <a:latin typeface="Helvetica" panose="020B0604020202020204" pitchFamily="34" charset="0"/>
                <a:cs typeface="Helvetica" panose="020B0604020202020204" pitchFamily="34" charset="0"/>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Projektfunktion</a:t>
            </a:r>
          </a:p>
        </p:txBody>
      </p:sp>
      <p:sp>
        <p:nvSpPr>
          <p:cNvPr id="11" name="Text Box 6"/>
          <p:cNvSpPr txBox="1">
            <a:spLocks noChangeArrowheads="1"/>
          </p:cNvSpPr>
          <p:nvPr userDrawn="1">
            <p:custDataLst>
              <p:tags r:id="rId1"/>
            </p:custDataLst>
          </p:nvPr>
        </p:nvSpPr>
        <p:spPr bwMode="auto">
          <a:xfrm>
            <a:off x="9368857" y="1441870"/>
            <a:ext cx="2163747" cy="793750"/>
          </a:xfrm>
          <a:prstGeom prst="rect">
            <a:avLst/>
          </a:prstGeom>
          <a:noFill/>
          <a:ln w="9525">
            <a:noFill/>
            <a:miter lim="800000"/>
            <a:headEnd/>
            <a:tailEnd/>
          </a:ln>
        </p:spPr>
        <p:txBody>
          <a:bodyPr lIns="0" tIns="0" rIns="0" bIns="0" anchor="ctr">
            <a:prstTxWarp prst="textNoShape">
              <a:avLst/>
            </a:prstTxWarp>
          </a:bodyPr>
          <a:lstStyle/>
          <a:p>
            <a:pPr defTabSz="455613" eaLnBrk="0" hangingPunct="0">
              <a:lnSpc>
                <a:spcPct val="125000"/>
              </a:lnSpc>
              <a:buFont typeface="Wingdings" pitchFamily="33" charset="2"/>
              <a:buNone/>
            </a:pPr>
            <a:r>
              <a:rPr lang="de-DE" sz="1100" b="0" i="0">
                <a:solidFill>
                  <a:srgbClr val="000000"/>
                </a:solidFill>
                <a:latin typeface="Helvetica Light"/>
                <a:ea typeface="Arial Unicode MS" pitchFamily="33" charset="0"/>
                <a:cs typeface="Helvetica Light"/>
              </a:rPr>
              <a:t>c/o TU Berlin  </a:t>
            </a:r>
          </a:p>
          <a:p>
            <a:pPr defTabSz="455613" eaLnBrk="0" hangingPunct="0">
              <a:lnSpc>
                <a:spcPct val="125000"/>
              </a:lnSpc>
              <a:buFont typeface="Wingdings" pitchFamily="33" charset="2"/>
              <a:buNone/>
            </a:pPr>
            <a:r>
              <a:rPr lang="de-DE" sz="1100" b="0" i="0">
                <a:solidFill>
                  <a:srgbClr val="000000"/>
                </a:solidFill>
                <a:latin typeface="Helvetica Light"/>
                <a:ea typeface="Arial Unicode MS" pitchFamily="33" charset="0"/>
                <a:cs typeface="Helvetica Light"/>
              </a:rPr>
              <a:t>Straße des 17. Juni 137 </a:t>
            </a:r>
          </a:p>
          <a:p>
            <a:pPr defTabSz="455613" eaLnBrk="0" hangingPunct="0">
              <a:lnSpc>
                <a:spcPct val="125000"/>
              </a:lnSpc>
              <a:buFont typeface="Wingdings" pitchFamily="33" charset="2"/>
              <a:buNone/>
            </a:pPr>
            <a:r>
              <a:rPr lang="de-DE" sz="1100" b="0" i="0">
                <a:solidFill>
                  <a:srgbClr val="000000"/>
                </a:solidFill>
                <a:latin typeface="Helvetica Light"/>
                <a:ea typeface="Arial Unicode MS" pitchFamily="33" charset="0"/>
                <a:cs typeface="Helvetica Light"/>
              </a:rPr>
              <a:t>10623 Berlin</a:t>
            </a:r>
          </a:p>
        </p:txBody>
      </p:sp>
      <p:sp>
        <p:nvSpPr>
          <p:cNvPr id="6" name="Rechteck 5"/>
          <p:cNvSpPr/>
          <p:nvPr userDrawn="1"/>
        </p:nvSpPr>
        <p:spPr>
          <a:xfrm>
            <a:off x="8076220" y="3420000"/>
            <a:ext cx="3852000" cy="18000"/>
          </a:xfrm>
          <a:prstGeom prst="rect">
            <a:avLst/>
          </a:prstGeom>
          <a:solidFill>
            <a:schemeClr val="accent3">
              <a:lumMod val="7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200" err="1">
              <a:solidFill>
                <a:schemeClr val="bg1"/>
              </a:solidFill>
            </a:endParaRPr>
          </a:p>
        </p:txBody>
      </p:sp>
      <p:sp>
        <p:nvSpPr>
          <p:cNvPr id="23" name="Textplatzhalter 15"/>
          <p:cNvSpPr>
            <a:spLocks noGrp="1"/>
          </p:cNvSpPr>
          <p:nvPr>
            <p:ph type="body" sz="quarter" idx="16" hasCustomPrompt="1"/>
          </p:nvPr>
        </p:nvSpPr>
        <p:spPr>
          <a:xfrm>
            <a:off x="7788251" y="5439785"/>
            <a:ext cx="2412268" cy="288000"/>
          </a:xfrm>
          <a:prstGeom prst="rect">
            <a:avLst/>
          </a:prstGeom>
        </p:spPr>
        <p:txBody>
          <a:bodyPr wrap="square" lIns="72000" tIns="36000" rIns="72000" bIns="36000">
            <a:normAutofit/>
          </a:bodyPr>
          <a:lstStyle>
            <a:lvl1pPr marL="0" indent="0" algn="l">
              <a:lnSpc>
                <a:spcPct val="120000"/>
              </a:lnSpc>
              <a:spcBef>
                <a:spcPts val="0"/>
              </a:spcBef>
              <a:buNone/>
              <a:defRPr sz="16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p>
        </p:txBody>
      </p:sp>
      <p:sp>
        <p:nvSpPr>
          <p:cNvPr id="24" name="Textplatzhalter 15"/>
          <p:cNvSpPr>
            <a:spLocks noGrp="1"/>
          </p:cNvSpPr>
          <p:nvPr>
            <p:ph type="body" sz="quarter" idx="17" hasCustomPrompt="1"/>
          </p:nvPr>
        </p:nvSpPr>
        <p:spPr>
          <a:xfrm>
            <a:off x="10308531" y="5439785"/>
            <a:ext cx="1619944" cy="288000"/>
          </a:xfrm>
          <a:prstGeom prst="rect">
            <a:avLst/>
          </a:prstGeom>
        </p:spPr>
        <p:txBody>
          <a:bodyPr wrap="square" lIns="72000" tIns="32400" rIns="72000" bIns="0">
            <a:normAutofit/>
          </a:bodyPr>
          <a:lstStyle>
            <a:lvl1pPr marL="0" indent="0" algn="l">
              <a:lnSpc>
                <a:spcPct val="120000"/>
              </a:lnSpc>
              <a:spcBef>
                <a:spcPts val="0"/>
              </a:spcBef>
              <a:buNone/>
              <a:defRPr sz="1400" b="0" baseline="0">
                <a:solidFill>
                  <a:schemeClr val="tx1"/>
                </a:solidFill>
                <a:latin typeface="Helvetica" panose="020B0604020202020204" pitchFamily="34" charset="0"/>
                <a:cs typeface="Helvetica" panose="020B0604020202020204" pitchFamily="34" charset="0"/>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Projektfunktion</a:t>
            </a:r>
          </a:p>
        </p:txBody>
      </p:sp>
      <p:sp>
        <p:nvSpPr>
          <p:cNvPr id="27" name="Textplatzhalter 15"/>
          <p:cNvSpPr>
            <a:spLocks noGrp="1"/>
          </p:cNvSpPr>
          <p:nvPr>
            <p:ph type="body" sz="quarter" idx="18" hasCustomPrompt="1"/>
          </p:nvPr>
        </p:nvSpPr>
        <p:spPr>
          <a:xfrm>
            <a:off x="7788251" y="5799825"/>
            <a:ext cx="2412268" cy="288000"/>
          </a:xfrm>
          <a:prstGeom prst="rect">
            <a:avLst/>
          </a:prstGeom>
        </p:spPr>
        <p:txBody>
          <a:bodyPr wrap="square" lIns="72000" tIns="36000" rIns="72000" bIns="36000">
            <a:normAutofit/>
          </a:bodyPr>
          <a:lstStyle>
            <a:lvl1pPr marL="0" indent="0" algn="l">
              <a:lnSpc>
                <a:spcPct val="120000"/>
              </a:lnSpc>
              <a:spcBef>
                <a:spcPts val="0"/>
              </a:spcBef>
              <a:buNone/>
              <a:defRPr sz="16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p>
        </p:txBody>
      </p:sp>
      <p:sp>
        <p:nvSpPr>
          <p:cNvPr id="28" name="Textplatzhalter 15"/>
          <p:cNvSpPr>
            <a:spLocks noGrp="1"/>
          </p:cNvSpPr>
          <p:nvPr>
            <p:ph type="body" sz="quarter" idx="19" hasCustomPrompt="1"/>
          </p:nvPr>
        </p:nvSpPr>
        <p:spPr>
          <a:xfrm>
            <a:off x="10308531" y="5799825"/>
            <a:ext cx="1619944" cy="288000"/>
          </a:xfrm>
          <a:prstGeom prst="rect">
            <a:avLst/>
          </a:prstGeom>
        </p:spPr>
        <p:txBody>
          <a:bodyPr wrap="square" lIns="72000" tIns="32400" rIns="72000" bIns="0">
            <a:normAutofit/>
          </a:bodyPr>
          <a:lstStyle>
            <a:lvl1pPr marL="0" indent="0" algn="l">
              <a:lnSpc>
                <a:spcPct val="120000"/>
              </a:lnSpc>
              <a:spcBef>
                <a:spcPts val="0"/>
              </a:spcBef>
              <a:buNone/>
              <a:defRPr sz="1400" b="0" baseline="0">
                <a:solidFill>
                  <a:schemeClr val="tx1"/>
                </a:solidFill>
                <a:latin typeface="Helvetica" panose="020B0604020202020204" pitchFamily="34" charset="0"/>
                <a:cs typeface="Helvetica" panose="020B0604020202020204" pitchFamily="34" charset="0"/>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Projektfunktion</a:t>
            </a:r>
          </a:p>
        </p:txBody>
      </p:sp>
      <p:sp>
        <p:nvSpPr>
          <p:cNvPr id="29" name="Textplatzhalter 15"/>
          <p:cNvSpPr>
            <a:spLocks noGrp="1"/>
          </p:cNvSpPr>
          <p:nvPr>
            <p:ph type="body" sz="quarter" idx="20" hasCustomPrompt="1"/>
          </p:nvPr>
        </p:nvSpPr>
        <p:spPr>
          <a:xfrm>
            <a:off x="7788188" y="6156288"/>
            <a:ext cx="2412268" cy="288000"/>
          </a:xfrm>
          <a:prstGeom prst="rect">
            <a:avLst/>
          </a:prstGeom>
        </p:spPr>
        <p:txBody>
          <a:bodyPr wrap="square" lIns="72000" tIns="36000" rIns="72000" bIns="36000">
            <a:normAutofit/>
          </a:bodyPr>
          <a:lstStyle>
            <a:lvl1pPr marL="0" indent="0" algn="l">
              <a:lnSpc>
                <a:spcPct val="120000"/>
              </a:lnSpc>
              <a:spcBef>
                <a:spcPts val="0"/>
              </a:spcBef>
              <a:buNone/>
              <a:defRPr sz="1600" baseline="0">
                <a:solidFill>
                  <a:schemeClr val="tx1"/>
                </a:solidFill>
                <a:latin typeface="+mn-lt"/>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Vorname Nachname</a:t>
            </a:r>
          </a:p>
        </p:txBody>
      </p:sp>
      <p:sp>
        <p:nvSpPr>
          <p:cNvPr id="30" name="Textplatzhalter 15"/>
          <p:cNvSpPr>
            <a:spLocks noGrp="1"/>
          </p:cNvSpPr>
          <p:nvPr>
            <p:ph type="body" sz="quarter" idx="21" hasCustomPrompt="1"/>
          </p:nvPr>
        </p:nvSpPr>
        <p:spPr>
          <a:xfrm>
            <a:off x="10308468" y="6156288"/>
            <a:ext cx="1619944" cy="288000"/>
          </a:xfrm>
          <a:prstGeom prst="rect">
            <a:avLst/>
          </a:prstGeom>
        </p:spPr>
        <p:txBody>
          <a:bodyPr wrap="square" lIns="72000" tIns="32400" rIns="72000" bIns="0">
            <a:normAutofit/>
          </a:bodyPr>
          <a:lstStyle>
            <a:lvl1pPr marL="0" indent="0" algn="l">
              <a:lnSpc>
                <a:spcPct val="120000"/>
              </a:lnSpc>
              <a:spcBef>
                <a:spcPts val="0"/>
              </a:spcBef>
              <a:buNone/>
              <a:defRPr sz="1400" b="0" baseline="0">
                <a:solidFill>
                  <a:schemeClr val="tx1"/>
                </a:solidFill>
                <a:latin typeface="Helvetica" panose="020B0604020202020204" pitchFamily="34" charset="0"/>
                <a:cs typeface="Helvetica" panose="020B0604020202020204" pitchFamily="34" charset="0"/>
              </a:defRPr>
            </a:lvl1pPr>
            <a:lvl2pPr marL="457200" indent="0" algn="l">
              <a:buNone/>
              <a:defRPr sz="1200">
                <a:solidFill>
                  <a:schemeClr val="tx1"/>
                </a:solidFill>
                <a:latin typeface="+mn-lt"/>
              </a:defRPr>
            </a:lvl2pPr>
            <a:lvl3pPr marL="914400" indent="0" algn="l">
              <a:buNone/>
              <a:defRPr sz="1200">
                <a:solidFill>
                  <a:schemeClr val="tx1"/>
                </a:solidFill>
                <a:latin typeface="+mn-lt"/>
              </a:defRPr>
            </a:lvl3pPr>
            <a:lvl4pPr marL="1371600" indent="0" algn="l">
              <a:buNone/>
              <a:defRPr sz="1200">
                <a:solidFill>
                  <a:schemeClr val="tx1"/>
                </a:solidFill>
                <a:latin typeface="+mn-lt"/>
              </a:defRPr>
            </a:lvl4pPr>
            <a:lvl5pPr marL="1828800" indent="0" algn="l">
              <a:buNone/>
              <a:defRPr sz="1200">
                <a:solidFill>
                  <a:schemeClr val="tx1"/>
                </a:solidFill>
                <a:latin typeface="+mn-lt"/>
              </a:defRPr>
            </a:lvl5pPr>
          </a:lstStyle>
          <a:p>
            <a:pPr lvl="0"/>
            <a:r>
              <a:rPr lang="de-DE"/>
              <a:t>Projektfunktion</a:t>
            </a:r>
          </a:p>
        </p:txBody>
      </p:sp>
    </p:spTree>
    <p:extLst>
      <p:ext uri="{BB962C8B-B14F-4D97-AF65-F5344CB8AC3E}">
        <p14:creationId xmlns:p14="http://schemas.microsoft.com/office/powerpoint/2010/main" val="8038292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 Seite">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098" name="think-cell Folie" r:id="rId4" imgW="270" imgH="270" progId="TCLayout.ActiveDocument.1">
                  <p:embed/>
                </p:oleObj>
              </mc:Choice>
              <mc:Fallback>
                <p:oleObj name="think-cell Folie" r:id="rId4" imgW="270" imgH="270" progId="TCLayout.ActiveDocument.1">
                  <p:embed/>
                  <p:pic>
                    <p:nvPicPr>
                      <p:cNvPr id="31" name="Objekt 3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hteck 11"/>
          <p:cNvSpPr/>
          <p:nvPr userDrawn="1"/>
        </p:nvSpPr>
        <p:spPr>
          <a:xfrm>
            <a:off x="462000" y="6309320"/>
            <a:ext cx="11268000" cy="108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p>
        </p:txBody>
      </p:sp>
      <p:sp>
        <p:nvSpPr>
          <p:cNvPr id="16" name="Rechteck 15"/>
          <p:cNvSpPr/>
          <p:nvPr userDrawn="1"/>
        </p:nvSpPr>
        <p:spPr>
          <a:xfrm>
            <a:off x="462000" y="789908"/>
            <a:ext cx="11268000" cy="108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p>
        </p:txBody>
      </p:sp>
      <p:sp>
        <p:nvSpPr>
          <p:cNvPr id="17" name="Titel 6"/>
          <p:cNvSpPr>
            <a:spLocks noGrp="1"/>
          </p:cNvSpPr>
          <p:nvPr>
            <p:ph type="title" hasCustomPrompt="1"/>
          </p:nvPr>
        </p:nvSpPr>
        <p:spPr>
          <a:xfrm>
            <a:off x="534000" y="332656"/>
            <a:ext cx="11124000" cy="360040"/>
          </a:xfrm>
          <a:prstGeom prst="rect">
            <a:avLst/>
          </a:prstGeom>
        </p:spPr>
        <p:txBody>
          <a:bodyPr tIns="0" rIns="72000" bIns="0" anchor="ctr" anchorCtr="0"/>
          <a:lstStyle>
            <a:lvl1pPr algn="l">
              <a:defRPr sz="2000">
                <a:latin typeface="Helvetica Light" pitchFamily="2" charset="0"/>
              </a:defRPr>
            </a:lvl1pPr>
          </a:lstStyle>
          <a:p>
            <a:r>
              <a:rPr lang="en-US" err="1"/>
              <a:t>Mastertitelformat</a:t>
            </a:r>
            <a:r>
              <a:rPr lang="en-US"/>
              <a:t> </a:t>
            </a:r>
            <a:r>
              <a:rPr lang="en-US" err="1"/>
              <a:t>bearbeiten</a:t>
            </a:r>
            <a:endParaRPr lang="de-DE"/>
          </a:p>
        </p:txBody>
      </p:sp>
      <p:sp>
        <p:nvSpPr>
          <p:cNvPr id="18" name="Textplatzhalter 4"/>
          <p:cNvSpPr>
            <a:spLocks noGrp="1"/>
          </p:cNvSpPr>
          <p:nvPr>
            <p:ph type="body" sz="quarter" idx="10"/>
          </p:nvPr>
        </p:nvSpPr>
        <p:spPr>
          <a:xfrm>
            <a:off x="551384" y="960983"/>
            <a:ext cx="5975019" cy="307777"/>
          </a:xfrm>
          <a:prstGeom prst="rect">
            <a:avLst/>
          </a:prstGeom>
        </p:spPr>
        <p:txBody>
          <a:bodyPr>
            <a:noAutofit/>
          </a:bodyPr>
          <a:lstStyle>
            <a:lvl1pPr marL="0" indent="0">
              <a:buNone/>
              <a:defRPr lang="de-DE" sz="1400" kern="1200" cap="all" spc="110" baseline="0" dirty="0">
                <a:solidFill>
                  <a:srgbClr val="002869"/>
                </a:solidFill>
                <a:latin typeface="Helvetica Light"/>
                <a:ea typeface="+mn-ea"/>
                <a:cs typeface="+mn-cs"/>
              </a:defRPr>
            </a:lvl1pPr>
          </a:lstStyle>
          <a:p>
            <a:endParaRPr lang="de-DE"/>
          </a:p>
        </p:txBody>
      </p:sp>
      <p:sp>
        <p:nvSpPr>
          <p:cNvPr id="19" name="Textfeld 18"/>
          <p:cNvSpPr txBox="1"/>
          <p:nvPr userDrawn="1"/>
        </p:nvSpPr>
        <p:spPr>
          <a:xfrm>
            <a:off x="550800" y="6439562"/>
            <a:ext cx="781877" cy="255775"/>
          </a:xfrm>
          <a:prstGeom prst="rect">
            <a:avLst/>
          </a:prstGeom>
        </p:spPr>
        <p:txBody>
          <a:bodyPr tIns="46800" bIns="46800" anchor="b" anchorCtr="0"/>
          <a:lstStyle>
            <a:defPPr>
              <a:defRPr lang="de-DE"/>
            </a:defPPr>
            <a:lvl1pPr>
              <a:spcBef>
                <a:spcPct val="20000"/>
              </a:spcBef>
              <a:buFont typeface="Arial" pitchFamily="34" charset="0"/>
              <a:buNone/>
              <a:defRPr sz="1000">
                <a:latin typeface="Helvetica Light" pitchFamily="2" charset="0"/>
              </a:defRPr>
            </a:lvl1pPr>
          </a:lstStyle>
          <a:p>
            <a:pPr lvl="0"/>
            <a:r>
              <a:rPr lang="de-DE"/>
              <a:t>Seite </a:t>
            </a:r>
            <a:fld id="{DD608E45-DDF2-4823-A5F2-DA1D8F559DEE}" type="slidenum">
              <a:rPr lang="de-DE" smtClean="0"/>
              <a:pPr lvl="0"/>
              <a:t>‹#›</a:t>
            </a:fld>
            <a:endParaRPr lang="de-DE"/>
          </a:p>
        </p:txBody>
      </p:sp>
      <p:sp>
        <p:nvSpPr>
          <p:cNvPr id="20" name="Fußzeilenplatzhalter 4"/>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Tree>
    <p:extLst>
      <p:ext uri="{BB962C8B-B14F-4D97-AF65-F5344CB8AC3E}">
        <p14:creationId xmlns:p14="http://schemas.microsoft.com/office/powerpoint/2010/main" val="2889434674"/>
      </p:ext>
    </p:extLst>
  </p:cSld>
  <p:clrMapOvr>
    <a:masterClrMapping/>
  </p:clrMapOvr>
  <p:extLst>
    <p:ext uri="{DCECCB84-F9BA-43D5-87BE-67443E8EF086}">
      <p15:sldGuideLst xmlns:p15="http://schemas.microsoft.com/office/powerpoint/2012/main">
        <p15:guide id="1" pos="438">
          <p15:clr>
            <a:srgbClr val="A4A3A4"/>
          </p15:clr>
        </p15:guide>
        <p15:guide id="2" pos="7242">
          <p15:clr>
            <a:srgbClr val="A4A3A4"/>
          </p15:clr>
        </p15:guide>
        <p15:guide id="3" orient="horz" pos="3861">
          <p15:clr>
            <a:srgbClr val="A4A3A4"/>
          </p15:clr>
        </p15:guide>
        <p15:guide id="4" orient="horz" pos="2364">
          <p15:clr>
            <a:srgbClr val="A4A3A4"/>
          </p15:clr>
        </p15:guide>
        <p15:guide id="5" pos="3840">
          <p15:clr>
            <a:srgbClr val="A4A3A4"/>
          </p15:clr>
        </p15:guide>
        <p15:guide id="6" pos="3908">
          <p15:clr>
            <a:srgbClr val="A4A3A4"/>
          </p15:clr>
        </p15:guide>
        <p15:guide id="7" pos="377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Se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968043"/>
      </p:ext>
    </p:extLst>
  </p:cSld>
  <p:clrMapOvr>
    <a:masterClrMapping/>
  </p:clrMapOvr>
  <p:extLst>
    <p:ext uri="{DCECCB84-F9BA-43D5-87BE-67443E8EF086}">
      <p15:sldGuideLst xmlns:p15="http://schemas.microsoft.com/office/powerpoint/2012/main">
        <p15:guide id="1" pos="7242">
          <p15:clr>
            <a:srgbClr val="A4A3A4"/>
          </p15:clr>
        </p15:guide>
        <p15:guide id="2" orient="horz" pos="3861">
          <p15:clr>
            <a:srgbClr val="A4A3A4"/>
          </p15:clr>
        </p15:guide>
        <p15:guide id="3" orient="horz" pos="867">
          <p15:clr>
            <a:srgbClr val="A4A3A4"/>
          </p15:clr>
        </p15:guide>
        <p15:guide id="4" pos="438">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ichtlinien Corporate Design 1/2">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6146" name="think-cell Folie" r:id="rId4" imgW="270" imgH="270" progId="TCLayout.ActiveDocument.1">
                  <p:embed/>
                </p:oleObj>
              </mc:Choice>
              <mc:Fallback>
                <p:oleObj name="think-cell Folie" r:id="rId4" imgW="270" imgH="270" progId="TCLayout.ActiveDocument.1">
                  <p:embed/>
                  <p:pic>
                    <p:nvPicPr>
                      <p:cNvPr id="31" name="Objekt 3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7" name="Gruppieren 26"/>
          <p:cNvGrpSpPr/>
          <p:nvPr userDrawn="1"/>
        </p:nvGrpSpPr>
        <p:grpSpPr>
          <a:xfrm>
            <a:off x="-5116258" y="-1039345"/>
            <a:ext cx="5685967" cy="2159604"/>
            <a:chOff x="-5116258" y="-1039345"/>
            <a:chExt cx="5685967" cy="2159604"/>
          </a:xfrm>
        </p:grpSpPr>
        <p:cxnSp>
          <p:nvCxnSpPr>
            <p:cNvPr id="53" name="Gewinkelte Verbindung 52"/>
            <p:cNvCxnSpPr>
              <a:stCxn id="52" idx="1"/>
            </p:cNvCxnSpPr>
            <p:nvPr userDrawn="1"/>
          </p:nvCxnSpPr>
          <p:spPr>
            <a:xfrm rot="16200000" flipH="1">
              <a:off x="-1349450" y="-798899"/>
              <a:ext cx="330351" cy="3507966"/>
            </a:xfrm>
            <a:prstGeom prst="bentConnector2">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2" name="Auf der gleichen Seite des Rechtecks liegende Ecken abrunden 51"/>
            <p:cNvSpPr/>
            <p:nvPr userDrawn="1"/>
          </p:nvSpPr>
          <p:spPr>
            <a:xfrm>
              <a:off x="-5116258" y="-1039345"/>
              <a:ext cx="4356000" cy="1829254"/>
            </a:xfrm>
            <a:prstGeom prst="round2SameRect">
              <a:avLst>
                <a:gd name="adj1" fmla="val 4166"/>
                <a:gd name="adj2" fmla="val 4166"/>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Aft>
                  <a:spcPts val="400"/>
                </a:spcAft>
              </a:pPr>
              <a:r>
                <a:rPr lang="de-DE" sz="2800" b="0">
                  <a:solidFill>
                    <a:schemeClr val="accent1"/>
                  </a:solidFill>
                  <a:latin typeface="Helvetica" panose="020B0604020202020204" pitchFamily="34" charset="0"/>
                  <a:cs typeface="Helvetica" panose="020B0604020202020204" pitchFamily="34" charset="0"/>
                </a:rPr>
                <a:t>Überschrift</a:t>
              </a:r>
              <a:br>
                <a:rPr lang="de-DE" sz="3200" b="0">
                  <a:solidFill>
                    <a:schemeClr val="accent1"/>
                  </a:solidFill>
                </a:rPr>
              </a:br>
              <a:r>
                <a:rPr lang="de-DE" sz="1600" b="0">
                  <a:solidFill>
                    <a:schemeClr val="tx1"/>
                  </a:solidFill>
                </a:rPr>
                <a:t>Schriftfarbe:		Akzent 1</a:t>
              </a:r>
              <a:br>
                <a:rPr lang="de-DE" sz="1600" b="0">
                  <a:solidFill>
                    <a:schemeClr val="tx1"/>
                  </a:solidFill>
                </a:rPr>
              </a:br>
              <a:r>
                <a:rPr lang="de-DE" sz="1600" b="0">
                  <a:solidFill>
                    <a:schemeClr val="tx1"/>
                  </a:solidFill>
                </a:rPr>
                <a:t>Schriftgrad: 		14</a:t>
              </a:r>
              <a:br>
                <a:rPr lang="de-DE" sz="1600" b="0">
                  <a:solidFill>
                    <a:schemeClr val="tx1"/>
                  </a:solidFill>
                </a:rPr>
              </a:br>
              <a:r>
                <a:rPr lang="de-DE" sz="1600" b="0">
                  <a:solidFill>
                    <a:schemeClr val="tx1"/>
                  </a:solidFill>
                </a:rPr>
                <a:t>Schriftstil: 			Großbuchstaben</a:t>
              </a:r>
              <a:br>
                <a:rPr lang="de-DE" sz="1600" b="0">
                  <a:solidFill>
                    <a:schemeClr val="tx1"/>
                  </a:solidFill>
                </a:rPr>
              </a:br>
              <a:r>
                <a:rPr lang="de-DE" sz="1600" b="0">
                  <a:solidFill>
                    <a:schemeClr val="tx1"/>
                  </a:solidFill>
                </a:rPr>
                <a:t>Inhalt: 					Bezug zum </a:t>
              </a:r>
              <a:r>
                <a:rPr lang="de-DE" sz="1600" b="0" err="1">
                  <a:solidFill>
                    <a:schemeClr val="tx1"/>
                  </a:solidFill>
                </a:rPr>
                <a:t>Agendapunkt</a:t>
              </a:r>
              <a:br>
                <a:rPr lang="de-DE" sz="1600" b="0">
                  <a:solidFill>
                    <a:schemeClr val="tx1"/>
                  </a:solidFill>
                </a:rPr>
              </a:br>
              <a:r>
                <a:rPr lang="de-DE" sz="1600" b="0">
                  <a:solidFill>
                    <a:schemeClr val="tx1"/>
                  </a:solidFill>
                </a:rPr>
                <a:t>								1 Zeile</a:t>
              </a:r>
            </a:p>
          </p:txBody>
        </p:sp>
      </p:grpSp>
      <p:sp>
        <p:nvSpPr>
          <p:cNvPr id="73" name="Auf der gleichen Seite des Rechtecks liegende Ecken abrunden 72"/>
          <p:cNvSpPr/>
          <p:nvPr userDrawn="1"/>
        </p:nvSpPr>
        <p:spPr>
          <a:xfrm>
            <a:off x="6203950" y="8252944"/>
            <a:ext cx="5986850" cy="936000"/>
          </a:xfrm>
          <a:prstGeom prst="round2SameRect">
            <a:avLst>
              <a:gd name="adj1" fmla="val 8141"/>
              <a:gd name="adj2" fmla="val 8141"/>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Aft>
                <a:spcPts val="400"/>
              </a:spcAft>
            </a:pPr>
            <a:r>
              <a:rPr lang="de-DE" sz="2800" b="0">
                <a:solidFill>
                  <a:schemeClr val="accent1"/>
                </a:solidFill>
                <a:latin typeface="Helvetica" panose="020B0604020202020204" pitchFamily="34" charset="0"/>
                <a:cs typeface="Helvetica" panose="020B0604020202020204" pitchFamily="34" charset="0"/>
              </a:rPr>
              <a:t>Bulletpoints</a:t>
            </a:r>
            <a:br>
              <a:rPr lang="de-DE" sz="3200" b="0">
                <a:solidFill>
                  <a:schemeClr val="accent1"/>
                </a:solidFill>
              </a:rPr>
            </a:br>
            <a:r>
              <a:rPr lang="de-DE" sz="1600" b="0">
                <a:solidFill>
                  <a:schemeClr val="tx1"/>
                </a:solidFill>
              </a:rPr>
              <a:t>Grafik als</a:t>
            </a:r>
            <a:r>
              <a:rPr lang="de-DE" sz="1600" b="0" baseline="0">
                <a:solidFill>
                  <a:schemeClr val="tx1"/>
                </a:solidFill>
              </a:rPr>
              <a:t> Bild verwenden</a:t>
            </a:r>
            <a:br>
              <a:rPr lang="de-DE" sz="1600" b="0">
                <a:solidFill>
                  <a:schemeClr val="tx1"/>
                </a:solidFill>
              </a:rPr>
            </a:br>
            <a:r>
              <a:rPr lang="de-DE" sz="1600" b="0">
                <a:solidFill>
                  <a:schemeClr val="tx1"/>
                </a:solidFill>
              </a:rPr>
              <a:t>Größe:		 80% des Textes</a:t>
            </a:r>
          </a:p>
        </p:txBody>
      </p:sp>
      <p:sp>
        <p:nvSpPr>
          <p:cNvPr id="75" name="Rechteck 74"/>
          <p:cNvSpPr/>
          <p:nvPr userDrawn="1"/>
        </p:nvSpPr>
        <p:spPr>
          <a:xfrm>
            <a:off x="103312" y="-388303"/>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6" name="Rechteck 75"/>
          <p:cNvSpPr/>
          <p:nvPr userDrawn="1"/>
        </p:nvSpPr>
        <p:spPr>
          <a:xfrm>
            <a:off x="10904319" y="-388303"/>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7" name="Rechteck 76"/>
          <p:cNvSpPr/>
          <p:nvPr userDrawn="1"/>
        </p:nvSpPr>
        <p:spPr>
          <a:xfrm>
            <a:off x="10904319" y="6811138"/>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8" name="Rechteck 77"/>
          <p:cNvSpPr/>
          <p:nvPr userDrawn="1"/>
        </p:nvSpPr>
        <p:spPr>
          <a:xfrm>
            <a:off x="103312" y="6811138"/>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9" name="Rechteck 78"/>
          <p:cNvSpPr/>
          <p:nvPr userDrawn="1"/>
        </p:nvSpPr>
        <p:spPr>
          <a:xfrm>
            <a:off x="11956552" y="590104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7,5</a:t>
            </a:r>
          </a:p>
        </p:txBody>
      </p:sp>
      <p:sp>
        <p:nvSpPr>
          <p:cNvPr id="80" name="Rechteck 79"/>
          <p:cNvSpPr/>
          <p:nvPr userDrawn="1"/>
        </p:nvSpPr>
        <p:spPr>
          <a:xfrm>
            <a:off x="-980545" y="590104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7,5</a:t>
            </a:r>
          </a:p>
        </p:txBody>
      </p:sp>
      <p:sp>
        <p:nvSpPr>
          <p:cNvPr id="81" name="Rechteck 80"/>
          <p:cNvSpPr/>
          <p:nvPr userDrawn="1"/>
        </p:nvSpPr>
        <p:spPr>
          <a:xfrm>
            <a:off x="11956552" y="1143904"/>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5,7</a:t>
            </a:r>
          </a:p>
        </p:txBody>
      </p:sp>
      <p:sp>
        <p:nvSpPr>
          <p:cNvPr id="82" name="Rechteck 81"/>
          <p:cNvSpPr/>
          <p:nvPr userDrawn="1"/>
        </p:nvSpPr>
        <p:spPr>
          <a:xfrm>
            <a:off x="-980545" y="1143904"/>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5,7</a:t>
            </a:r>
          </a:p>
        </p:txBody>
      </p:sp>
      <p:sp>
        <p:nvSpPr>
          <p:cNvPr id="69" name="Rechteck 68"/>
          <p:cNvSpPr/>
          <p:nvPr userDrawn="1"/>
        </p:nvSpPr>
        <p:spPr>
          <a:xfrm>
            <a:off x="462000" y="6309320"/>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b="0"/>
          </a:p>
        </p:txBody>
      </p:sp>
      <p:sp>
        <p:nvSpPr>
          <p:cNvPr id="72" name="Rechteck 71"/>
          <p:cNvSpPr/>
          <p:nvPr userDrawn="1"/>
        </p:nvSpPr>
        <p:spPr>
          <a:xfrm>
            <a:off x="462000" y="789908"/>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b="0"/>
          </a:p>
        </p:txBody>
      </p:sp>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50800" y="6438365"/>
            <a:ext cx="786452" cy="292633"/>
          </a:xfrm>
          <a:prstGeom prst="rect">
            <a:avLst/>
          </a:prstGeom>
        </p:spPr>
      </p:pic>
      <p:pic>
        <p:nvPicPr>
          <p:cNvPr id="8" name="Grafik 7"/>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470664" y="321249"/>
            <a:ext cx="11160000" cy="540295"/>
          </a:xfrm>
          <a:prstGeom prst="rect">
            <a:avLst/>
          </a:prstGeom>
        </p:spPr>
      </p:pic>
      <p:pic>
        <p:nvPicPr>
          <p:cNvPr id="5" name="Grafik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9813" y="946775"/>
            <a:ext cx="5998984" cy="384081"/>
          </a:xfrm>
          <a:prstGeom prst="rect">
            <a:avLst/>
          </a:prstGeom>
        </p:spPr>
      </p:pic>
      <p:sp>
        <p:nvSpPr>
          <p:cNvPr id="105" name="Textfeld 104"/>
          <p:cNvSpPr txBox="1">
            <a:spLocks noChangeArrowheads="1"/>
          </p:cNvSpPr>
          <p:nvPr userDrawn="1"/>
        </p:nvSpPr>
        <p:spPr bwMode="auto">
          <a:xfrm>
            <a:off x="4320904" y="1808655"/>
            <a:ext cx="3546000" cy="1368000"/>
          </a:xfrm>
          <a:prstGeom prst="rect">
            <a:avLst/>
          </a:prstGeom>
          <a:noFill/>
          <a:ln w="6350">
            <a:solidFill>
              <a:schemeClr val="accent4"/>
            </a:solidFill>
            <a:prstDash val="solid"/>
            <a:miter lim="800000"/>
            <a:headEnd/>
            <a:tailEnd/>
          </a:ln>
        </p:spPr>
        <p:txBody>
          <a:bodyPr wrap="square" lIns="72000" rIns="72000">
            <a:noAutofit/>
          </a:bodyPr>
          <a:lstStyle/>
          <a:p>
            <a:pPr marL="144000" indent="-144000">
              <a:lnSpc>
                <a:spcPct val="125000"/>
              </a:lnSpc>
              <a:spcAft>
                <a:spcPts val="400"/>
              </a:spcAft>
              <a:buClr>
                <a:srgbClr val="002276"/>
              </a:buClr>
              <a:buSzPct val="80000"/>
            </a:pPr>
            <a:r>
              <a:rPr lang="de-DE" sz="1400" b="0">
                <a:solidFill>
                  <a:schemeClr val="accent1"/>
                </a:solidFill>
                <a:latin typeface="Helvetica" panose="020B0604020202020204" pitchFamily="34" charset="0"/>
                <a:ea typeface="Arial"/>
                <a:cs typeface="Helvetica" panose="020B0604020202020204" pitchFamily="34" charset="0"/>
              </a:rPr>
              <a:t>Optionale Überschrif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p:txBody>
      </p:sp>
      <p:sp>
        <p:nvSpPr>
          <p:cNvPr id="106" name="Eingekerbter Richtungspfeil 105"/>
          <p:cNvSpPr/>
          <p:nvPr userDrawn="1"/>
        </p:nvSpPr>
        <p:spPr>
          <a:xfrm>
            <a:off x="4320069" y="1376363"/>
            <a:ext cx="3727542" cy="360000"/>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b="0"/>
              <a:t>Phase</a:t>
            </a:r>
          </a:p>
        </p:txBody>
      </p:sp>
      <p:sp>
        <p:nvSpPr>
          <p:cNvPr id="107" name="Textfeld 106"/>
          <p:cNvSpPr txBox="1">
            <a:spLocks noChangeArrowheads="1"/>
          </p:cNvSpPr>
          <p:nvPr userDrawn="1"/>
        </p:nvSpPr>
        <p:spPr bwMode="auto">
          <a:xfrm>
            <a:off x="7950675" y="1808655"/>
            <a:ext cx="3546000" cy="1368000"/>
          </a:xfrm>
          <a:prstGeom prst="rect">
            <a:avLst/>
          </a:prstGeom>
          <a:noFill/>
          <a:ln w="6350">
            <a:solidFill>
              <a:schemeClr val="accent4"/>
            </a:solidFill>
            <a:prstDash val="solid"/>
            <a:miter lim="800000"/>
            <a:headEnd/>
            <a:tailEnd/>
          </a:ln>
        </p:spPr>
        <p:txBody>
          <a:bodyPr wrap="square" lIns="72000" rIns="72000">
            <a:noAutofit/>
          </a:bodyPr>
          <a:lstStyle>
            <a:defPPr>
              <a:defRPr lang="de-DE"/>
            </a:defPPr>
            <a:lvl1pPr marL="165600" indent="-165600">
              <a:lnSpc>
                <a:spcPct val="150000"/>
              </a:lnSpc>
              <a:spcAft>
                <a:spcPct val="50000"/>
              </a:spcAft>
              <a:buClr>
                <a:srgbClr val="002276"/>
              </a:buClr>
              <a:buSzPct val="80000"/>
              <a:buBlip>
                <a:blip r:embed="rId9"/>
              </a:buBlip>
              <a:defRPr sz="1400">
                <a:solidFill>
                  <a:srgbClr val="000000"/>
                </a:solidFill>
                <a:ea typeface="Arial"/>
                <a:cs typeface="Arial" pitchFamily="34" charset="0"/>
              </a:defRPr>
            </a:lvl1pPr>
          </a:lstStyle>
          <a:p>
            <a:pPr marL="144000" indent="-144000">
              <a:lnSpc>
                <a:spcPct val="125000"/>
              </a:lnSpc>
              <a:spcAft>
                <a:spcPts val="400"/>
              </a:spcAft>
              <a:buNone/>
            </a:pPr>
            <a:r>
              <a:rPr lang="de-DE" b="0">
                <a:solidFill>
                  <a:schemeClr val="accent1"/>
                </a:solidFill>
                <a:latin typeface="Helvetica" panose="020B0604020202020204" pitchFamily="34" charset="0"/>
                <a:cs typeface="Helvetica" panose="020B0604020202020204" pitchFamily="34" charset="0"/>
              </a:rPr>
              <a:t>Optionale Überschrift</a:t>
            </a:r>
          </a:p>
          <a:p>
            <a:pPr marL="144000" indent="-144000">
              <a:lnSpc>
                <a:spcPct val="125000"/>
              </a:lnSpc>
              <a:spcAft>
                <a:spcPts val="400"/>
              </a:spcAft>
              <a:buClr>
                <a:schemeClr val="accent1"/>
              </a:buClr>
              <a:buFont typeface="Wingdings" panose="05000000000000000000" pitchFamily="2" charset="2"/>
              <a:buChar char="§"/>
            </a:pPr>
            <a:r>
              <a:rPr lang="de-DE" b="0"/>
              <a:t>Text</a:t>
            </a:r>
          </a:p>
          <a:p>
            <a:pPr marL="144000" indent="-144000">
              <a:lnSpc>
                <a:spcPct val="125000"/>
              </a:lnSpc>
              <a:spcAft>
                <a:spcPts val="400"/>
              </a:spcAft>
              <a:buClr>
                <a:schemeClr val="accent1"/>
              </a:buClr>
              <a:buFont typeface="Wingdings" panose="05000000000000000000" pitchFamily="2" charset="2"/>
              <a:buChar char="§"/>
            </a:pPr>
            <a:r>
              <a:rPr lang="de-DE" b="0"/>
              <a:t>Text</a:t>
            </a:r>
          </a:p>
        </p:txBody>
      </p:sp>
      <p:grpSp>
        <p:nvGrpSpPr>
          <p:cNvPr id="108" name="Gruppieren 107"/>
          <p:cNvGrpSpPr/>
          <p:nvPr userDrawn="1"/>
        </p:nvGrpSpPr>
        <p:grpSpPr>
          <a:xfrm>
            <a:off x="695321" y="1376363"/>
            <a:ext cx="3725875" cy="360000"/>
            <a:chOff x="695325" y="1376363"/>
            <a:chExt cx="2738462" cy="360000"/>
          </a:xfrm>
        </p:grpSpPr>
        <p:sp>
          <p:nvSpPr>
            <p:cNvPr id="109" name="Auf der gleichen Seite des Rechtecks liegende Ecken abrunden 108"/>
            <p:cNvSpPr/>
            <p:nvPr/>
          </p:nvSpPr>
          <p:spPr>
            <a:xfrm>
              <a:off x="695325" y="1376363"/>
              <a:ext cx="586813" cy="360000"/>
            </a:xfrm>
            <a:prstGeom prst="round2SameRect">
              <a:avLst>
                <a:gd name="adj1" fmla="val 21167"/>
                <a:gd name="adj2" fmla="val 0"/>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200" b="0" err="1">
                <a:solidFill>
                  <a:schemeClr val="bg1"/>
                </a:solidFill>
              </a:endParaRPr>
            </a:p>
          </p:txBody>
        </p:sp>
        <p:sp>
          <p:nvSpPr>
            <p:cNvPr id="110" name="Richtungspfeil 109"/>
            <p:cNvSpPr/>
            <p:nvPr/>
          </p:nvSpPr>
          <p:spPr>
            <a:xfrm>
              <a:off x="804997" y="1376363"/>
              <a:ext cx="2628790" cy="360000"/>
            </a:xfrm>
            <a:prstGeom prst="homePlat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0" tIns="36000" rIns="108000" bIns="36000" rtlCol="0" anchor="ctr" anchorCtr="0"/>
            <a:lstStyle/>
            <a:p>
              <a:pPr algn="ctr"/>
              <a:r>
                <a:rPr lang="de-DE" sz="1400" b="0"/>
                <a:t>Startphase</a:t>
              </a:r>
            </a:p>
          </p:txBody>
        </p:sp>
      </p:grpSp>
      <p:sp>
        <p:nvSpPr>
          <p:cNvPr id="111" name="Textfeld 110"/>
          <p:cNvSpPr txBox="1">
            <a:spLocks noChangeArrowheads="1"/>
          </p:cNvSpPr>
          <p:nvPr userDrawn="1"/>
        </p:nvSpPr>
        <p:spPr bwMode="auto">
          <a:xfrm>
            <a:off x="695324" y="1808655"/>
            <a:ext cx="3546000" cy="2808975"/>
          </a:xfrm>
          <a:prstGeom prst="round2SameRect">
            <a:avLst>
              <a:gd name="adj1" fmla="val 0"/>
              <a:gd name="adj2" fmla="val 2713"/>
            </a:avLst>
          </a:prstGeom>
          <a:noFill/>
          <a:ln w="6350">
            <a:solidFill>
              <a:schemeClr val="accent4"/>
            </a:solidFill>
            <a:prstDash val="solid"/>
            <a:miter lim="800000"/>
            <a:headEnd/>
            <a:tailEnd/>
          </a:ln>
        </p:spPr>
        <p:txBody>
          <a:bodyPr wrap="square" lIns="54000" rIns="72000">
            <a:noAutofit/>
          </a:bodyPr>
          <a:lstStyle/>
          <a:p>
            <a:pPr marL="144000" indent="-144000">
              <a:lnSpc>
                <a:spcPct val="125000"/>
              </a:lnSpc>
              <a:spcAft>
                <a:spcPts val="400"/>
              </a:spcAft>
              <a:buClr>
                <a:srgbClr val="002276"/>
              </a:buClr>
              <a:buSzPct val="80000"/>
            </a:pPr>
            <a:r>
              <a:rPr lang="de-DE" sz="1400" b="0">
                <a:solidFill>
                  <a:schemeClr val="accent1"/>
                </a:solidFill>
                <a:latin typeface="Helvetica" panose="020B0604020202020204" pitchFamily="34" charset="0"/>
                <a:ea typeface="Arial"/>
                <a:cs typeface="Helvetica" panose="020B0604020202020204" pitchFamily="34" charset="0"/>
              </a:rPr>
              <a:t>Optionale Überschrif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p:txBody>
      </p:sp>
      <p:sp>
        <p:nvSpPr>
          <p:cNvPr id="112" name="Textfeld 111"/>
          <p:cNvSpPr txBox="1">
            <a:spLocks noChangeArrowheads="1"/>
          </p:cNvSpPr>
          <p:nvPr userDrawn="1"/>
        </p:nvSpPr>
        <p:spPr bwMode="auto">
          <a:xfrm>
            <a:off x="4320904" y="3249630"/>
            <a:ext cx="3546000" cy="1368000"/>
          </a:xfrm>
          <a:prstGeom prst="round2SameRect">
            <a:avLst>
              <a:gd name="adj1" fmla="val 0"/>
              <a:gd name="adj2" fmla="val 5570"/>
            </a:avLst>
          </a:prstGeom>
          <a:noFill/>
          <a:ln w="6350">
            <a:solidFill>
              <a:schemeClr val="accent4"/>
            </a:solidFill>
            <a:prstDash val="solid"/>
            <a:miter lim="800000"/>
            <a:headEnd/>
            <a:tailEnd/>
          </a:ln>
        </p:spPr>
        <p:txBody>
          <a:bodyPr wrap="square" lIns="54000" rIns="72000">
            <a:noAutofit/>
          </a:bodyPr>
          <a:lstStyle/>
          <a:p>
            <a:pPr marL="144000" marR="0" indent="-144000" algn="l" defTabSz="914400" rtl="0" eaLnBrk="1" fontAlgn="auto" latinLnBrk="0" hangingPunct="1">
              <a:lnSpc>
                <a:spcPct val="125000"/>
              </a:lnSpc>
              <a:spcBef>
                <a:spcPts val="0"/>
              </a:spcBef>
              <a:spcAft>
                <a:spcPts val="400"/>
              </a:spcAft>
              <a:buClr>
                <a:srgbClr val="002276"/>
              </a:buClr>
              <a:buSzPct val="80000"/>
              <a:buFontTx/>
              <a:buNone/>
              <a:tabLst/>
              <a:defRPr/>
            </a:pPr>
            <a:r>
              <a:rPr lang="de-DE" sz="1400" b="0">
                <a:solidFill>
                  <a:schemeClr val="accent1"/>
                </a:solidFill>
                <a:latin typeface="Helvetica" panose="020B0604020202020204" pitchFamily="34" charset="0"/>
                <a:cs typeface="Helvetica" panose="020B0604020202020204" pitchFamily="34" charset="0"/>
              </a:rPr>
              <a:t>Optionale Überschrift</a:t>
            </a:r>
          </a:p>
          <a:p>
            <a:pPr marL="144000" indent="-144000">
              <a:lnSpc>
                <a:spcPct val="125000"/>
              </a:lnSpc>
              <a:spcAft>
                <a:spcPts val="400"/>
              </a:spcAft>
              <a:buClr>
                <a:schemeClr val="accent1"/>
              </a:buClr>
              <a:buSzPct val="80000"/>
              <a:buFont typeface="Wingdings" panose="05000000000000000000" pitchFamily="2" charset="2"/>
              <a:buChar char="§"/>
            </a:pPr>
            <a:r>
              <a:rPr lang="de-DE" sz="1400" b="0">
                <a:solidFill>
                  <a:srgbClr val="000000"/>
                </a:solidFill>
                <a:ea typeface="Arial"/>
                <a:cs typeface="Arial" pitchFamily="34" charset="0"/>
              </a:rPr>
              <a:t>Text</a:t>
            </a:r>
          </a:p>
          <a:p>
            <a:pPr marL="144000" indent="-144000">
              <a:lnSpc>
                <a:spcPct val="125000"/>
              </a:lnSpc>
              <a:spcAft>
                <a:spcPts val="400"/>
              </a:spcAft>
              <a:buClr>
                <a:srgbClr val="002276"/>
              </a:buClr>
              <a:buSzPct val="80000"/>
            </a:pPr>
            <a:endParaRPr lang="de-DE" sz="1400" b="0">
              <a:solidFill>
                <a:srgbClr val="000000"/>
              </a:solidFill>
              <a:ea typeface="Arial"/>
              <a:cs typeface="Arial" pitchFamily="34" charset="0"/>
            </a:endParaRPr>
          </a:p>
        </p:txBody>
      </p:sp>
      <p:sp>
        <p:nvSpPr>
          <p:cNvPr id="113" name="Textfeld 112"/>
          <p:cNvSpPr txBox="1">
            <a:spLocks noChangeArrowheads="1"/>
          </p:cNvSpPr>
          <p:nvPr userDrawn="1"/>
        </p:nvSpPr>
        <p:spPr bwMode="auto">
          <a:xfrm>
            <a:off x="7950675" y="3249630"/>
            <a:ext cx="3546000" cy="1368000"/>
          </a:xfrm>
          <a:prstGeom prst="round2SameRect">
            <a:avLst>
              <a:gd name="adj1" fmla="val 0"/>
              <a:gd name="adj2" fmla="val 5570"/>
            </a:avLst>
          </a:prstGeom>
          <a:noFill/>
          <a:ln w="6350">
            <a:solidFill>
              <a:schemeClr val="accent4"/>
            </a:solidFill>
            <a:prstDash val="solid"/>
            <a:miter lim="800000"/>
            <a:headEnd/>
            <a:tailEnd/>
          </a:ln>
        </p:spPr>
        <p:txBody>
          <a:bodyPr wrap="square" lIns="54000" rIns="72000">
            <a:noAutofit/>
          </a:bodyPr>
          <a:lstStyle>
            <a:defPPr>
              <a:defRPr lang="de-DE"/>
            </a:defPPr>
            <a:lvl1pPr marL="165600" indent="-165600">
              <a:lnSpc>
                <a:spcPct val="150000"/>
              </a:lnSpc>
              <a:spcAft>
                <a:spcPct val="50000"/>
              </a:spcAft>
              <a:buClr>
                <a:srgbClr val="002276"/>
              </a:buClr>
              <a:buSzPct val="80000"/>
              <a:buBlip>
                <a:blip r:embed="rId9"/>
              </a:buBlip>
              <a:defRPr sz="1400">
                <a:solidFill>
                  <a:srgbClr val="000000"/>
                </a:solidFill>
                <a:ea typeface="Arial"/>
                <a:cs typeface="Arial" pitchFamily="34" charset="0"/>
              </a:defRPr>
            </a:lvl1pPr>
          </a:lstStyle>
          <a:p>
            <a:pPr marL="144000" indent="-144000">
              <a:lnSpc>
                <a:spcPct val="125000"/>
              </a:lnSpc>
              <a:spcAft>
                <a:spcPts val="400"/>
              </a:spcAft>
              <a:buNone/>
            </a:pPr>
            <a:r>
              <a:rPr lang="de-DE" b="0">
                <a:solidFill>
                  <a:schemeClr val="accent1"/>
                </a:solidFill>
                <a:latin typeface="Helvetica" panose="020B0604020202020204" pitchFamily="34" charset="0"/>
                <a:cs typeface="Helvetica" panose="020B0604020202020204" pitchFamily="34" charset="0"/>
              </a:rPr>
              <a:t>Optionale Überschrift</a:t>
            </a:r>
          </a:p>
          <a:p>
            <a:pPr marL="144000" indent="-144000">
              <a:lnSpc>
                <a:spcPct val="125000"/>
              </a:lnSpc>
              <a:spcAft>
                <a:spcPts val="400"/>
              </a:spcAft>
              <a:buClr>
                <a:schemeClr val="accent1"/>
              </a:buClr>
              <a:buFont typeface="Wingdings" panose="05000000000000000000" pitchFamily="2" charset="2"/>
              <a:buChar char="§"/>
            </a:pPr>
            <a:r>
              <a:rPr lang="de-DE" b="0"/>
              <a:t>Text</a:t>
            </a:r>
          </a:p>
          <a:p>
            <a:pPr marL="144000" indent="-144000">
              <a:lnSpc>
                <a:spcPct val="125000"/>
              </a:lnSpc>
              <a:spcAft>
                <a:spcPts val="400"/>
              </a:spcAft>
            </a:pPr>
            <a:endParaRPr lang="de-DE" b="0"/>
          </a:p>
        </p:txBody>
      </p:sp>
      <p:sp>
        <p:nvSpPr>
          <p:cNvPr id="114" name="Textfeld 113"/>
          <p:cNvSpPr txBox="1">
            <a:spLocks noChangeArrowheads="1"/>
          </p:cNvSpPr>
          <p:nvPr userDrawn="1"/>
        </p:nvSpPr>
        <p:spPr bwMode="auto">
          <a:xfrm>
            <a:off x="695321" y="5121338"/>
            <a:ext cx="3546000" cy="1008000"/>
          </a:xfrm>
          <a:prstGeom prst="round2SameRect">
            <a:avLst>
              <a:gd name="adj1" fmla="val 7631"/>
              <a:gd name="adj2" fmla="val 7631"/>
            </a:avLst>
          </a:prstGeom>
          <a:noFill/>
          <a:ln w="6350">
            <a:solidFill>
              <a:schemeClr val="accent4"/>
            </a:solidFill>
            <a:prstDash val="solid"/>
            <a:miter lim="800000"/>
            <a:headEnd/>
            <a:tailEnd/>
          </a:ln>
        </p:spPr>
        <p:txBody>
          <a:bodyPr wrap="square" lIns="54000" rIns="72000">
            <a:noAutofit/>
          </a:bodyPr>
          <a:lstStyle/>
          <a:p>
            <a:pPr marL="144000" indent="-144000">
              <a:lnSpc>
                <a:spcPct val="125000"/>
              </a:lnSpc>
              <a:spcAft>
                <a:spcPts val="400"/>
              </a:spcAft>
              <a:buClr>
                <a:srgbClr val="002276"/>
              </a:buClr>
              <a:buSzPct val="80000"/>
            </a:pPr>
            <a:r>
              <a:rPr lang="de-DE" sz="1400" b="0">
                <a:solidFill>
                  <a:schemeClr val="accent1"/>
                </a:solidFill>
                <a:latin typeface="Helvetica" panose="020B0604020202020204" pitchFamily="34" charset="0"/>
                <a:ea typeface="Arial"/>
                <a:cs typeface="Helvetica" panose="020B0604020202020204" pitchFamily="34" charset="0"/>
              </a:rPr>
              <a:t>Ergebnis:</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p:txBody>
      </p:sp>
      <p:sp>
        <p:nvSpPr>
          <p:cNvPr id="115" name="Textfeld 114"/>
          <p:cNvSpPr txBox="1">
            <a:spLocks noChangeArrowheads="1"/>
          </p:cNvSpPr>
          <p:nvPr userDrawn="1"/>
        </p:nvSpPr>
        <p:spPr bwMode="auto">
          <a:xfrm>
            <a:off x="4321671" y="5121338"/>
            <a:ext cx="3546000" cy="1008000"/>
          </a:xfrm>
          <a:prstGeom prst="round2SameRect">
            <a:avLst>
              <a:gd name="adj1" fmla="val 7631"/>
              <a:gd name="adj2" fmla="val 7631"/>
            </a:avLst>
          </a:prstGeom>
          <a:noFill/>
          <a:ln w="6350">
            <a:solidFill>
              <a:schemeClr val="accent4"/>
            </a:solidFill>
            <a:prstDash val="solid"/>
            <a:miter lim="800000"/>
            <a:headEnd/>
            <a:tailEnd/>
          </a:ln>
        </p:spPr>
        <p:txBody>
          <a:bodyPr wrap="square" lIns="54000" rIns="72000">
            <a:noAutofit/>
          </a:bodyPr>
          <a:lstStyle/>
          <a:p>
            <a:pPr marL="144000" indent="-144000">
              <a:lnSpc>
                <a:spcPct val="125000"/>
              </a:lnSpc>
              <a:spcAft>
                <a:spcPts val="400"/>
              </a:spcAft>
              <a:buClr>
                <a:srgbClr val="002276"/>
              </a:buClr>
              <a:buSzPct val="80000"/>
            </a:pPr>
            <a:r>
              <a:rPr lang="de-DE" sz="1400" b="0">
                <a:solidFill>
                  <a:schemeClr val="accent1"/>
                </a:solidFill>
                <a:latin typeface="Helvetica" panose="020B0604020202020204" pitchFamily="34" charset="0"/>
                <a:ea typeface="Arial"/>
                <a:cs typeface="Helvetica" panose="020B0604020202020204" pitchFamily="34" charset="0"/>
              </a:rPr>
              <a:t>Ergebnis:</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p:txBody>
      </p:sp>
      <p:sp>
        <p:nvSpPr>
          <p:cNvPr id="116" name="Textfeld 115"/>
          <p:cNvSpPr txBox="1">
            <a:spLocks noChangeArrowheads="1"/>
          </p:cNvSpPr>
          <p:nvPr userDrawn="1"/>
        </p:nvSpPr>
        <p:spPr bwMode="auto">
          <a:xfrm>
            <a:off x="7950675" y="5121338"/>
            <a:ext cx="3546000" cy="1008000"/>
          </a:xfrm>
          <a:prstGeom prst="round2SameRect">
            <a:avLst>
              <a:gd name="adj1" fmla="val 7631"/>
              <a:gd name="adj2" fmla="val 7631"/>
            </a:avLst>
          </a:prstGeom>
          <a:noFill/>
          <a:ln w="6350">
            <a:solidFill>
              <a:schemeClr val="accent4"/>
            </a:solidFill>
            <a:prstDash val="solid"/>
            <a:miter lim="800000"/>
            <a:headEnd/>
            <a:tailEnd/>
          </a:ln>
        </p:spPr>
        <p:txBody>
          <a:bodyPr wrap="square" lIns="54000" rIns="72000">
            <a:noAutofit/>
          </a:bodyPr>
          <a:lstStyle/>
          <a:p>
            <a:pPr marL="144000" indent="-144000">
              <a:lnSpc>
                <a:spcPct val="125000"/>
              </a:lnSpc>
              <a:spcAft>
                <a:spcPts val="400"/>
              </a:spcAft>
              <a:buClr>
                <a:srgbClr val="002276"/>
              </a:buClr>
              <a:buSzPct val="80000"/>
            </a:pPr>
            <a:r>
              <a:rPr lang="de-DE" sz="1400" b="0">
                <a:solidFill>
                  <a:schemeClr val="accent1"/>
                </a:solidFill>
                <a:latin typeface="Helvetica" panose="020B0604020202020204" pitchFamily="34" charset="0"/>
                <a:ea typeface="Arial"/>
                <a:cs typeface="Helvetica" panose="020B0604020202020204" pitchFamily="34" charset="0"/>
              </a:rPr>
              <a:t>Ergebnis:</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a:p>
            <a:pPr marL="144000" indent="-144000" algn="l" defTabSz="914400" rtl="0" eaLnBrk="1" latinLnBrk="0" hangingPunct="1">
              <a:lnSpc>
                <a:spcPct val="125000"/>
              </a:lnSpc>
              <a:spcAft>
                <a:spcPts val="400"/>
              </a:spcAft>
              <a:buClr>
                <a:schemeClr val="accent1"/>
              </a:buClr>
              <a:buSzPct val="80000"/>
              <a:buFont typeface="Wingdings" panose="05000000000000000000" pitchFamily="2" charset="2"/>
              <a:buChar char="§"/>
            </a:pPr>
            <a:r>
              <a:rPr lang="de-DE" sz="1400" b="0" kern="1200">
                <a:solidFill>
                  <a:srgbClr val="000000"/>
                </a:solidFill>
                <a:latin typeface="+mn-lt"/>
                <a:ea typeface="Arial"/>
                <a:cs typeface="Arial" pitchFamily="34" charset="0"/>
              </a:rPr>
              <a:t>Text</a:t>
            </a:r>
          </a:p>
        </p:txBody>
      </p:sp>
      <p:sp>
        <p:nvSpPr>
          <p:cNvPr id="117" name="Gleichschenkliges Dreieck 116"/>
          <p:cNvSpPr/>
          <p:nvPr userDrawn="1"/>
        </p:nvSpPr>
        <p:spPr>
          <a:xfrm flipV="1">
            <a:off x="1136321" y="4780800"/>
            <a:ext cx="2664000" cy="180000"/>
          </a:xfrm>
          <a:prstGeom prst="triangle">
            <a:avLst/>
          </a:prstGeom>
          <a:solidFill>
            <a:schemeClr val="accent4"/>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118" name="Gleichschenkliges Dreieck 117"/>
          <p:cNvSpPr/>
          <p:nvPr userDrawn="1"/>
        </p:nvSpPr>
        <p:spPr>
          <a:xfrm flipV="1">
            <a:off x="4762671" y="4780800"/>
            <a:ext cx="2664000" cy="180000"/>
          </a:xfrm>
          <a:prstGeom prst="triangle">
            <a:avLst/>
          </a:prstGeom>
          <a:solidFill>
            <a:schemeClr val="accent4"/>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119" name="Gleichschenkliges Dreieck 118"/>
          <p:cNvSpPr/>
          <p:nvPr userDrawn="1"/>
        </p:nvSpPr>
        <p:spPr>
          <a:xfrm flipV="1">
            <a:off x="8391675" y="4780800"/>
            <a:ext cx="2664000" cy="180000"/>
          </a:xfrm>
          <a:prstGeom prst="triangle">
            <a:avLst/>
          </a:prstGeom>
          <a:solidFill>
            <a:schemeClr val="accent4"/>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grpSp>
        <p:nvGrpSpPr>
          <p:cNvPr id="120" name="Gruppieren 119"/>
          <p:cNvGrpSpPr/>
          <p:nvPr userDrawn="1"/>
        </p:nvGrpSpPr>
        <p:grpSpPr>
          <a:xfrm>
            <a:off x="7946484" y="1376363"/>
            <a:ext cx="3550124" cy="360000"/>
            <a:chOff x="7968675" y="1376363"/>
            <a:chExt cx="3528348" cy="360000"/>
          </a:xfrm>
        </p:grpSpPr>
        <p:sp>
          <p:nvSpPr>
            <p:cNvPr id="121" name="Auf der gleichen Seite des Rechtecks liegende Ecken abrunden 120"/>
            <p:cNvSpPr/>
            <p:nvPr/>
          </p:nvSpPr>
          <p:spPr>
            <a:xfrm>
              <a:off x="10736138" y="1376363"/>
              <a:ext cx="760885" cy="360000"/>
            </a:xfrm>
            <a:prstGeom prst="round2SameRect">
              <a:avLst>
                <a:gd name="adj1" fmla="val 21167"/>
                <a:gd name="adj2" fmla="val 0"/>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200" b="0" err="1">
                <a:solidFill>
                  <a:schemeClr val="bg1"/>
                </a:solidFill>
              </a:endParaRPr>
            </a:p>
          </p:txBody>
        </p:sp>
        <p:sp>
          <p:nvSpPr>
            <p:cNvPr id="122" name="Eingekerbter Richtungspfeil 121"/>
            <p:cNvSpPr/>
            <p:nvPr/>
          </p:nvSpPr>
          <p:spPr>
            <a:xfrm>
              <a:off x="7968675" y="1376363"/>
              <a:ext cx="3384154" cy="360000"/>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108000" tIns="36000" rIns="0" bIns="36000" rtlCol="0" anchor="ctr" anchorCtr="0"/>
            <a:lstStyle/>
            <a:p>
              <a:pPr algn="ctr"/>
              <a:r>
                <a:rPr lang="de-DE" sz="1400" b="0"/>
                <a:t>Schlussphase</a:t>
              </a:r>
            </a:p>
          </p:txBody>
        </p:sp>
      </p:grpSp>
      <p:cxnSp>
        <p:nvCxnSpPr>
          <p:cNvPr id="62" name="Gerade Verbindung 117"/>
          <p:cNvCxnSpPr/>
          <p:nvPr userDrawn="1"/>
        </p:nvCxnSpPr>
        <p:spPr>
          <a:xfrm>
            <a:off x="0" y="1379038"/>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7" name="Gerade Verbindung 135"/>
          <p:cNvCxnSpPr/>
          <p:nvPr userDrawn="1"/>
        </p:nvCxnSpPr>
        <p:spPr>
          <a:xfrm>
            <a:off x="11324" y="6132707"/>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Gerade Verbindung 126"/>
          <p:cNvCxnSpPr/>
          <p:nvPr userDrawn="1"/>
        </p:nvCxnSpPr>
        <p:spPr>
          <a:xfrm>
            <a:off x="695325" y="-4198"/>
            <a:ext cx="0" cy="6862198"/>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83" name="Auf der gleichen Seite des Rechtecks liegende Ecken abrunden 82"/>
          <p:cNvSpPr/>
          <p:nvPr userDrawn="1"/>
        </p:nvSpPr>
        <p:spPr>
          <a:xfrm>
            <a:off x="6203950" y="7243200"/>
            <a:ext cx="5986850" cy="936000"/>
          </a:xfrm>
          <a:prstGeom prst="round2SameRect">
            <a:avLst>
              <a:gd name="adj1" fmla="val 8141"/>
              <a:gd name="adj2" fmla="val 8141"/>
            </a:avLst>
          </a:prstGeom>
          <a:solidFill>
            <a:schemeClr val="bg1"/>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a:spcAft>
                <a:spcPts val="400"/>
              </a:spcAft>
            </a:pPr>
            <a:r>
              <a:rPr lang="de-DE" sz="2800" b="0">
                <a:solidFill>
                  <a:schemeClr val="accent1"/>
                </a:solidFill>
                <a:latin typeface="Helvetica" panose="020B0604020202020204" pitchFamily="34" charset="0"/>
                <a:cs typeface="Helvetica" panose="020B0604020202020204" pitchFamily="34" charset="0"/>
              </a:rPr>
              <a:t>Schriftart</a:t>
            </a:r>
            <a:br>
              <a:rPr lang="de-DE" sz="3200" b="0">
                <a:solidFill>
                  <a:schemeClr val="accent1"/>
                </a:solidFill>
              </a:rPr>
            </a:br>
            <a:r>
              <a:rPr lang="de-DE" sz="1600" b="0">
                <a:solidFill>
                  <a:schemeClr val="tx1"/>
                </a:solidFill>
              </a:rPr>
              <a:t>Für</a:t>
            </a:r>
            <a:r>
              <a:rPr lang="de-DE" sz="1600" b="0" baseline="0">
                <a:solidFill>
                  <a:schemeClr val="tx1"/>
                </a:solidFill>
              </a:rPr>
              <a:t> „</a:t>
            </a:r>
            <a:r>
              <a:rPr lang="de-DE" sz="1600" b="0" baseline="0">
                <a:solidFill>
                  <a:schemeClr val="tx1"/>
                </a:solidFill>
                <a:latin typeface="Helvetica" panose="020B0604020202020204" pitchFamily="34" charset="0"/>
                <a:cs typeface="Helvetica" panose="020B0604020202020204" pitchFamily="34" charset="0"/>
              </a:rPr>
              <a:t>Fett“</a:t>
            </a:r>
            <a:r>
              <a:rPr lang="de-DE" sz="1600" b="0" baseline="0">
                <a:solidFill>
                  <a:schemeClr val="tx1"/>
                </a:solidFill>
              </a:rPr>
              <a:t> von Helvetica Light nutzt bitte einfaches </a:t>
            </a:r>
            <a:r>
              <a:rPr lang="de-DE" sz="1600" b="0" baseline="0">
                <a:solidFill>
                  <a:schemeClr val="tx1"/>
                </a:solidFill>
                <a:latin typeface="Helvetica" panose="020B0604020202020204" pitchFamily="34" charset="0"/>
                <a:cs typeface="Helvetica" panose="020B0604020202020204" pitchFamily="34" charset="0"/>
              </a:rPr>
              <a:t>Helvetica</a:t>
            </a:r>
            <a:endParaRPr lang="de-DE" sz="1600" b="0">
              <a:solidFill>
                <a:schemeClr val="tx1"/>
              </a:solidFill>
              <a:latin typeface="Helvetica" panose="020B0604020202020204" pitchFamily="34" charset="0"/>
              <a:cs typeface="Helvetica" panose="020B0604020202020204" pitchFamily="34" charset="0"/>
            </a:endParaRPr>
          </a:p>
        </p:txBody>
      </p:sp>
      <p:sp>
        <p:nvSpPr>
          <p:cNvPr id="71" name="Auf der gleichen Seite des Rechtecks liegende Ecken abrunden 70"/>
          <p:cNvSpPr/>
          <p:nvPr userDrawn="1"/>
        </p:nvSpPr>
        <p:spPr>
          <a:xfrm>
            <a:off x="6888224" y="-1039346"/>
            <a:ext cx="1224000" cy="432000"/>
          </a:xfrm>
          <a:prstGeom prst="round2SameRect">
            <a:avLst>
              <a:gd name="adj1" fmla="val 17639"/>
              <a:gd name="adj2" fmla="val 17639"/>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1 </a:t>
            </a:r>
            <a:br>
              <a:rPr lang="de-DE" sz="1100" b="0"/>
            </a:br>
            <a:r>
              <a:rPr lang="de-DE" sz="1000" b="0"/>
              <a:t>(RGB 30,70,125)</a:t>
            </a:r>
          </a:p>
        </p:txBody>
      </p:sp>
      <p:sp>
        <p:nvSpPr>
          <p:cNvPr id="74" name="Auf der gleichen Seite des Rechtecks liegende Ecken abrunden 73"/>
          <p:cNvSpPr/>
          <p:nvPr userDrawn="1"/>
        </p:nvSpPr>
        <p:spPr>
          <a:xfrm>
            <a:off x="6888224" y="-531392"/>
            <a:ext cx="1224000" cy="432000"/>
          </a:xfrm>
          <a:prstGeom prst="round2SameRect">
            <a:avLst>
              <a:gd name="adj1" fmla="val 17639"/>
              <a:gd name="adj2" fmla="val 17639"/>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2 </a:t>
            </a:r>
            <a:br>
              <a:rPr lang="de-DE" sz="1100" b="0"/>
            </a:br>
            <a:r>
              <a:rPr lang="de-DE" sz="1000" b="0"/>
              <a:t>(RGB 255,100,0)</a:t>
            </a:r>
          </a:p>
        </p:txBody>
      </p:sp>
      <p:sp>
        <p:nvSpPr>
          <p:cNvPr id="86" name="Auf der gleichen Seite des Rechtecks liegende Ecken abrunden 85"/>
          <p:cNvSpPr/>
          <p:nvPr userDrawn="1"/>
        </p:nvSpPr>
        <p:spPr>
          <a:xfrm>
            <a:off x="8247749" y="-1039346"/>
            <a:ext cx="1224000" cy="432000"/>
          </a:xfrm>
          <a:prstGeom prst="round2SameRect">
            <a:avLst>
              <a:gd name="adj1" fmla="val 17639"/>
              <a:gd name="adj2" fmla="val 17639"/>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bg1"/>
                </a:solidFill>
                <a:latin typeface="Helvetica" panose="020B0604020202020204" pitchFamily="34" charset="0"/>
                <a:cs typeface="Helvetica" panose="020B0604020202020204" pitchFamily="34" charset="0"/>
              </a:rPr>
              <a:t>Akzent 3</a:t>
            </a:r>
            <a:br>
              <a:rPr lang="de-DE" sz="1100" b="0">
                <a:solidFill>
                  <a:schemeClr val="bg1"/>
                </a:solidFill>
              </a:rPr>
            </a:br>
            <a:r>
              <a:rPr lang="de-DE" sz="1000" b="0">
                <a:solidFill>
                  <a:schemeClr val="bg1"/>
                </a:solidFill>
              </a:rPr>
              <a:t>(RGB 62,138,131)</a:t>
            </a:r>
            <a:endParaRPr lang="de-DE" sz="1100" b="0">
              <a:solidFill>
                <a:schemeClr val="bg1"/>
              </a:solidFill>
            </a:endParaRPr>
          </a:p>
        </p:txBody>
      </p:sp>
      <p:sp>
        <p:nvSpPr>
          <p:cNvPr id="87" name="Auf der gleichen Seite des Rechtecks liegende Ecken abrunden 86"/>
          <p:cNvSpPr/>
          <p:nvPr userDrawn="1"/>
        </p:nvSpPr>
        <p:spPr>
          <a:xfrm>
            <a:off x="8247749" y="-531392"/>
            <a:ext cx="1224000" cy="432000"/>
          </a:xfrm>
          <a:prstGeom prst="round2SameRect">
            <a:avLst>
              <a:gd name="adj1" fmla="val 17639"/>
              <a:gd name="adj2" fmla="val 17639"/>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tx1"/>
                </a:solidFill>
                <a:latin typeface="Helvetica" panose="020B0604020202020204" pitchFamily="34" charset="0"/>
                <a:cs typeface="Helvetica" panose="020B0604020202020204" pitchFamily="34" charset="0"/>
              </a:rPr>
              <a:t>Akzent 4 </a:t>
            </a:r>
            <a:br>
              <a:rPr lang="de-DE" sz="1100" b="0">
                <a:solidFill>
                  <a:schemeClr val="tx1"/>
                </a:solidFill>
              </a:rPr>
            </a:br>
            <a:r>
              <a:rPr lang="de-DE" sz="1000" b="0">
                <a:solidFill>
                  <a:schemeClr val="tx1"/>
                </a:solidFill>
              </a:rPr>
              <a:t>(RGB 165,165,165)</a:t>
            </a:r>
            <a:endParaRPr lang="de-DE" sz="1100" b="0">
              <a:solidFill>
                <a:schemeClr val="tx1"/>
              </a:solidFill>
            </a:endParaRPr>
          </a:p>
        </p:txBody>
      </p:sp>
      <p:sp>
        <p:nvSpPr>
          <p:cNvPr id="95" name="Auf der gleichen Seite des Rechtecks liegende Ecken abrunden 94"/>
          <p:cNvSpPr/>
          <p:nvPr userDrawn="1"/>
        </p:nvSpPr>
        <p:spPr>
          <a:xfrm>
            <a:off x="9607274" y="-1039346"/>
            <a:ext cx="1224000" cy="432000"/>
          </a:xfrm>
          <a:prstGeom prst="round2SameRect">
            <a:avLst>
              <a:gd name="adj1" fmla="val 17639"/>
              <a:gd name="adj2" fmla="val 17639"/>
            </a:avLst>
          </a:prstGeom>
          <a:solidFill>
            <a:schemeClr val="accent5"/>
          </a:solidFill>
          <a:ln>
            <a:solidFill>
              <a:schemeClr val="accent5"/>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5 </a:t>
            </a:r>
            <a:br>
              <a:rPr lang="de-DE" sz="1100" b="0"/>
            </a:br>
            <a:r>
              <a:rPr lang="de-DE" sz="1000" b="0"/>
              <a:t>(RGB 100,100,100)</a:t>
            </a:r>
            <a:endParaRPr lang="de-DE" sz="1100" b="0"/>
          </a:p>
        </p:txBody>
      </p:sp>
      <p:sp>
        <p:nvSpPr>
          <p:cNvPr id="96" name="Auf der gleichen Seite des Rechtecks liegende Ecken abrunden 95"/>
          <p:cNvSpPr/>
          <p:nvPr userDrawn="1"/>
        </p:nvSpPr>
        <p:spPr>
          <a:xfrm>
            <a:off x="9607274" y="-531392"/>
            <a:ext cx="1224000" cy="432000"/>
          </a:xfrm>
          <a:prstGeom prst="round2SameRect">
            <a:avLst>
              <a:gd name="adj1" fmla="val 17639"/>
              <a:gd name="adj2" fmla="val 17639"/>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tx1"/>
                </a:solidFill>
                <a:latin typeface="Helvetica" panose="020B0604020202020204" pitchFamily="34" charset="0"/>
                <a:cs typeface="Helvetica" panose="020B0604020202020204" pitchFamily="34" charset="0"/>
              </a:rPr>
              <a:t>Akzent 6 </a:t>
            </a:r>
            <a:br>
              <a:rPr lang="de-DE" sz="1100" b="0">
                <a:solidFill>
                  <a:schemeClr val="tx1"/>
                </a:solidFill>
              </a:rPr>
            </a:br>
            <a:r>
              <a:rPr lang="de-DE" sz="1000" b="0">
                <a:solidFill>
                  <a:schemeClr val="tx1"/>
                </a:solidFill>
              </a:rPr>
              <a:t>(RGB 255,255,255)</a:t>
            </a:r>
            <a:endParaRPr lang="de-DE" sz="1100" b="0">
              <a:solidFill>
                <a:schemeClr val="tx1"/>
              </a:solidFill>
            </a:endParaRPr>
          </a:p>
        </p:txBody>
      </p:sp>
      <p:sp>
        <p:nvSpPr>
          <p:cNvPr id="97" name="Auf der gleichen Seite des Rechtecks liegende Ecken abrunden 96"/>
          <p:cNvSpPr/>
          <p:nvPr userDrawn="1"/>
        </p:nvSpPr>
        <p:spPr>
          <a:xfrm>
            <a:off x="10966800" y="-1039346"/>
            <a:ext cx="1224000" cy="432000"/>
          </a:xfrm>
          <a:prstGeom prst="round2SameRect">
            <a:avLst>
              <a:gd name="adj1" fmla="val 17639"/>
              <a:gd name="adj2" fmla="val 17639"/>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Schwarz</a:t>
            </a:r>
            <a:br>
              <a:rPr lang="de-DE" sz="1100" b="0"/>
            </a:br>
            <a:r>
              <a:rPr lang="de-DE" sz="1000" b="0"/>
              <a:t>(RGB 0,0,0)</a:t>
            </a:r>
            <a:endParaRPr lang="de-DE" sz="1100" b="0"/>
          </a:p>
        </p:txBody>
      </p:sp>
      <p:grpSp>
        <p:nvGrpSpPr>
          <p:cNvPr id="6" name="Gruppieren 5"/>
          <p:cNvGrpSpPr/>
          <p:nvPr userDrawn="1"/>
        </p:nvGrpSpPr>
        <p:grpSpPr>
          <a:xfrm>
            <a:off x="10250595" y="-1040400"/>
            <a:ext cx="7058844" cy="1613941"/>
            <a:chOff x="10250595" y="-1040400"/>
            <a:chExt cx="7058844" cy="1613941"/>
          </a:xfrm>
        </p:grpSpPr>
        <p:cxnSp>
          <p:nvCxnSpPr>
            <p:cNvPr id="68" name="Gewinkelte Verbindung 67"/>
            <p:cNvCxnSpPr>
              <a:stCxn id="70" idx="1"/>
            </p:cNvCxnSpPr>
            <p:nvPr userDrawn="1"/>
          </p:nvCxnSpPr>
          <p:spPr>
            <a:xfrm rot="5400000">
              <a:off x="12561226" y="-1996672"/>
              <a:ext cx="259582" cy="4880844"/>
            </a:xfrm>
            <a:prstGeom prst="bentConnector2">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0" name="Auf der gleichen Seite des Rechtecks liegende Ecken abrunden 69"/>
            <p:cNvSpPr/>
            <p:nvPr userDrawn="1"/>
          </p:nvSpPr>
          <p:spPr>
            <a:xfrm>
              <a:off x="12953439" y="-1040400"/>
              <a:ext cx="4356000" cy="1354359"/>
            </a:xfrm>
            <a:prstGeom prst="round2SameRect">
              <a:avLst>
                <a:gd name="adj1" fmla="val 5626"/>
                <a:gd name="adj2" fmla="val 5626"/>
              </a:avLst>
            </a:prstGeom>
            <a:solidFill>
              <a:schemeClr val="bg1"/>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Aft>
                  <a:spcPts val="400"/>
                </a:spcAft>
              </a:pPr>
              <a:r>
                <a:rPr lang="de-DE" sz="2800" b="0">
                  <a:solidFill>
                    <a:schemeClr val="accent1"/>
                  </a:solidFill>
                  <a:latin typeface="Helvetica" panose="020B0604020202020204" pitchFamily="34" charset="0"/>
                  <a:cs typeface="Helvetica" panose="020B0604020202020204" pitchFamily="34" charset="0"/>
                </a:rPr>
                <a:t>Action Title</a:t>
              </a:r>
              <a:br>
                <a:rPr lang="de-DE" sz="3200" b="0">
                  <a:solidFill>
                    <a:schemeClr val="accent1"/>
                  </a:solidFill>
                </a:rPr>
              </a:br>
              <a:r>
                <a:rPr lang="de-DE" sz="1600" b="0">
                  <a:solidFill>
                    <a:schemeClr val="tx1"/>
                  </a:solidFill>
                </a:rPr>
                <a:t>Schriftfarbe:			Schwarz</a:t>
              </a:r>
              <a:br>
                <a:rPr lang="de-DE" sz="1600" b="0">
                  <a:solidFill>
                    <a:schemeClr val="tx1"/>
                  </a:solidFill>
                </a:rPr>
              </a:br>
              <a:r>
                <a:rPr lang="de-DE" sz="1600" b="0">
                  <a:solidFill>
                    <a:schemeClr val="tx1"/>
                  </a:solidFill>
                </a:rPr>
                <a:t>Schriftgrad:				20</a:t>
              </a:r>
              <a:br>
                <a:rPr lang="de-DE" sz="1600" b="0">
                  <a:solidFill>
                    <a:schemeClr val="tx1"/>
                  </a:solidFill>
                </a:rPr>
              </a:br>
              <a:r>
                <a:rPr lang="de-DE" sz="1600" b="0">
                  <a:solidFill>
                    <a:schemeClr val="tx1"/>
                  </a:solidFill>
                </a:rPr>
                <a:t>									1 Zeile</a:t>
              </a:r>
            </a:p>
          </p:txBody>
        </p:sp>
      </p:grpSp>
      <p:grpSp>
        <p:nvGrpSpPr>
          <p:cNvPr id="28" name="Gruppieren 27"/>
          <p:cNvGrpSpPr/>
          <p:nvPr userDrawn="1"/>
        </p:nvGrpSpPr>
        <p:grpSpPr>
          <a:xfrm>
            <a:off x="11562751" y="799925"/>
            <a:ext cx="5745518" cy="3347281"/>
            <a:chOff x="11562751" y="799925"/>
            <a:chExt cx="5745518" cy="3347281"/>
          </a:xfrm>
        </p:grpSpPr>
        <p:sp>
          <p:nvSpPr>
            <p:cNvPr id="55" name="Auf der gleichen Seite des Rechtecks liegende Ecken abrunden 54"/>
            <p:cNvSpPr/>
            <p:nvPr userDrawn="1"/>
          </p:nvSpPr>
          <p:spPr>
            <a:xfrm>
              <a:off x="12952269" y="799925"/>
              <a:ext cx="4356000" cy="3347281"/>
            </a:xfrm>
            <a:prstGeom prst="round2SameRect">
              <a:avLst>
                <a:gd name="adj1" fmla="val 2276"/>
                <a:gd name="adj2" fmla="val 2276"/>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Aft>
                  <a:spcPts val="400"/>
                </a:spcAft>
              </a:pPr>
              <a:r>
                <a:rPr lang="de-DE" sz="2800" b="0">
                  <a:solidFill>
                    <a:schemeClr val="accent1"/>
                  </a:solidFill>
                  <a:latin typeface="Helvetica" panose="020B0604020202020204" pitchFamily="34" charset="0"/>
                  <a:cs typeface="Helvetica" panose="020B0604020202020204" pitchFamily="34" charset="0"/>
                </a:rPr>
                <a:t>Box-Überschriften</a:t>
              </a:r>
              <a:br>
                <a:rPr lang="de-DE" sz="2800" b="0">
                  <a:solidFill>
                    <a:schemeClr val="accent1"/>
                  </a:solidFill>
                  <a:latin typeface="Helvetica" panose="020B0604020202020204" pitchFamily="34" charset="0"/>
                  <a:cs typeface="Helvetica" panose="020B0604020202020204" pitchFamily="34" charset="0"/>
                </a:rPr>
              </a:br>
              <a:r>
                <a:rPr lang="de-DE" sz="2000" b="0">
                  <a:solidFill>
                    <a:schemeClr val="accent1"/>
                  </a:solidFill>
                  <a:latin typeface="Helvetica" panose="020B0604020202020204" pitchFamily="34" charset="0"/>
                  <a:cs typeface="Helvetica" panose="020B0604020202020204" pitchFamily="34" charset="0"/>
                </a:rPr>
                <a:t>(hier Phasen)</a:t>
              </a:r>
            </a:p>
            <a:p>
              <a:pPr algn="l" defTabSz="180000">
                <a:spcAft>
                  <a:spcPts val="400"/>
                </a:spcAft>
              </a:pPr>
              <a:r>
                <a:rPr lang="de-DE" sz="1600" b="0">
                  <a:solidFill>
                    <a:schemeClr val="tx1"/>
                  </a:solidFill>
                </a:rPr>
                <a:t>Höhe: 							1,0 cm</a:t>
              </a:r>
              <a:br>
                <a:rPr lang="de-DE" sz="1600" b="0">
                  <a:solidFill>
                    <a:schemeClr val="tx1"/>
                  </a:solidFill>
                </a:rPr>
              </a:br>
              <a:r>
                <a:rPr lang="de-DE" sz="1600" b="0">
                  <a:solidFill>
                    <a:schemeClr val="tx1"/>
                  </a:solidFill>
                </a:rPr>
                <a:t>Farbe:							Akzent 1</a:t>
              </a:r>
              <a:br>
                <a:rPr lang="de-DE" sz="1600" b="0">
                  <a:solidFill>
                    <a:schemeClr val="tx1"/>
                  </a:solidFill>
                </a:rPr>
              </a:br>
              <a:r>
                <a:rPr lang="de-DE" sz="1600" b="0">
                  <a:solidFill>
                    <a:schemeClr val="tx1"/>
                  </a:solidFill>
                </a:rPr>
                <a:t>Schriftfarbe:				Akzent 6</a:t>
              </a:r>
              <a:br>
                <a:rPr lang="de-DE" sz="1600" b="0">
                  <a:solidFill>
                    <a:schemeClr val="tx1"/>
                  </a:solidFill>
                </a:rPr>
              </a:br>
              <a:r>
                <a:rPr lang="de-DE" sz="1600" b="0">
                  <a:solidFill>
                    <a:schemeClr val="tx1"/>
                  </a:solidFill>
                </a:rPr>
                <a:t>Schriftausrichtung: 	zentriert</a:t>
              </a:r>
              <a:br>
                <a:rPr lang="de-DE" sz="1600" b="0">
                  <a:solidFill>
                    <a:schemeClr val="tx1"/>
                  </a:solidFill>
                </a:rPr>
              </a:br>
              <a:r>
                <a:rPr lang="de-DE" sz="1600" b="0">
                  <a:solidFill>
                    <a:schemeClr val="tx1"/>
                  </a:solidFill>
                </a:rPr>
                <a:t>Schriftgrad:					14</a:t>
              </a:r>
              <a:br>
                <a:rPr lang="de-DE" sz="1600" b="0">
                  <a:solidFill>
                    <a:schemeClr val="tx1"/>
                  </a:solidFill>
                </a:rPr>
              </a:br>
              <a:r>
                <a:rPr lang="de-DE" sz="1600" b="0">
                  <a:solidFill>
                    <a:schemeClr val="tx1"/>
                  </a:solidFill>
                </a:rPr>
                <a:t>Kontur:							ohne</a:t>
              </a:r>
              <a:br>
                <a:rPr lang="de-DE" sz="1600" b="0">
                  <a:solidFill>
                    <a:schemeClr val="tx1"/>
                  </a:solidFill>
                </a:rPr>
              </a:br>
              <a:r>
                <a:rPr lang="de-DE" sz="1600" b="0">
                  <a:solidFill>
                    <a:schemeClr val="tx1"/>
                  </a:solidFill>
                </a:rPr>
                <a:t>										1 Zeile</a:t>
              </a:r>
              <a:br>
                <a:rPr lang="de-DE" sz="1600" b="0">
                  <a:solidFill>
                    <a:schemeClr val="tx1"/>
                  </a:solidFill>
                </a:rPr>
              </a:br>
              <a:r>
                <a:rPr lang="de-DE" sz="1600" b="0">
                  <a:solidFill>
                    <a:schemeClr val="tx1"/>
                  </a:solidFill>
                </a:rPr>
                <a:t>Vertikaler</a:t>
              </a:r>
              <a:r>
                <a:rPr lang="de-DE" sz="1600" b="0" baseline="0">
                  <a:solidFill>
                    <a:schemeClr val="tx1"/>
                  </a:solidFill>
                </a:rPr>
                <a:t> Abstand </a:t>
              </a:r>
              <a:br>
                <a:rPr lang="de-DE" sz="1600" b="0" baseline="0">
                  <a:solidFill>
                    <a:schemeClr val="tx1"/>
                  </a:solidFill>
                </a:rPr>
              </a:br>
              <a:r>
                <a:rPr lang="de-DE" sz="1600" b="0" baseline="0">
                  <a:solidFill>
                    <a:schemeClr val="tx1"/>
                  </a:solidFill>
                </a:rPr>
                <a:t>zu zugehöriger</a:t>
              </a:r>
              <a:br>
                <a:rPr lang="de-DE" sz="1600" b="0" baseline="0">
                  <a:solidFill>
                    <a:schemeClr val="tx1"/>
                  </a:solidFill>
                </a:rPr>
              </a:br>
              <a:r>
                <a:rPr lang="de-DE" sz="1600" b="0" baseline="0">
                  <a:solidFill>
                    <a:schemeClr val="tx1"/>
                  </a:solidFill>
                </a:rPr>
                <a:t>Textbox:						0,1 - 0,2 cm</a:t>
              </a:r>
              <a:endParaRPr lang="de-DE" sz="1600" b="0">
                <a:solidFill>
                  <a:schemeClr val="tx1"/>
                </a:solidFill>
              </a:endParaRPr>
            </a:p>
          </p:txBody>
        </p:sp>
        <p:cxnSp>
          <p:nvCxnSpPr>
            <p:cNvPr id="84" name="Gewinkelte Verbindung 83"/>
            <p:cNvCxnSpPr>
              <a:stCxn id="55" idx="2"/>
            </p:cNvCxnSpPr>
            <p:nvPr userDrawn="1"/>
          </p:nvCxnSpPr>
          <p:spPr>
            <a:xfrm rot="10800000">
              <a:off x="11562751" y="1560950"/>
              <a:ext cx="1389519" cy="912617"/>
            </a:xfrm>
            <a:prstGeom prst="bentConnector3">
              <a:avLst>
                <a:gd name="adj1" fmla="val 63057"/>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 name="Gruppieren 3"/>
          <p:cNvGrpSpPr/>
          <p:nvPr userDrawn="1"/>
        </p:nvGrpSpPr>
        <p:grpSpPr>
          <a:xfrm>
            <a:off x="11113817" y="4406789"/>
            <a:ext cx="6194452" cy="1530993"/>
            <a:chOff x="11113817" y="4406789"/>
            <a:chExt cx="6194452" cy="1530993"/>
          </a:xfrm>
        </p:grpSpPr>
        <p:cxnSp>
          <p:nvCxnSpPr>
            <p:cNvPr id="85" name="Gewinkelte Verbindung 84"/>
            <p:cNvCxnSpPr>
              <a:stCxn id="66" idx="2"/>
            </p:cNvCxnSpPr>
            <p:nvPr userDrawn="1"/>
          </p:nvCxnSpPr>
          <p:spPr>
            <a:xfrm rot="10800000">
              <a:off x="11113817" y="4927096"/>
              <a:ext cx="1838452" cy="245190"/>
            </a:xfrm>
            <a:prstGeom prst="bentConnector3">
              <a:avLst>
                <a:gd name="adj1" fmla="val 50000"/>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6" name="Auf der gleichen Seite des Rechtecks liegende Ecken abrunden 65"/>
            <p:cNvSpPr/>
            <p:nvPr userDrawn="1"/>
          </p:nvSpPr>
          <p:spPr>
            <a:xfrm>
              <a:off x="12952269" y="4406789"/>
              <a:ext cx="4356000" cy="1530993"/>
            </a:xfrm>
            <a:prstGeom prst="round2SameRect">
              <a:avLst>
                <a:gd name="adj1" fmla="val 4977"/>
                <a:gd name="adj2" fmla="val 4977"/>
              </a:avLst>
            </a:prstGeom>
            <a:solidFill>
              <a:schemeClr val="bg1"/>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just" defTabSz="180000">
                <a:spcAft>
                  <a:spcPts val="400"/>
                </a:spcAft>
              </a:pPr>
              <a:r>
                <a:rPr lang="de-DE" sz="2800" b="0">
                  <a:solidFill>
                    <a:schemeClr val="accent1"/>
                  </a:solidFill>
                  <a:latin typeface="Helvetica" panose="020B0604020202020204" pitchFamily="34" charset="0"/>
                  <a:cs typeface="Helvetica" panose="020B0604020202020204" pitchFamily="34" charset="0"/>
                </a:rPr>
                <a:t>Pfeil</a:t>
              </a:r>
              <a:br>
                <a:rPr lang="de-DE" sz="3200" b="0">
                  <a:solidFill>
                    <a:schemeClr val="accent1"/>
                  </a:solidFill>
                </a:rPr>
              </a:br>
              <a:r>
                <a:rPr lang="de-DE" sz="1600" b="0">
                  <a:solidFill>
                    <a:schemeClr val="tx1"/>
                  </a:solidFill>
                </a:rPr>
                <a:t>Farbe:							Akzent 4</a:t>
              </a:r>
              <a:br>
                <a:rPr lang="de-DE" sz="1600" b="0">
                  <a:solidFill>
                    <a:schemeClr val="tx1"/>
                  </a:solidFill>
                </a:rPr>
              </a:br>
              <a:r>
                <a:rPr lang="de-DE" sz="1600" b="0">
                  <a:solidFill>
                    <a:schemeClr val="tx1"/>
                  </a:solidFill>
                </a:rPr>
                <a:t>Kontur:							ohne</a:t>
              </a:r>
              <a:br>
                <a:rPr lang="de-DE" sz="1600" b="0">
                  <a:solidFill>
                    <a:schemeClr val="tx1"/>
                  </a:solidFill>
                </a:rPr>
              </a:br>
              <a:r>
                <a:rPr lang="de-DE" sz="1600" b="0">
                  <a:solidFill>
                    <a:schemeClr val="tx1"/>
                  </a:solidFill>
                </a:rPr>
                <a:t>Höhe:							~0,5 cm</a:t>
              </a:r>
              <a:br>
                <a:rPr lang="de-DE" sz="1600" b="0">
                  <a:solidFill>
                    <a:schemeClr val="tx1"/>
                  </a:solidFill>
                </a:rPr>
              </a:br>
              <a:r>
                <a:rPr lang="de-DE" sz="1600" b="0">
                  <a:solidFill>
                    <a:schemeClr val="tx1"/>
                  </a:solidFill>
                </a:rPr>
                <a:t>Breite:							~75% des Kastens</a:t>
              </a:r>
            </a:p>
          </p:txBody>
        </p:sp>
      </p:grpSp>
      <p:grpSp>
        <p:nvGrpSpPr>
          <p:cNvPr id="7" name="Gruppieren 6"/>
          <p:cNvGrpSpPr/>
          <p:nvPr userDrawn="1"/>
        </p:nvGrpSpPr>
        <p:grpSpPr>
          <a:xfrm>
            <a:off x="-5116258" y="1376363"/>
            <a:ext cx="5686390" cy="4561420"/>
            <a:chOff x="-5116258" y="1376363"/>
            <a:chExt cx="5686390" cy="4561420"/>
          </a:xfrm>
        </p:grpSpPr>
        <p:cxnSp>
          <p:nvCxnSpPr>
            <p:cNvPr id="64" name="Gerade Verbindung mit Pfeil 63"/>
            <p:cNvCxnSpPr/>
            <p:nvPr userDrawn="1"/>
          </p:nvCxnSpPr>
          <p:spPr>
            <a:xfrm flipV="1">
              <a:off x="-760258" y="3969060"/>
              <a:ext cx="1330390"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Auf der gleichen Seite des Rechtecks liegende Ecken abrunden 53"/>
            <p:cNvSpPr/>
            <p:nvPr userDrawn="1"/>
          </p:nvSpPr>
          <p:spPr>
            <a:xfrm>
              <a:off x="-5116258" y="1376363"/>
              <a:ext cx="4356000" cy="4561420"/>
            </a:xfrm>
            <a:prstGeom prst="round2SameRect">
              <a:avLst>
                <a:gd name="adj1" fmla="val 1783"/>
                <a:gd name="adj2" fmla="val 1783"/>
              </a:avLst>
            </a:prstGeom>
            <a:solidFill>
              <a:schemeClr val="accent6"/>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Bef>
                  <a:spcPts val="0"/>
                </a:spcBef>
                <a:spcAft>
                  <a:spcPts val="400"/>
                </a:spcAft>
              </a:pPr>
              <a:r>
                <a:rPr lang="de-DE" sz="2800" b="0">
                  <a:solidFill>
                    <a:schemeClr val="accent1"/>
                  </a:solidFill>
                  <a:latin typeface="Helvetica" panose="020B0604020202020204" pitchFamily="34" charset="0"/>
                  <a:cs typeface="Helvetica" panose="020B0604020202020204" pitchFamily="34" charset="0"/>
                </a:rPr>
                <a:t>Textbox</a:t>
              </a:r>
              <a:br>
                <a:rPr lang="de-DE" sz="3200" b="0">
                  <a:solidFill>
                    <a:schemeClr val="accent1"/>
                  </a:solidFill>
                </a:rPr>
              </a:br>
              <a:r>
                <a:rPr lang="de-DE" sz="1600" b="0">
                  <a:solidFill>
                    <a:schemeClr val="tx1"/>
                  </a:solidFill>
                </a:rPr>
                <a:t>„optionale Überschrift“</a:t>
              </a:r>
            </a:p>
            <a:p>
              <a:pPr marL="144000" marR="0" indent="-144000" algn="l" defTabSz="1800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de-DE" sz="1600" b="0">
                  <a:solidFill>
                    <a:schemeClr val="tx1"/>
                  </a:solidFill>
                </a:rPr>
                <a:t>Schriftart:							</a:t>
              </a:r>
              <a:r>
                <a:rPr lang="de-DE" sz="1600" b="0" err="1">
                  <a:solidFill>
                    <a:schemeClr val="tx1"/>
                  </a:solidFill>
                  <a:latin typeface="Helvetica" panose="020B0604020202020204" pitchFamily="34" charset="0"/>
                  <a:cs typeface="Helvetica" panose="020B0604020202020204" pitchFamily="34" charset="0"/>
                </a:rPr>
                <a:t>Helvetica</a:t>
              </a:r>
              <a:endParaRPr lang="de-DE" sz="1600" b="0">
                <a:solidFill>
                  <a:schemeClr val="tx1"/>
                </a:solidFill>
                <a:latin typeface="+mn-lt"/>
                <a:cs typeface="+mn-cs"/>
              </a:endParaRPr>
            </a:p>
            <a:p>
              <a:pPr marL="144000" marR="0" indent="-144000" algn="l" defTabSz="1800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de-DE" sz="1600" b="0">
                  <a:solidFill>
                    <a:schemeClr val="tx1"/>
                  </a:solidFill>
                </a:rPr>
                <a:t>Schriftfarbe						</a:t>
              </a:r>
              <a:r>
                <a:rPr lang="de-DE" sz="1600" b="0" baseline="0">
                  <a:solidFill>
                    <a:schemeClr val="tx1"/>
                  </a:solidFill>
                </a:rPr>
                <a:t>Akzent 1</a:t>
              </a:r>
            </a:p>
            <a:p>
              <a:pPr marL="144000" indent="-144000" algn="l" defTabSz="180000">
                <a:spcBef>
                  <a:spcPts val="0"/>
                </a:spcBef>
                <a:spcAft>
                  <a:spcPts val="400"/>
                </a:spcAft>
                <a:buClr>
                  <a:schemeClr val="accent1"/>
                </a:buClr>
                <a:buFont typeface="Wingdings" panose="05000000000000000000" pitchFamily="2" charset="2"/>
                <a:buChar char="§"/>
              </a:pPr>
              <a:r>
                <a:rPr lang="de-DE" sz="1600" b="0">
                  <a:solidFill>
                    <a:schemeClr val="tx1"/>
                  </a:solidFill>
                </a:rPr>
                <a:t>Schriftschnitt					</a:t>
              </a:r>
              <a:r>
                <a:rPr lang="de-DE" sz="1600" b="0" baseline="0">
                  <a:solidFill>
                    <a:schemeClr val="tx1"/>
                  </a:solidFill>
                  <a:latin typeface="Helvetica" panose="020B0604020202020204" pitchFamily="34" charset="0"/>
                  <a:cs typeface="Helvetica" panose="020B0604020202020204" pitchFamily="34" charset="0"/>
                </a:rPr>
                <a:t>Fett</a:t>
              </a:r>
              <a:endParaRPr lang="de-DE" sz="1600" b="0">
                <a:solidFill>
                  <a:schemeClr val="tx1"/>
                </a:solidFill>
                <a:latin typeface="Helvetica" panose="020B0604020202020204" pitchFamily="34" charset="0"/>
                <a:cs typeface="Helvetica" panose="020B0604020202020204" pitchFamily="34" charset="0"/>
              </a:endParaRPr>
            </a:p>
            <a:p>
              <a:pPr marL="0" marR="0" indent="0" algn="l" defTabSz="180000" rtl="0" eaLnBrk="1" fontAlgn="auto" latinLnBrk="0" hangingPunct="1">
                <a:lnSpc>
                  <a:spcPct val="100000"/>
                </a:lnSpc>
                <a:spcBef>
                  <a:spcPts val="0"/>
                </a:spcBef>
                <a:spcAft>
                  <a:spcPts val="0"/>
                </a:spcAft>
                <a:buClrTx/>
                <a:buSzTx/>
                <a:buFontTx/>
                <a:buNone/>
                <a:tabLst/>
                <a:defRPr/>
              </a:pPr>
              <a:r>
                <a:rPr lang="de-DE" sz="1600" b="0">
                  <a:solidFill>
                    <a:schemeClr val="tx1"/>
                  </a:solidFill>
                </a:rPr>
                <a:t>Schriftfarbe Text:	 			schwarz</a:t>
              </a:r>
            </a:p>
            <a:p>
              <a:pPr marL="0" marR="0" indent="0" algn="l" defTabSz="180000" rtl="0" eaLnBrk="1" fontAlgn="auto" latinLnBrk="0" hangingPunct="1">
                <a:lnSpc>
                  <a:spcPct val="100000"/>
                </a:lnSpc>
                <a:spcBef>
                  <a:spcPts val="0"/>
                </a:spcBef>
                <a:spcAft>
                  <a:spcPts val="0"/>
                </a:spcAft>
                <a:buClrTx/>
                <a:buSzTx/>
                <a:buFontTx/>
                <a:buNone/>
                <a:tabLst/>
                <a:defRPr/>
              </a:pPr>
              <a:r>
                <a:rPr lang="de-DE" sz="1600" b="0">
                  <a:solidFill>
                    <a:schemeClr val="tx1"/>
                  </a:solidFill>
                </a:rPr>
                <a:t>Schriftgrad:							14</a:t>
              </a:r>
            </a:p>
            <a:p>
              <a:pPr algn="l" defTabSz="180000">
                <a:spcBef>
                  <a:spcPts val="0"/>
                </a:spcBef>
                <a:spcAft>
                  <a:spcPts val="0"/>
                </a:spcAft>
              </a:pPr>
              <a:r>
                <a:rPr lang="de-DE" sz="1600" b="0">
                  <a:solidFill>
                    <a:schemeClr val="tx1"/>
                  </a:solidFill>
                </a:rPr>
                <a:t>Zeilenabstand:</a:t>
              </a:r>
              <a:r>
                <a:rPr lang="de-DE" sz="1600" b="0" baseline="0">
                  <a:solidFill>
                    <a:schemeClr val="tx1"/>
                  </a:solidFill>
                </a:rPr>
                <a:t>					</a:t>
              </a:r>
              <a:r>
                <a:rPr lang="de-DE" sz="1600" b="0">
                  <a:solidFill>
                    <a:schemeClr val="tx1"/>
                  </a:solidFill>
                </a:rPr>
                <a:t>~1,25</a:t>
              </a:r>
              <a:r>
                <a:rPr lang="de-DE" sz="1600" b="0" baseline="0">
                  <a:solidFill>
                    <a:schemeClr val="tx1"/>
                  </a:solidFill>
                </a:rPr>
                <a:t> cm</a:t>
              </a:r>
            </a:p>
            <a:p>
              <a:pPr algn="l" defTabSz="180000">
                <a:spcBef>
                  <a:spcPts val="0"/>
                </a:spcBef>
                <a:spcAft>
                  <a:spcPts val="0"/>
                </a:spcAft>
              </a:pPr>
              <a:r>
                <a:rPr lang="de-DE" sz="1600" b="0" baseline="0">
                  <a:solidFill>
                    <a:schemeClr val="tx1"/>
                  </a:solidFill>
                </a:rPr>
                <a:t>Abstand Nach:					</a:t>
              </a:r>
              <a:r>
                <a:rPr lang="de-DE" sz="1600" b="0">
                  <a:solidFill>
                    <a:schemeClr val="tx1"/>
                  </a:solidFill>
                </a:rPr>
                <a:t>~4 Pt.</a:t>
              </a:r>
            </a:p>
            <a:p>
              <a:pPr algn="l" defTabSz="180000">
                <a:spcBef>
                  <a:spcPts val="0"/>
                </a:spcBef>
                <a:spcAft>
                  <a:spcPts val="0"/>
                </a:spcAft>
              </a:pPr>
              <a:r>
                <a:rPr lang="de-DE" sz="1600" b="0">
                  <a:solidFill>
                    <a:schemeClr val="tx1"/>
                  </a:solidFill>
                </a:rPr>
                <a:t>Einzug vor Text:					mind.</a:t>
              </a:r>
              <a:r>
                <a:rPr lang="de-DE" sz="1600" b="0" baseline="0">
                  <a:solidFill>
                    <a:schemeClr val="tx1"/>
                  </a:solidFill>
                </a:rPr>
                <a:t> </a:t>
              </a:r>
              <a:r>
                <a:rPr lang="de-DE" sz="1600" b="0">
                  <a:solidFill>
                    <a:schemeClr val="tx1"/>
                  </a:solidFill>
                </a:rPr>
                <a:t>0,4 cm</a:t>
              </a:r>
            </a:p>
            <a:p>
              <a:pPr algn="l" defTabSz="180000">
                <a:spcBef>
                  <a:spcPts val="0"/>
                </a:spcBef>
                <a:spcAft>
                  <a:spcPts val="0"/>
                </a:spcAft>
              </a:pPr>
              <a:r>
                <a:rPr lang="de-DE" sz="1600" b="0">
                  <a:solidFill>
                    <a:schemeClr val="tx1"/>
                  </a:solidFill>
                </a:rPr>
                <a:t>Sondereinzug</a:t>
              </a:r>
            </a:p>
            <a:p>
              <a:pPr algn="l" defTabSz="180000">
                <a:spcBef>
                  <a:spcPts val="0"/>
                </a:spcBef>
                <a:spcAft>
                  <a:spcPts val="0"/>
                </a:spcAft>
              </a:pPr>
              <a:r>
                <a:rPr lang="de-DE" sz="1600" b="0">
                  <a:solidFill>
                    <a:schemeClr val="tx1"/>
                  </a:solidFill>
                </a:rPr>
                <a:t>„hängend“:							entsprechend Einzug</a:t>
              </a:r>
              <a:br>
                <a:rPr lang="de-DE" sz="1600" b="0">
                  <a:solidFill>
                    <a:schemeClr val="tx1"/>
                  </a:solidFill>
                </a:rPr>
              </a:br>
              <a:r>
                <a:rPr lang="de-DE" sz="1600" b="0">
                  <a:solidFill>
                    <a:schemeClr val="tx1"/>
                  </a:solidFill>
                </a:rPr>
                <a:t>Kontur-Farbe:						Akzent 4</a:t>
              </a:r>
              <a:br>
                <a:rPr lang="de-DE" sz="1600" b="0">
                  <a:solidFill>
                    <a:schemeClr val="tx1"/>
                  </a:solidFill>
                </a:rPr>
              </a:br>
              <a:r>
                <a:rPr lang="de-DE" sz="1600" b="0">
                  <a:solidFill>
                    <a:schemeClr val="tx1"/>
                  </a:solidFill>
                </a:rPr>
                <a:t>Kontur-Stärke:					</a:t>
              </a:r>
              <a:r>
                <a:rPr lang="de-DE" sz="1600" b="0" kern="1200">
                  <a:solidFill>
                    <a:schemeClr val="tx1"/>
                  </a:solidFill>
                  <a:latin typeface="Helvetica Light (Textkörper)"/>
                  <a:ea typeface="+mn-ea"/>
                  <a:cs typeface="+mn-cs"/>
                </a:rPr>
                <a:t>½</a:t>
              </a:r>
              <a:r>
                <a:rPr lang="de-DE" sz="1600" b="0" kern="1200">
                  <a:solidFill>
                    <a:schemeClr val="tx1"/>
                  </a:solidFill>
                  <a:latin typeface="+mn-lt"/>
                  <a:ea typeface="+mn-ea"/>
                  <a:cs typeface="+mn-cs"/>
                </a:rPr>
                <a:t> </a:t>
              </a:r>
              <a:r>
                <a:rPr lang="de-DE" sz="1600" b="0">
                  <a:solidFill>
                    <a:schemeClr val="tx1"/>
                  </a:solidFill>
                </a:rPr>
                <a:t>Pt.</a:t>
              </a:r>
              <a:br>
                <a:rPr lang="de-DE" sz="1600" b="0">
                  <a:solidFill>
                    <a:schemeClr val="tx1"/>
                  </a:solidFill>
                </a:rPr>
              </a:br>
              <a:r>
                <a:rPr lang="de-DE" sz="1600" b="0">
                  <a:solidFill>
                    <a:schemeClr val="tx1"/>
                  </a:solidFill>
                </a:rPr>
                <a:t>Abstand zur</a:t>
              </a:r>
            </a:p>
            <a:p>
              <a:pPr algn="l" defTabSz="180000">
                <a:spcBef>
                  <a:spcPts val="0"/>
                </a:spcBef>
                <a:spcAft>
                  <a:spcPts val="0"/>
                </a:spcAft>
              </a:pPr>
              <a:r>
                <a:rPr lang="de-DE" sz="1600" b="0">
                  <a:solidFill>
                    <a:schemeClr val="tx1"/>
                  </a:solidFill>
                </a:rPr>
                <a:t>nächsten Box: 					0,2 – 0,4 cm</a:t>
              </a:r>
            </a:p>
            <a:p>
              <a:pPr algn="l" defTabSz="180000">
                <a:spcBef>
                  <a:spcPts val="0"/>
                </a:spcBef>
                <a:spcAft>
                  <a:spcPts val="0"/>
                </a:spcAft>
              </a:pPr>
              <a:r>
                <a:rPr lang="de-DE" sz="1600" b="0">
                  <a:solidFill>
                    <a:schemeClr val="tx1"/>
                  </a:solidFill>
                </a:rPr>
                <a:t>												(mindestens 0,1 cm)</a:t>
              </a:r>
            </a:p>
          </p:txBody>
        </p:sp>
      </p:grpSp>
      <p:grpSp>
        <p:nvGrpSpPr>
          <p:cNvPr id="9" name="Gruppieren 8"/>
          <p:cNvGrpSpPr/>
          <p:nvPr userDrawn="1"/>
        </p:nvGrpSpPr>
        <p:grpSpPr>
          <a:xfrm>
            <a:off x="0" y="6730998"/>
            <a:ext cx="6095590" cy="2457946"/>
            <a:chOff x="0" y="6730998"/>
            <a:chExt cx="6095590" cy="2457946"/>
          </a:xfrm>
        </p:grpSpPr>
        <p:cxnSp>
          <p:nvCxnSpPr>
            <p:cNvPr id="29" name="Gewinkelte Verbindung 28"/>
            <p:cNvCxnSpPr>
              <a:cxnSpLocks/>
              <a:stCxn id="60" idx="3"/>
            </p:cNvCxnSpPr>
            <p:nvPr userDrawn="1"/>
          </p:nvCxnSpPr>
          <p:spPr>
            <a:xfrm rot="5400000" flipH="1" flipV="1">
              <a:off x="4287953" y="5437070"/>
              <a:ext cx="513709" cy="3101565"/>
            </a:xfrm>
            <a:prstGeom prst="bentConnector3">
              <a:avLst>
                <a:gd name="adj1" fmla="val 28810"/>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60" name="Auf der gleichen Seite des Rechtecks liegende Ecken abrunden 59"/>
            <p:cNvSpPr/>
            <p:nvPr userDrawn="1"/>
          </p:nvSpPr>
          <p:spPr>
            <a:xfrm>
              <a:off x="0" y="7244706"/>
              <a:ext cx="5988050" cy="1944238"/>
            </a:xfrm>
            <a:prstGeom prst="round2SameRect">
              <a:avLst>
                <a:gd name="adj1" fmla="val 3919"/>
                <a:gd name="adj2" fmla="val 3919"/>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r>
                <a:rPr lang="de-DE" sz="2800" b="0">
                  <a:solidFill>
                    <a:schemeClr val="accent1"/>
                  </a:solidFill>
                  <a:latin typeface="Helvetica" panose="020B0604020202020204" pitchFamily="34" charset="0"/>
                  <a:cs typeface="Helvetica" panose="020B0604020202020204" pitchFamily="34" charset="0"/>
                </a:rPr>
                <a:t>Einordnung - Überschrift</a:t>
              </a:r>
              <a:br>
                <a:rPr lang="de-DE" sz="2800" b="0">
                  <a:solidFill>
                    <a:schemeClr val="accent1"/>
                  </a:solidFill>
                </a:rPr>
              </a:br>
              <a:r>
                <a:rPr lang="de-DE" sz="1600" b="0">
                  <a:solidFill>
                    <a:schemeClr val="tx1"/>
                  </a:solidFill>
                </a:rPr>
                <a:t>Schriftfarbe: 		schwarz</a:t>
              </a:r>
              <a:br>
                <a:rPr lang="de-DE" sz="1600" b="0">
                  <a:solidFill>
                    <a:schemeClr val="tx1"/>
                  </a:solidFill>
                </a:rPr>
              </a:br>
              <a:r>
                <a:rPr lang="de-DE" sz="1600" b="0">
                  <a:solidFill>
                    <a:schemeClr val="tx1"/>
                  </a:solidFill>
                </a:rPr>
                <a:t>Schriftgrad:			10</a:t>
              </a:r>
              <a:br>
                <a:rPr lang="de-DE" sz="1600" b="0">
                  <a:solidFill>
                    <a:schemeClr val="tx1"/>
                  </a:solidFill>
                </a:rPr>
              </a:br>
              <a:r>
                <a:rPr lang="de-DE" sz="1600" b="0">
                  <a:solidFill>
                    <a:schemeClr val="tx1"/>
                  </a:solidFill>
                </a:rPr>
                <a:t>1 Zeile;</a:t>
              </a:r>
              <a:br>
                <a:rPr lang="de-DE" sz="1600" b="0">
                  <a:solidFill>
                    <a:schemeClr val="tx1"/>
                  </a:solidFill>
                </a:rPr>
              </a:br>
              <a:r>
                <a:rPr lang="de-DE" sz="1600" b="0">
                  <a:solidFill>
                    <a:schemeClr val="tx1"/>
                  </a:solidFill>
                </a:rPr>
                <a:t>Inhalt:					Titel der </a:t>
              </a:r>
              <a:r>
                <a:rPr lang="de-DE" sz="1600" b="0">
                  <a:solidFill>
                    <a:schemeClr val="tx1"/>
                  </a:solidFill>
                  <a:latin typeface="+mn-lt"/>
                  <a:cs typeface="Helvetica" panose="020B0604020202020204" pitchFamily="34" charset="0"/>
                </a:rPr>
                <a:t>Präsentation</a:t>
              </a:r>
              <a:br>
                <a:rPr lang="de-DE" sz="1600" b="0">
                  <a:solidFill>
                    <a:schemeClr val="tx1"/>
                  </a:solidFill>
                </a:rPr>
              </a:br>
              <a:r>
                <a:rPr lang="de-DE" sz="1600" b="0">
                  <a:solidFill>
                    <a:schemeClr val="tx1"/>
                  </a:solidFill>
                  <a:latin typeface="Helvetica" panose="020B0604020202020204" pitchFamily="34" charset="0"/>
                  <a:cs typeface="Helvetica" panose="020B0604020202020204" pitchFamily="34" charset="0"/>
                </a:rPr>
                <a:t>How-To:</a:t>
              </a:r>
              <a:r>
                <a:rPr lang="de-DE" sz="1600" b="0" baseline="0">
                  <a:solidFill>
                    <a:schemeClr val="tx1"/>
                  </a:solidFill>
                  <a:latin typeface="Helvetica" panose="020B0604020202020204" pitchFamily="34" charset="0"/>
                  <a:cs typeface="Helvetica" panose="020B0604020202020204" pitchFamily="34" charset="0"/>
                </a:rPr>
                <a:t> 				„Einfügen“ </a:t>
              </a:r>
              <a:r>
                <a:rPr lang="de-DE" sz="1600" b="0" baseline="0">
                  <a:solidFill>
                    <a:schemeClr val="tx1"/>
                  </a:solidFill>
                  <a:latin typeface="Helvetica" panose="020B0604020202020204" pitchFamily="34" charset="0"/>
                  <a:cs typeface="Helvetica" panose="020B0604020202020204" pitchFamily="34" charset="0"/>
                  <a:sym typeface="Wingdings" panose="05000000000000000000" pitchFamily="2" charset="2"/>
                </a:rPr>
                <a:t></a:t>
              </a:r>
              <a:r>
                <a:rPr lang="de-DE" sz="1600" b="0" baseline="0">
                  <a:solidFill>
                    <a:schemeClr val="tx1"/>
                  </a:solidFill>
                  <a:latin typeface="Helvetica" panose="020B0604020202020204" pitchFamily="34" charset="0"/>
                  <a:cs typeface="Helvetica" panose="020B0604020202020204" pitchFamily="34" charset="0"/>
                </a:rPr>
                <a:t> „Kopf- und Fußzeile“</a:t>
              </a:r>
              <a:endParaRPr lang="de-DE" sz="1600" b="0">
                <a:solidFill>
                  <a:schemeClr val="tx1"/>
                </a:solidFill>
                <a:latin typeface="Helvetica" panose="020B0604020202020204" pitchFamily="34" charset="0"/>
                <a:cs typeface="Helvetica" panose="020B0604020202020204" pitchFamily="34" charset="0"/>
              </a:endParaRPr>
            </a:p>
          </p:txBody>
        </p:sp>
      </p:grpSp>
      <p:cxnSp>
        <p:nvCxnSpPr>
          <p:cNvPr id="90" name="Gerade Verbindung 132"/>
          <p:cNvCxnSpPr/>
          <p:nvPr userDrawn="1"/>
        </p:nvCxnSpPr>
        <p:spPr>
          <a:xfrm>
            <a:off x="11498138" y="-4198"/>
            <a:ext cx="0" cy="6862198"/>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10" name="Rechteck 9"/>
          <p:cNvSpPr/>
          <p:nvPr userDrawn="1"/>
        </p:nvSpPr>
        <p:spPr>
          <a:xfrm>
            <a:off x="11197004" y="8611262"/>
            <a:ext cx="216000" cy="216000"/>
          </a:xfrm>
          <a:prstGeom prst="rect">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cxnSp>
        <p:nvCxnSpPr>
          <p:cNvPr id="88" name="Gerade Verbindung 117"/>
          <p:cNvCxnSpPr/>
          <p:nvPr userDrawn="1"/>
        </p:nvCxnSpPr>
        <p:spPr>
          <a:xfrm>
            <a:off x="0" y="3754233"/>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1" name="Rechteck 90"/>
          <p:cNvSpPr/>
          <p:nvPr userDrawn="1"/>
        </p:nvSpPr>
        <p:spPr>
          <a:xfrm>
            <a:off x="-980545" y="351446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0,9</a:t>
            </a:r>
          </a:p>
        </p:txBody>
      </p:sp>
      <p:sp>
        <p:nvSpPr>
          <p:cNvPr id="92" name="Rechteck 91"/>
          <p:cNvSpPr/>
          <p:nvPr userDrawn="1"/>
        </p:nvSpPr>
        <p:spPr>
          <a:xfrm>
            <a:off x="11956552" y="351446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0,9</a:t>
            </a:r>
          </a:p>
        </p:txBody>
      </p:sp>
      <p:sp>
        <p:nvSpPr>
          <p:cNvPr id="93" name="Fußzeilenplatzhalter 4">
            <a:extLst>
              <a:ext uri="{FF2B5EF4-FFF2-40B4-BE49-F238E27FC236}">
                <a16:creationId xmlns:a16="http://schemas.microsoft.com/office/drawing/2014/main" id="{F8E9BCBA-B135-416D-9E35-F5E1E9E98D25}"/>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Tree>
    <p:extLst>
      <p:ext uri="{BB962C8B-B14F-4D97-AF65-F5344CB8AC3E}">
        <p14:creationId xmlns:p14="http://schemas.microsoft.com/office/powerpoint/2010/main" val="2107323903"/>
      </p:ext>
    </p:extLst>
  </p:cSld>
  <p:clrMapOvr>
    <a:masterClrMapping/>
  </p:clrMapOvr>
  <p:extLst>
    <p:ext uri="{DCECCB84-F9BA-43D5-87BE-67443E8EF086}">
      <p15:sldGuideLst xmlns:p15="http://schemas.microsoft.com/office/powerpoint/2012/main">
        <p15:guide id="1" orient="horz" pos="3861">
          <p15:clr>
            <a:srgbClr val="A4A3A4"/>
          </p15:clr>
        </p15:guide>
        <p15:guide id="2" orient="horz" pos="867">
          <p15:clr>
            <a:srgbClr val="A4A3A4"/>
          </p15:clr>
        </p15:guide>
        <p15:guide id="3" pos="438">
          <p15:clr>
            <a:srgbClr val="A4A3A4"/>
          </p15:clr>
        </p15:guide>
        <p15:guide id="4" pos="7242">
          <p15:clr>
            <a:srgbClr val="A4A3A4"/>
          </p15:clr>
        </p15:guide>
        <p15:guide id="5" orient="horz" pos="236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ichtlinien Corporate Design 2/2">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7170" name="think-cell Folie" r:id="rId4" imgW="270" imgH="270" progId="TCLayout.ActiveDocument.1">
                  <p:embed/>
                </p:oleObj>
              </mc:Choice>
              <mc:Fallback>
                <p:oleObj name="think-cell Folie" r:id="rId4" imgW="270" imgH="270" progId="TCLayout.ActiveDocument.1">
                  <p:embed/>
                  <p:pic>
                    <p:nvPicPr>
                      <p:cNvPr id="31" name="Objekt 3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9" name="Gerade Verbindung mit Pfeil 98"/>
          <p:cNvCxnSpPr>
            <a:endCxn id="96" idx="2"/>
          </p:cNvCxnSpPr>
          <p:nvPr userDrawn="1"/>
        </p:nvCxnSpPr>
        <p:spPr>
          <a:xfrm>
            <a:off x="-773805" y="2413470"/>
            <a:ext cx="1469130" cy="0"/>
          </a:xfrm>
          <a:prstGeom prst="straightConnector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75" name="Rechteck 74"/>
          <p:cNvSpPr/>
          <p:nvPr userDrawn="1"/>
        </p:nvSpPr>
        <p:spPr>
          <a:xfrm>
            <a:off x="103312" y="-388303"/>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6" name="Rechteck 75"/>
          <p:cNvSpPr/>
          <p:nvPr userDrawn="1"/>
        </p:nvSpPr>
        <p:spPr>
          <a:xfrm>
            <a:off x="10904319" y="-388303"/>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7" name="Rechteck 76"/>
          <p:cNvSpPr/>
          <p:nvPr userDrawn="1"/>
        </p:nvSpPr>
        <p:spPr>
          <a:xfrm>
            <a:off x="10904319" y="6811138"/>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8" name="Rechteck 77"/>
          <p:cNvSpPr/>
          <p:nvPr userDrawn="1"/>
        </p:nvSpPr>
        <p:spPr>
          <a:xfrm>
            <a:off x="103312" y="6811138"/>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solidFill>
                <a:latin typeface="Helvetica" panose="020B0604020202020204" pitchFamily="34" charset="0"/>
                <a:cs typeface="Helvetica" panose="020B0604020202020204" pitchFamily="34" charset="0"/>
              </a:rPr>
              <a:t>15</a:t>
            </a:r>
          </a:p>
        </p:txBody>
      </p:sp>
      <p:sp>
        <p:nvSpPr>
          <p:cNvPr id="79" name="Rechteck 78"/>
          <p:cNvSpPr/>
          <p:nvPr userDrawn="1"/>
        </p:nvSpPr>
        <p:spPr>
          <a:xfrm>
            <a:off x="11956552" y="590104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7,5</a:t>
            </a:r>
          </a:p>
        </p:txBody>
      </p:sp>
      <p:sp>
        <p:nvSpPr>
          <p:cNvPr id="80" name="Rechteck 79"/>
          <p:cNvSpPr/>
          <p:nvPr userDrawn="1"/>
        </p:nvSpPr>
        <p:spPr>
          <a:xfrm>
            <a:off x="-980545" y="590104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7,5</a:t>
            </a:r>
          </a:p>
        </p:txBody>
      </p:sp>
      <p:sp>
        <p:nvSpPr>
          <p:cNvPr id="81" name="Rechteck 80"/>
          <p:cNvSpPr/>
          <p:nvPr userDrawn="1"/>
        </p:nvSpPr>
        <p:spPr>
          <a:xfrm>
            <a:off x="11956552" y="1143904"/>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5,7</a:t>
            </a:r>
          </a:p>
        </p:txBody>
      </p:sp>
      <p:sp>
        <p:nvSpPr>
          <p:cNvPr id="82" name="Rechteck 81"/>
          <p:cNvSpPr/>
          <p:nvPr userDrawn="1"/>
        </p:nvSpPr>
        <p:spPr>
          <a:xfrm>
            <a:off x="-980545" y="1143904"/>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5,7</a:t>
            </a:r>
          </a:p>
        </p:txBody>
      </p:sp>
      <p:sp>
        <p:nvSpPr>
          <p:cNvPr id="69" name="Rechteck 68"/>
          <p:cNvSpPr/>
          <p:nvPr userDrawn="1"/>
        </p:nvSpPr>
        <p:spPr>
          <a:xfrm>
            <a:off x="462000" y="6309320"/>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b="0"/>
          </a:p>
        </p:txBody>
      </p:sp>
      <p:sp>
        <p:nvSpPr>
          <p:cNvPr id="72" name="Rechteck 71"/>
          <p:cNvSpPr/>
          <p:nvPr userDrawn="1"/>
        </p:nvSpPr>
        <p:spPr>
          <a:xfrm>
            <a:off x="462000" y="789908"/>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b="0"/>
          </a:p>
        </p:txBody>
      </p:sp>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50800" y="6438365"/>
            <a:ext cx="786452" cy="292633"/>
          </a:xfrm>
          <a:prstGeom prst="rect">
            <a:avLst/>
          </a:prstGeom>
        </p:spPr>
      </p:pic>
      <p:pic>
        <p:nvPicPr>
          <p:cNvPr id="8" name="Grafik 7"/>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470664" y="321249"/>
            <a:ext cx="11160000" cy="540295"/>
          </a:xfrm>
          <a:prstGeom prst="rect">
            <a:avLst/>
          </a:prstGeom>
        </p:spPr>
      </p:pic>
      <p:pic>
        <p:nvPicPr>
          <p:cNvPr id="5" name="Grafik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9813" y="946775"/>
            <a:ext cx="5998984" cy="384081"/>
          </a:xfrm>
          <a:prstGeom prst="rect">
            <a:avLst/>
          </a:prstGeom>
        </p:spPr>
      </p:pic>
      <p:sp>
        <p:nvSpPr>
          <p:cNvPr id="71" name="Abgerundetes Rechteck 70"/>
          <p:cNvSpPr>
            <a:spLocks noChangeAspect="1"/>
          </p:cNvSpPr>
          <p:nvPr userDrawn="1"/>
        </p:nvSpPr>
        <p:spPr>
          <a:xfrm>
            <a:off x="10908000" y="747852"/>
            <a:ext cx="90010" cy="90000"/>
          </a:xfrm>
          <a:prstGeom prst="roundRect">
            <a:avLst/>
          </a:prstGeom>
          <a:solidFill>
            <a:schemeClr val="accent1"/>
          </a:solidFill>
          <a:ln w="9525" cap="rnd">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74" name="Abgerundetes Rechteck 73"/>
          <p:cNvSpPr>
            <a:spLocks noChangeAspect="1"/>
          </p:cNvSpPr>
          <p:nvPr userDrawn="1"/>
        </p:nvSpPr>
        <p:spPr>
          <a:xfrm>
            <a:off x="11079000" y="747852"/>
            <a:ext cx="90010" cy="90000"/>
          </a:xfrm>
          <a:prstGeom prst="roundRect">
            <a:avLst/>
          </a:prstGeom>
          <a:solidFill>
            <a:schemeClr val="bg1"/>
          </a:solidFill>
          <a:ln w="9525" cap="rnd">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83" name="Abgerundetes Rechteck 82"/>
          <p:cNvSpPr>
            <a:spLocks noChangeAspect="1"/>
          </p:cNvSpPr>
          <p:nvPr userDrawn="1"/>
        </p:nvSpPr>
        <p:spPr>
          <a:xfrm>
            <a:off x="11250000" y="747852"/>
            <a:ext cx="90010" cy="90000"/>
          </a:xfrm>
          <a:prstGeom prst="roundRect">
            <a:avLst/>
          </a:prstGeom>
          <a:solidFill>
            <a:schemeClr val="bg1"/>
          </a:solidFill>
          <a:ln w="9525" cap="rnd">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84" name="Abgerundetes Rechteck 83"/>
          <p:cNvSpPr>
            <a:spLocks noChangeAspect="1"/>
          </p:cNvSpPr>
          <p:nvPr userDrawn="1"/>
        </p:nvSpPr>
        <p:spPr>
          <a:xfrm>
            <a:off x="11421000" y="747852"/>
            <a:ext cx="90010" cy="90000"/>
          </a:xfrm>
          <a:prstGeom prst="roundRect">
            <a:avLst/>
          </a:prstGeom>
          <a:solidFill>
            <a:schemeClr val="bg1"/>
          </a:solidFill>
          <a:ln w="9525" cap="rnd">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sp>
        <p:nvSpPr>
          <p:cNvPr id="85" name="Abgerundetes Rechteck 84"/>
          <p:cNvSpPr>
            <a:spLocks noChangeAspect="1"/>
          </p:cNvSpPr>
          <p:nvPr userDrawn="1"/>
        </p:nvSpPr>
        <p:spPr>
          <a:xfrm>
            <a:off x="11592000" y="747852"/>
            <a:ext cx="90010" cy="90000"/>
          </a:xfrm>
          <a:prstGeom prst="roundRect">
            <a:avLst/>
          </a:prstGeom>
          <a:solidFill>
            <a:schemeClr val="bg1"/>
          </a:solidFill>
          <a:ln w="9525" cap="rnd">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grpSp>
        <p:nvGrpSpPr>
          <p:cNvPr id="9" name="Gruppieren 8"/>
          <p:cNvGrpSpPr/>
          <p:nvPr userDrawn="1"/>
        </p:nvGrpSpPr>
        <p:grpSpPr>
          <a:xfrm>
            <a:off x="695325" y="1376363"/>
            <a:ext cx="5292725" cy="1655877"/>
            <a:chOff x="695325" y="1376363"/>
            <a:chExt cx="5292725" cy="1655877"/>
          </a:xfrm>
        </p:grpSpPr>
        <p:sp>
          <p:nvSpPr>
            <p:cNvPr id="95" name="Richtungspfeil 12"/>
            <p:cNvSpPr>
              <a:spLocks noChangeArrowheads="1"/>
            </p:cNvSpPr>
            <p:nvPr userDrawn="1"/>
          </p:nvSpPr>
          <p:spPr bwMode="auto">
            <a:xfrm>
              <a:off x="695325" y="1376363"/>
              <a:ext cx="5292725" cy="360000"/>
            </a:xfrm>
            <a:prstGeom prst="round2SameRect">
              <a:avLst>
                <a:gd name="adj1" fmla="val 21167"/>
                <a:gd name="adj2" fmla="val 0"/>
              </a:avLst>
            </a:prstGeom>
            <a:solidFill>
              <a:schemeClr val="tx2"/>
            </a:solidFill>
            <a:ln w="9525">
              <a:noFill/>
              <a:miter lim="800000"/>
              <a:headEnd/>
              <a:tailEnd/>
            </a:ln>
            <a:effectLst/>
          </p:spPr>
          <p:txBody>
            <a:bodyPr wrap="none" tIns="14400" rIns="90000" bIns="36000" anchor="ctr"/>
            <a:lstStyle/>
            <a:p>
              <a:pPr algn="ctr"/>
              <a:r>
                <a:rPr lang="de-DE" sz="1400" b="0">
                  <a:solidFill>
                    <a:srgbClr val="FFFFFF"/>
                  </a:solidFill>
                  <a:latin typeface="Helvetica Light"/>
                  <a:cs typeface="Arial" charset="0"/>
                </a:rPr>
                <a:t>Überschrift</a:t>
              </a:r>
            </a:p>
          </p:txBody>
        </p:sp>
        <p:sp>
          <p:nvSpPr>
            <p:cNvPr id="96" name="Textfeld 95"/>
            <p:cNvSpPr txBox="1"/>
            <p:nvPr userDrawn="1"/>
          </p:nvSpPr>
          <p:spPr bwMode="auto">
            <a:xfrm>
              <a:off x="695325" y="1808820"/>
              <a:ext cx="5292725" cy="1223420"/>
            </a:xfrm>
            <a:prstGeom prst="round2SameRect">
              <a:avLst>
                <a:gd name="adj1" fmla="val 0"/>
                <a:gd name="adj2" fmla="val 6228"/>
              </a:avLst>
            </a:prstGeom>
            <a:noFill/>
            <a:ln w="6350">
              <a:solidFill>
                <a:schemeClr val="accent4"/>
              </a:solidFill>
              <a:prstDash val="solid"/>
              <a:miter lim="800000"/>
              <a:headEnd/>
              <a:tailEnd/>
            </a:ln>
          </p:spPr>
          <p:txBody>
            <a:bodyPr wrap="square" lIns="72000" rIns="72000" rtlCol="0">
              <a:noAutofit/>
            </a:bodyPr>
            <a:lstStyle>
              <a:defPPr>
                <a:defRPr lang="de-DE"/>
              </a:defPPr>
              <a:lvl1pPr marL="180000" indent="-180000">
                <a:lnSpc>
                  <a:spcPct val="125000"/>
                </a:lnSpc>
                <a:spcAft>
                  <a:spcPts val="400"/>
                </a:spcAft>
                <a:buClr>
                  <a:srgbClr val="002276"/>
                </a:buClr>
                <a:buSzPct val="80000"/>
                <a:buFontTx/>
                <a:buBlip>
                  <a:blip r:embed="rId9"/>
                </a:buBlip>
                <a:defRPr sz="1400">
                  <a:solidFill>
                    <a:srgbClr val="000000"/>
                  </a:solidFill>
                  <a:ea typeface="Arial"/>
                  <a:cs typeface="Arial" pitchFamily="34" charset="0"/>
                </a:defRPr>
              </a:lvl1pPr>
            </a:lstStyle>
            <a:p>
              <a:pPr marL="144000" lvl="0" indent="-144000">
                <a:buClr>
                  <a:schemeClr val="accent1"/>
                </a:buClr>
                <a:buFont typeface="Wingdings" panose="05000000000000000000" pitchFamily="2" charset="2"/>
                <a:buChar char="§"/>
              </a:pPr>
              <a:r>
                <a:rPr lang="de-DE" b="0"/>
                <a:t>Text</a:t>
              </a:r>
            </a:p>
            <a:p>
              <a:pPr marL="144000" lvl="0" indent="-144000">
                <a:buClr>
                  <a:schemeClr val="accent1"/>
                </a:buClr>
                <a:buFont typeface="Wingdings" panose="05000000000000000000" pitchFamily="2" charset="2"/>
                <a:buChar char="§"/>
              </a:pPr>
              <a:r>
                <a:rPr lang="de-DE" b="0"/>
                <a:t>Text</a:t>
              </a:r>
            </a:p>
            <a:p>
              <a:pPr marL="144000" lvl="0" indent="-144000">
                <a:buClr>
                  <a:schemeClr val="accent1"/>
                </a:buClr>
                <a:buFont typeface="Wingdings" panose="05000000000000000000" pitchFamily="2" charset="2"/>
                <a:buChar char="§"/>
              </a:pPr>
              <a:r>
                <a:rPr lang="de-DE" b="0"/>
                <a:t>Text</a:t>
              </a:r>
            </a:p>
          </p:txBody>
        </p:sp>
      </p:grpSp>
      <p:pic>
        <p:nvPicPr>
          <p:cNvPr id="98" name="Picture 3" descr="C:\Dokumente und Einstellungen\smaertens\Desktop\CCT Studie\iStock_000006973425Medium.jpg"/>
          <p:cNvPicPr>
            <a:picLocks noChangeAspect="1" noChangeArrowheads="1"/>
          </p:cNvPicPr>
          <p:nvPr userDrawn="1"/>
        </p:nvPicPr>
        <p:blipFill rotWithShape="1">
          <a:blip r:embed="rId10" cstate="print"/>
          <a:srcRect l="1764" r="25855"/>
          <a:stretch/>
        </p:blipFill>
        <p:spPr bwMode="auto">
          <a:xfrm>
            <a:off x="6204847" y="1376363"/>
            <a:ext cx="5291828" cy="4752000"/>
          </a:xfrm>
          <a:prstGeom prst="round2SameRect">
            <a:avLst>
              <a:gd name="adj1" fmla="val 1604"/>
              <a:gd name="adj2" fmla="val 1604"/>
            </a:avLst>
          </a:prstGeom>
          <a:noFill/>
          <a:ln w="3175">
            <a:solidFill>
              <a:schemeClr val="accent4"/>
            </a:solidFill>
            <a:miter lim="800000"/>
            <a:headEnd/>
            <a:tailEnd/>
          </a:ln>
        </p:spPr>
      </p:pic>
      <p:cxnSp>
        <p:nvCxnSpPr>
          <p:cNvPr id="63" name="Gerade Verbindung 132"/>
          <p:cNvCxnSpPr/>
          <p:nvPr userDrawn="1"/>
        </p:nvCxnSpPr>
        <p:spPr>
          <a:xfrm>
            <a:off x="11498138" y="-4198"/>
            <a:ext cx="0" cy="6862198"/>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 name="Auf der gleichen Seite des Rechtecks liegende Ecken abrunden 3"/>
          <p:cNvSpPr/>
          <p:nvPr userDrawn="1"/>
        </p:nvSpPr>
        <p:spPr>
          <a:xfrm>
            <a:off x="695325" y="5770595"/>
            <a:ext cx="5292725" cy="360000"/>
          </a:xfrm>
          <a:prstGeom prst="round2SameRect">
            <a:avLst>
              <a:gd name="adj1" fmla="val 21167"/>
              <a:gd name="adj2" fmla="val 21167"/>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b="0">
                <a:solidFill>
                  <a:schemeClr val="bg1"/>
                </a:solidFill>
              </a:rPr>
              <a:t>Ergebnis</a:t>
            </a:r>
          </a:p>
        </p:txBody>
      </p:sp>
      <p:sp>
        <p:nvSpPr>
          <p:cNvPr id="7" name="Gleichschenkliges Dreieck 6"/>
          <p:cNvSpPr/>
          <p:nvPr userDrawn="1"/>
        </p:nvSpPr>
        <p:spPr>
          <a:xfrm flipH="1" flipV="1">
            <a:off x="1078668" y="5409964"/>
            <a:ext cx="4526039" cy="180020"/>
          </a:xfrm>
          <a:prstGeom prst="triangle">
            <a:avLst/>
          </a:prstGeom>
          <a:solidFill>
            <a:schemeClr val="accent4"/>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grpSp>
        <p:nvGrpSpPr>
          <p:cNvPr id="10" name="Gruppieren 9"/>
          <p:cNvGrpSpPr/>
          <p:nvPr userDrawn="1"/>
        </p:nvGrpSpPr>
        <p:grpSpPr>
          <a:xfrm>
            <a:off x="695325" y="3572999"/>
            <a:ext cx="5292725" cy="1655877"/>
            <a:chOff x="703852" y="3601749"/>
            <a:chExt cx="5292725" cy="1655877"/>
          </a:xfrm>
        </p:grpSpPr>
        <p:sp>
          <p:nvSpPr>
            <p:cNvPr id="44" name="Richtungspfeil 12"/>
            <p:cNvSpPr>
              <a:spLocks noChangeArrowheads="1"/>
            </p:cNvSpPr>
            <p:nvPr userDrawn="1"/>
          </p:nvSpPr>
          <p:spPr bwMode="auto">
            <a:xfrm>
              <a:off x="703852" y="3601749"/>
              <a:ext cx="5292725" cy="360000"/>
            </a:xfrm>
            <a:prstGeom prst="round2SameRect">
              <a:avLst>
                <a:gd name="adj1" fmla="val 21167"/>
                <a:gd name="adj2" fmla="val 0"/>
              </a:avLst>
            </a:prstGeom>
            <a:solidFill>
              <a:schemeClr val="tx2"/>
            </a:solidFill>
            <a:ln w="9525">
              <a:noFill/>
              <a:miter lim="800000"/>
              <a:headEnd/>
              <a:tailEnd/>
            </a:ln>
            <a:effectLst/>
          </p:spPr>
          <p:txBody>
            <a:bodyPr wrap="none" tIns="14400" rIns="90000" bIns="36000" anchor="ctr"/>
            <a:lstStyle/>
            <a:p>
              <a:pPr algn="ctr"/>
              <a:r>
                <a:rPr lang="de-DE" sz="1400" b="0">
                  <a:solidFill>
                    <a:srgbClr val="FFFFFF"/>
                  </a:solidFill>
                  <a:latin typeface="Helvetica Light"/>
                  <a:cs typeface="Arial" charset="0"/>
                </a:rPr>
                <a:t>Überschrift</a:t>
              </a:r>
            </a:p>
          </p:txBody>
        </p:sp>
        <p:sp>
          <p:nvSpPr>
            <p:cNvPr id="45" name="Textfeld 44"/>
            <p:cNvSpPr txBox="1"/>
            <p:nvPr userDrawn="1"/>
          </p:nvSpPr>
          <p:spPr bwMode="auto">
            <a:xfrm>
              <a:off x="703852" y="4034206"/>
              <a:ext cx="5292725" cy="1223420"/>
            </a:xfrm>
            <a:prstGeom prst="round2SameRect">
              <a:avLst>
                <a:gd name="adj1" fmla="val 0"/>
                <a:gd name="adj2" fmla="val 6228"/>
              </a:avLst>
            </a:prstGeom>
            <a:noFill/>
            <a:ln w="6350">
              <a:solidFill>
                <a:schemeClr val="accent4"/>
              </a:solidFill>
              <a:prstDash val="solid"/>
              <a:miter lim="800000"/>
              <a:headEnd/>
              <a:tailEnd/>
            </a:ln>
          </p:spPr>
          <p:txBody>
            <a:bodyPr wrap="square" lIns="72000" rIns="72000" rtlCol="0">
              <a:noAutofit/>
            </a:bodyPr>
            <a:lstStyle>
              <a:defPPr>
                <a:defRPr lang="de-DE"/>
              </a:defPPr>
              <a:lvl1pPr marL="180000" indent="-180000">
                <a:lnSpc>
                  <a:spcPct val="125000"/>
                </a:lnSpc>
                <a:spcAft>
                  <a:spcPts val="400"/>
                </a:spcAft>
                <a:buClr>
                  <a:srgbClr val="002276"/>
                </a:buClr>
                <a:buSzPct val="80000"/>
                <a:buFontTx/>
                <a:buBlip>
                  <a:blip r:embed="rId9"/>
                </a:buBlip>
                <a:defRPr sz="1400">
                  <a:solidFill>
                    <a:srgbClr val="000000"/>
                  </a:solidFill>
                  <a:ea typeface="Arial"/>
                  <a:cs typeface="Arial" pitchFamily="34" charset="0"/>
                </a:defRPr>
              </a:lvl1pPr>
            </a:lstStyle>
            <a:p>
              <a:pPr marL="144000" lvl="0" indent="-144000">
                <a:buClr>
                  <a:schemeClr val="accent1"/>
                </a:buClr>
                <a:buFont typeface="Wingdings" panose="05000000000000000000" pitchFamily="2" charset="2"/>
                <a:buChar char="§"/>
              </a:pPr>
              <a:r>
                <a:rPr lang="de-DE" b="0"/>
                <a:t>Text</a:t>
              </a:r>
            </a:p>
            <a:p>
              <a:pPr marL="144000" lvl="0" indent="-144000">
                <a:buClr>
                  <a:schemeClr val="accent1"/>
                </a:buClr>
                <a:buFont typeface="Wingdings" panose="05000000000000000000" pitchFamily="2" charset="2"/>
                <a:buChar char="§"/>
              </a:pPr>
              <a:r>
                <a:rPr lang="de-DE" b="0"/>
                <a:t>Text</a:t>
              </a:r>
            </a:p>
            <a:p>
              <a:pPr marL="144000" lvl="0" indent="-144000">
                <a:buClr>
                  <a:schemeClr val="accent1"/>
                </a:buClr>
                <a:buFont typeface="Wingdings" panose="05000000000000000000" pitchFamily="2" charset="2"/>
                <a:buChar char="§"/>
              </a:pPr>
              <a:r>
                <a:rPr lang="de-DE" b="0"/>
                <a:t>Text</a:t>
              </a:r>
            </a:p>
          </p:txBody>
        </p:sp>
      </p:grpSp>
      <p:sp>
        <p:nvSpPr>
          <p:cNvPr id="46" name="Gleichschenkliges Dreieck 45"/>
          <p:cNvSpPr/>
          <p:nvPr userDrawn="1"/>
        </p:nvSpPr>
        <p:spPr>
          <a:xfrm flipH="1" flipV="1">
            <a:off x="1078668" y="3213719"/>
            <a:ext cx="4526039" cy="180020"/>
          </a:xfrm>
          <a:prstGeom prst="triangle">
            <a:avLst/>
          </a:prstGeom>
          <a:solidFill>
            <a:schemeClr val="accent4"/>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b="0">
              <a:solidFill>
                <a:schemeClr val="bg1"/>
              </a:solidFill>
            </a:endParaRPr>
          </a:p>
        </p:txBody>
      </p:sp>
      <p:cxnSp>
        <p:nvCxnSpPr>
          <p:cNvPr id="61" name="Gerade Verbindung 126"/>
          <p:cNvCxnSpPr/>
          <p:nvPr userDrawn="1"/>
        </p:nvCxnSpPr>
        <p:spPr>
          <a:xfrm>
            <a:off x="695325" y="-4198"/>
            <a:ext cx="0" cy="6862198"/>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67" name="Gerade Verbindung 135"/>
          <p:cNvCxnSpPr/>
          <p:nvPr userDrawn="1"/>
        </p:nvCxnSpPr>
        <p:spPr>
          <a:xfrm>
            <a:off x="11324" y="6129116"/>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Gerade Verbindung 117"/>
          <p:cNvCxnSpPr/>
          <p:nvPr userDrawn="1"/>
        </p:nvCxnSpPr>
        <p:spPr>
          <a:xfrm>
            <a:off x="0" y="1377841"/>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6" name="Auf der gleichen Seite des Rechtecks liegende Ecken abrunden 85"/>
          <p:cNvSpPr/>
          <p:nvPr userDrawn="1"/>
        </p:nvSpPr>
        <p:spPr>
          <a:xfrm>
            <a:off x="6204847" y="7244944"/>
            <a:ext cx="5985953" cy="1944000"/>
          </a:xfrm>
          <a:prstGeom prst="round2SameRect">
            <a:avLst>
              <a:gd name="adj1" fmla="val 3920"/>
              <a:gd name="adj2" fmla="val 3920"/>
            </a:avLst>
          </a:prstGeom>
          <a:solidFill>
            <a:schemeClr val="bg1"/>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tIns="97200" rtlCol="0" anchor="t"/>
          <a:lstStyle/>
          <a:p>
            <a:pPr algn="l">
              <a:spcAft>
                <a:spcPts val="400"/>
              </a:spcAft>
            </a:pPr>
            <a:r>
              <a:rPr lang="de-DE" sz="2800" b="0">
                <a:solidFill>
                  <a:schemeClr val="accent1"/>
                </a:solidFill>
                <a:latin typeface="Helvetica" panose="020B0604020202020204" pitchFamily="34" charset="0"/>
                <a:cs typeface="Helvetica" panose="020B0604020202020204" pitchFamily="34" charset="0"/>
              </a:rPr>
              <a:t>Nutzung von Makros</a:t>
            </a:r>
            <a:endParaRPr lang="de-DE" sz="3200" b="0">
              <a:solidFill>
                <a:schemeClr val="accent1"/>
              </a:solidFill>
              <a:latin typeface="Helvetica" panose="020B0604020202020204" pitchFamily="34" charset="0"/>
              <a:cs typeface="Helvetica" panose="020B0604020202020204" pitchFamily="34" charset="0"/>
            </a:endParaRPr>
          </a:p>
          <a:p>
            <a:pPr algn="l">
              <a:spcAft>
                <a:spcPts val="400"/>
              </a:spcAft>
            </a:pPr>
            <a:r>
              <a:rPr lang="de-DE" sz="1600" b="0">
                <a:solidFill>
                  <a:schemeClr val="tx1"/>
                </a:solidFill>
                <a:latin typeface="Helvetica" panose="020B0604020202020204" pitchFamily="34" charset="0"/>
                <a:cs typeface="Helvetica" panose="020B0604020202020204" pitchFamily="34" charset="0"/>
              </a:rPr>
              <a:t>How-To: 	Registerkarte</a:t>
            </a:r>
            <a:r>
              <a:rPr lang="de-DE" sz="1600" b="0">
                <a:solidFill>
                  <a:schemeClr val="accent1"/>
                </a:solidFill>
                <a:latin typeface="Helvetica" panose="020B0604020202020204" pitchFamily="34" charset="0"/>
                <a:cs typeface="Helvetica" panose="020B0604020202020204" pitchFamily="34" charset="0"/>
              </a:rPr>
              <a:t> „</a:t>
            </a:r>
            <a:r>
              <a:rPr lang="de-DE" sz="1600" b="0">
                <a:solidFill>
                  <a:schemeClr val="tx1"/>
                </a:solidFill>
                <a:latin typeface="Helvetica" panose="020B0604020202020204" pitchFamily="34" charset="0"/>
                <a:cs typeface="Helvetica" panose="020B0604020202020204" pitchFamily="34" charset="0"/>
              </a:rPr>
              <a:t>Entwicklertools“ </a:t>
            </a:r>
            <a:r>
              <a:rPr lang="de-DE" sz="1600" b="0">
                <a:solidFill>
                  <a:schemeClr val="tx1"/>
                </a:solidFill>
                <a:latin typeface="Helvetica" panose="020B0604020202020204" pitchFamily="34" charset="0"/>
                <a:cs typeface="Helvetica" panose="020B0604020202020204" pitchFamily="34" charset="0"/>
                <a:sym typeface="Wingdings" panose="05000000000000000000" pitchFamily="2" charset="2"/>
              </a:rPr>
              <a:t> „Makros“</a:t>
            </a:r>
          </a:p>
          <a:p>
            <a:pPr algn="l"/>
            <a:r>
              <a:rPr lang="de-DE" sz="1600" b="0">
                <a:solidFill>
                  <a:schemeClr val="tx1"/>
                </a:solidFill>
                <a:latin typeface="Helvetica Light" panose="02000403040000020004" pitchFamily="2" charset="0"/>
                <a:cs typeface="Helvetica" panose="020B0604020202020204" pitchFamily="34" charset="0"/>
              </a:rPr>
              <a:t>Die Makros sind</a:t>
            </a:r>
            <a:r>
              <a:rPr lang="de-DE" sz="1600" b="0" baseline="0">
                <a:solidFill>
                  <a:schemeClr val="tx1"/>
                </a:solidFill>
                <a:latin typeface="Helvetica Light" panose="02000403040000020004" pitchFamily="2" charset="0"/>
                <a:cs typeface="Helvetica" panose="020B0604020202020204" pitchFamily="34" charset="0"/>
              </a:rPr>
              <a:t> in der </a:t>
            </a:r>
            <a:r>
              <a:rPr lang="de-DE" sz="1600" b="0" baseline="0">
                <a:solidFill>
                  <a:schemeClr val="tx1"/>
                </a:solidFill>
                <a:latin typeface="Helvetica" panose="020B0604020202020204" pitchFamily="34" charset="0"/>
                <a:cs typeface="Helvetica" panose="020B0604020202020204" pitchFamily="34" charset="0"/>
              </a:rPr>
              <a:t>Chartbibliothek</a:t>
            </a:r>
            <a:r>
              <a:rPr lang="de-DE" sz="1600" b="0" baseline="0">
                <a:solidFill>
                  <a:schemeClr val="tx1"/>
                </a:solidFill>
                <a:latin typeface="Helvetica Light" panose="02000403040000020004" pitchFamily="2" charset="0"/>
                <a:cs typeface="Helvetica" panose="020B0604020202020204" pitchFamily="34" charset="0"/>
              </a:rPr>
              <a:t> hinterlegt. Um sie auch </a:t>
            </a:r>
            <a:br>
              <a:rPr lang="de-DE" sz="1600" b="0" baseline="0">
                <a:solidFill>
                  <a:schemeClr val="tx1"/>
                </a:solidFill>
                <a:latin typeface="Helvetica Light" panose="02000403040000020004" pitchFamily="2" charset="0"/>
                <a:cs typeface="Helvetica" panose="020B0604020202020204" pitchFamily="34" charset="0"/>
              </a:rPr>
            </a:br>
            <a:r>
              <a:rPr lang="de-DE" sz="1600" b="0" baseline="0">
                <a:solidFill>
                  <a:schemeClr val="tx1"/>
                </a:solidFill>
                <a:latin typeface="Helvetica Light" panose="02000403040000020004" pitchFamily="2" charset="0"/>
                <a:cs typeface="Helvetica" panose="020B0604020202020204" pitchFamily="34" charset="0"/>
              </a:rPr>
              <a:t>in anderen PowerPoint-Instanzen nutzen zu können, muss die </a:t>
            </a:r>
            <a:br>
              <a:rPr lang="de-DE" sz="1600" b="0" baseline="0">
                <a:solidFill>
                  <a:schemeClr val="tx1"/>
                </a:solidFill>
                <a:latin typeface="Helvetica Light" panose="02000403040000020004" pitchFamily="2" charset="0"/>
                <a:cs typeface="Helvetica" panose="020B0604020202020204" pitchFamily="34" charset="0"/>
              </a:rPr>
            </a:br>
            <a:r>
              <a:rPr lang="de-DE" sz="1600" b="0" baseline="0">
                <a:solidFill>
                  <a:schemeClr val="tx1"/>
                </a:solidFill>
                <a:latin typeface="Helvetica Light" panose="02000403040000020004" pitchFamily="2" charset="0"/>
                <a:cs typeface="Helvetica" panose="020B0604020202020204" pitchFamily="34" charset="0"/>
              </a:rPr>
              <a:t>Chartbibliothek stets parallel geöffnet sein.</a:t>
            </a:r>
          </a:p>
        </p:txBody>
      </p:sp>
      <p:sp>
        <p:nvSpPr>
          <p:cNvPr id="70" name="Auf der gleichen Seite des Rechtecks liegende Ecken abrunden 69"/>
          <p:cNvSpPr/>
          <p:nvPr userDrawn="1"/>
        </p:nvSpPr>
        <p:spPr>
          <a:xfrm>
            <a:off x="0" y="7244706"/>
            <a:ext cx="5988050" cy="1944238"/>
          </a:xfrm>
          <a:prstGeom prst="round2SameRect">
            <a:avLst>
              <a:gd name="adj1" fmla="val 3919"/>
              <a:gd name="adj2" fmla="val 3919"/>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a:spcAft>
                <a:spcPts val="400"/>
              </a:spcAft>
            </a:pPr>
            <a:r>
              <a:rPr lang="de-DE" sz="2800" b="0">
                <a:solidFill>
                  <a:schemeClr val="accent1"/>
                </a:solidFill>
                <a:latin typeface="Helvetica" panose="020B0604020202020204" pitchFamily="34" charset="0"/>
                <a:cs typeface="Helvetica" panose="020B0604020202020204" pitchFamily="34" charset="0"/>
              </a:rPr>
              <a:t>Farben</a:t>
            </a:r>
            <a:br>
              <a:rPr lang="de-DE" sz="2800" b="0">
                <a:solidFill>
                  <a:schemeClr val="accent1"/>
                </a:solidFill>
              </a:rPr>
            </a:br>
            <a:r>
              <a:rPr lang="de-DE" sz="1600" b="0">
                <a:solidFill>
                  <a:schemeClr val="tx1"/>
                </a:solidFill>
                <a:latin typeface="Helvetica Light"/>
              </a:rPr>
              <a:t>Primärfarben:	</a:t>
            </a:r>
            <a:r>
              <a:rPr lang="de-DE" sz="1600" b="0" baseline="0">
                <a:solidFill>
                  <a:schemeClr val="tx1"/>
                </a:solidFill>
                <a:latin typeface="Helvetica Light"/>
              </a:rPr>
              <a:t>Akzent 1-6 + Schwarz</a:t>
            </a:r>
            <a:br>
              <a:rPr lang="de-DE" sz="1600" b="0" baseline="0">
                <a:solidFill>
                  <a:schemeClr val="tx1"/>
                </a:solidFill>
                <a:latin typeface="Helvetica Light"/>
              </a:rPr>
            </a:br>
            <a:r>
              <a:rPr lang="de-DE" sz="1600" b="0" baseline="0">
                <a:solidFill>
                  <a:schemeClr val="tx1"/>
                </a:solidFill>
                <a:latin typeface="Helvetica Light"/>
                <a:cs typeface="Helvetica" panose="020B0604020202020204" pitchFamily="34" charset="0"/>
              </a:rPr>
              <a:t>Sekundärfarben: 	Transparenzstufen der Akzente 1 &amp; 3-6,</a:t>
            </a:r>
            <a:br>
              <a:rPr lang="de-DE" sz="1600" b="0" baseline="0">
                <a:solidFill>
                  <a:schemeClr val="tx1"/>
                </a:solidFill>
                <a:latin typeface="Helvetica Light"/>
                <a:cs typeface="Helvetica" panose="020B0604020202020204" pitchFamily="34" charset="0"/>
              </a:rPr>
            </a:br>
            <a:r>
              <a:rPr lang="de-DE" sz="1600" b="0" baseline="0">
                <a:solidFill>
                  <a:schemeClr val="tx1"/>
                </a:solidFill>
                <a:latin typeface="Helvetica Light"/>
                <a:cs typeface="Helvetica" panose="020B0604020202020204" pitchFamily="34" charset="0"/>
              </a:rPr>
              <a:t>		die in den „Designfarben“ hinterlegt sind</a:t>
            </a:r>
          </a:p>
          <a:p>
            <a:pPr algn="l"/>
            <a:r>
              <a:rPr lang="de-DE" sz="1600" b="0" baseline="0">
                <a:solidFill>
                  <a:schemeClr val="tx1"/>
                </a:solidFill>
                <a:latin typeface="Helvetica Light"/>
                <a:cs typeface="Helvetica" panose="020B0604020202020204" pitchFamily="34" charset="0"/>
              </a:rPr>
              <a:t>Primär- sind Sekundärfarben stets vorzuziehen;</a:t>
            </a:r>
          </a:p>
          <a:p>
            <a:pPr algn="l"/>
            <a:r>
              <a:rPr lang="de-DE" sz="1600" b="0">
                <a:solidFill>
                  <a:schemeClr val="tx1"/>
                </a:solidFill>
                <a:latin typeface="Helvetica Light"/>
                <a:cs typeface="Helvetica" panose="020B0604020202020204" pitchFamily="34" charset="0"/>
              </a:rPr>
              <a:t>Akzent</a:t>
            </a:r>
            <a:r>
              <a:rPr lang="de-DE" sz="1600" b="0" baseline="0">
                <a:solidFill>
                  <a:schemeClr val="tx1"/>
                </a:solidFill>
                <a:latin typeface="Helvetica Light"/>
                <a:cs typeface="Helvetica" panose="020B0604020202020204" pitchFamily="34" charset="0"/>
              </a:rPr>
              <a:t> 2 ist nur als </a:t>
            </a:r>
            <a:r>
              <a:rPr lang="de-DE" sz="1600" b="0" baseline="0">
                <a:solidFill>
                  <a:schemeClr val="accent2"/>
                </a:solidFill>
                <a:latin typeface="Helvetica" panose="020B0604020202020204" pitchFamily="34" charset="0"/>
                <a:cs typeface="Helvetica" panose="020B0604020202020204" pitchFamily="34" charset="0"/>
              </a:rPr>
              <a:t>Signalfarbe</a:t>
            </a:r>
            <a:r>
              <a:rPr lang="de-DE" sz="1600" b="0" baseline="0">
                <a:solidFill>
                  <a:schemeClr val="tx1"/>
                </a:solidFill>
                <a:latin typeface="Helvetica" panose="020B0604020202020204" pitchFamily="34" charset="0"/>
                <a:cs typeface="Helvetica" panose="020B0604020202020204" pitchFamily="34" charset="0"/>
              </a:rPr>
              <a:t> </a:t>
            </a:r>
            <a:r>
              <a:rPr lang="de-DE" sz="1600" b="0" baseline="0">
                <a:solidFill>
                  <a:schemeClr val="tx1"/>
                </a:solidFill>
                <a:latin typeface="Helvetica Light"/>
                <a:cs typeface="Helvetica" panose="020B0604020202020204" pitchFamily="34" charset="0"/>
              </a:rPr>
              <a:t>zu verwenden</a:t>
            </a:r>
            <a:endParaRPr lang="de-DE" sz="1600" b="0">
              <a:solidFill>
                <a:schemeClr val="tx1"/>
              </a:solidFill>
              <a:latin typeface="Helvetica Light"/>
              <a:cs typeface="Helvetica" panose="020B0604020202020204" pitchFamily="34" charset="0"/>
            </a:endParaRPr>
          </a:p>
        </p:txBody>
      </p:sp>
      <p:sp>
        <p:nvSpPr>
          <p:cNvPr id="54" name="Auf der gleichen Seite des Rechtecks liegende Ecken abrunden 53"/>
          <p:cNvSpPr/>
          <p:nvPr userDrawn="1"/>
        </p:nvSpPr>
        <p:spPr>
          <a:xfrm>
            <a:off x="-5116258" y="1520788"/>
            <a:ext cx="4356000" cy="1695422"/>
          </a:xfrm>
          <a:prstGeom prst="round2SameRect">
            <a:avLst>
              <a:gd name="adj1" fmla="val 4494"/>
              <a:gd name="adj2" fmla="val 4494"/>
            </a:avLst>
          </a:prstGeom>
          <a:solidFill>
            <a:schemeClr val="accent6"/>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a:r>
              <a:rPr lang="de-DE" sz="2800" b="0">
                <a:solidFill>
                  <a:schemeClr val="accent1"/>
                </a:solidFill>
                <a:latin typeface="Helvetica" panose="020B0604020202020204" pitchFamily="34" charset="0"/>
                <a:cs typeface="Helvetica" panose="020B0604020202020204" pitchFamily="34" charset="0"/>
              </a:rPr>
              <a:t>Textbox</a:t>
            </a:r>
            <a:endParaRPr lang="de-DE" sz="1600" b="0">
              <a:solidFill>
                <a:schemeClr val="accent1"/>
              </a:solidFill>
              <a:latin typeface="Helvetica" panose="020B0604020202020204" pitchFamily="34" charset="0"/>
              <a:cs typeface="Helvetica" panose="020B0604020202020204" pitchFamily="34" charset="0"/>
            </a:endParaRPr>
          </a:p>
          <a:p>
            <a:pPr algn="l">
              <a:spcAft>
                <a:spcPts val="400"/>
              </a:spcAft>
            </a:pPr>
            <a:r>
              <a:rPr lang="de-DE" sz="2000" b="0">
                <a:solidFill>
                  <a:schemeClr val="accent1"/>
                </a:solidFill>
                <a:latin typeface="Helvetica" panose="020B0604020202020204" pitchFamily="34" charset="0"/>
                <a:cs typeface="Helvetica" panose="020B0604020202020204" pitchFamily="34" charset="0"/>
              </a:rPr>
              <a:t>(mit zugehöriger Box-Überschrift)</a:t>
            </a:r>
            <a:endParaRPr lang="de-DE" sz="1600" b="0">
              <a:solidFill>
                <a:schemeClr val="accent1"/>
              </a:solidFill>
              <a:latin typeface="Helvetica" panose="020B0604020202020204" pitchFamily="34" charset="0"/>
              <a:cs typeface="Helvetica" panose="020B0604020202020204" pitchFamily="34" charset="0"/>
            </a:endParaRPr>
          </a:p>
          <a:p>
            <a:pPr algn="l"/>
            <a:r>
              <a:rPr lang="de-DE" sz="1600" b="0">
                <a:solidFill>
                  <a:schemeClr val="tx1"/>
                </a:solidFill>
                <a:latin typeface="Helvetica Light"/>
                <a:cs typeface="Helvetica" panose="020B0604020202020204" pitchFamily="34" charset="0"/>
              </a:rPr>
              <a:t>Markieren</a:t>
            </a:r>
            <a:r>
              <a:rPr lang="de-DE" sz="1600" b="0" baseline="0">
                <a:solidFill>
                  <a:schemeClr val="tx1"/>
                </a:solidFill>
                <a:latin typeface="Helvetica Light"/>
                <a:cs typeface="Helvetica" panose="020B0604020202020204" pitchFamily="34" charset="0"/>
              </a:rPr>
              <a:t> der Box und a</a:t>
            </a:r>
            <a:r>
              <a:rPr lang="de-DE" sz="1600" b="0">
                <a:solidFill>
                  <a:schemeClr val="tx1"/>
                </a:solidFill>
                <a:latin typeface="Helvetica Light"/>
                <a:cs typeface="Helvetica" panose="020B0604020202020204" pitchFamily="34" charset="0"/>
              </a:rPr>
              <a:t>brunden der</a:t>
            </a:r>
          </a:p>
          <a:p>
            <a:pPr algn="l"/>
            <a:r>
              <a:rPr lang="de-DE" sz="1600" b="0">
                <a:solidFill>
                  <a:schemeClr val="tx1"/>
                </a:solidFill>
                <a:latin typeface="Helvetica Light"/>
                <a:cs typeface="Helvetica" panose="020B0604020202020204" pitchFamily="34" charset="0"/>
              </a:rPr>
              <a:t>Ecken über Makro </a:t>
            </a:r>
            <a:r>
              <a:rPr lang="de-DE" sz="1600" b="0" baseline="0">
                <a:solidFill>
                  <a:schemeClr val="tx1"/>
                </a:solidFill>
                <a:latin typeface="Helvetica Light"/>
                <a:cs typeface="Helvetica" panose="020B0604020202020204" pitchFamily="34" charset="0"/>
              </a:rPr>
              <a:t>„</a:t>
            </a:r>
            <a:r>
              <a:rPr lang="de-DE" sz="1600" b="0" baseline="0" err="1">
                <a:solidFill>
                  <a:schemeClr val="tx1"/>
                </a:solidFill>
                <a:latin typeface="Helvetica Light"/>
                <a:cs typeface="Helvetica" panose="020B0604020202020204" pitchFamily="34" charset="0"/>
              </a:rPr>
              <a:t>Ecken_unten</a:t>
            </a:r>
            <a:r>
              <a:rPr lang="de-DE" sz="1600" b="0" baseline="0">
                <a:solidFill>
                  <a:schemeClr val="tx1"/>
                </a:solidFill>
                <a:latin typeface="Helvetica Light"/>
                <a:cs typeface="Helvetica" panose="020B0604020202020204" pitchFamily="34" charset="0"/>
              </a:rPr>
              <a:t>“, </a:t>
            </a:r>
          </a:p>
          <a:p>
            <a:pPr algn="l">
              <a:spcAft>
                <a:spcPts val="400"/>
              </a:spcAft>
            </a:pPr>
            <a:r>
              <a:rPr lang="de-DE" sz="1600" b="0" baseline="0">
                <a:solidFill>
                  <a:schemeClr val="tx1"/>
                </a:solidFill>
                <a:latin typeface="Helvetica" pitchFamily="2" charset="0"/>
                <a:cs typeface="Helvetica" panose="020B0604020202020204" pitchFamily="34" charset="0"/>
              </a:rPr>
              <a:t>nachdem</a:t>
            </a:r>
            <a:r>
              <a:rPr lang="de-DE" sz="1600" b="0" baseline="0">
                <a:solidFill>
                  <a:schemeClr val="tx1"/>
                </a:solidFill>
                <a:latin typeface="Helvetica Light"/>
                <a:cs typeface="Helvetica" panose="020B0604020202020204" pitchFamily="34" charset="0"/>
              </a:rPr>
              <a:t> die Box ihre finale Größe hat</a:t>
            </a:r>
            <a:endParaRPr lang="de-DE" sz="1600" b="0">
              <a:solidFill>
                <a:schemeClr val="tx1"/>
              </a:solidFill>
              <a:latin typeface="Helvetica Light"/>
            </a:endParaRPr>
          </a:p>
        </p:txBody>
      </p:sp>
      <p:grpSp>
        <p:nvGrpSpPr>
          <p:cNvPr id="6" name="Gruppieren 5"/>
          <p:cNvGrpSpPr/>
          <p:nvPr userDrawn="1"/>
        </p:nvGrpSpPr>
        <p:grpSpPr>
          <a:xfrm>
            <a:off x="-5116258" y="4283640"/>
            <a:ext cx="5758907" cy="1663802"/>
            <a:chOff x="-5116258" y="4283640"/>
            <a:chExt cx="5758907" cy="1663802"/>
          </a:xfrm>
        </p:grpSpPr>
        <p:cxnSp>
          <p:nvCxnSpPr>
            <p:cNvPr id="87" name="Gewinkelte Verbindung 86"/>
            <p:cNvCxnSpPr>
              <a:stCxn id="88" idx="0"/>
            </p:cNvCxnSpPr>
            <p:nvPr userDrawn="1"/>
          </p:nvCxnSpPr>
          <p:spPr>
            <a:xfrm>
              <a:off x="-760258" y="5115541"/>
              <a:ext cx="1402907" cy="831901"/>
            </a:xfrm>
            <a:prstGeom prst="bentConnector3">
              <a:avLst>
                <a:gd name="adj1" fmla="val 6399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88" name="Auf der gleichen Seite des Rechtecks liegende Ecken abrunden 87"/>
            <p:cNvSpPr/>
            <p:nvPr userDrawn="1"/>
          </p:nvSpPr>
          <p:spPr>
            <a:xfrm>
              <a:off x="-5116258" y="4283640"/>
              <a:ext cx="4356000" cy="1663802"/>
            </a:xfrm>
            <a:prstGeom prst="round2SameRect">
              <a:avLst>
                <a:gd name="adj1" fmla="val 4580"/>
                <a:gd name="adj2" fmla="val 4580"/>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a:r>
                <a:rPr lang="de-DE" sz="2800" b="0">
                  <a:solidFill>
                    <a:schemeClr val="accent1"/>
                  </a:solidFill>
                  <a:latin typeface="Helvetica" panose="020B0604020202020204" pitchFamily="34" charset="0"/>
                  <a:cs typeface="Helvetica" panose="020B0604020202020204" pitchFamily="34" charset="0"/>
                </a:rPr>
                <a:t>Ergebnis-Box</a:t>
              </a:r>
            </a:p>
            <a:p>
              <a:pPr algn="l">
                <a:spcAft>
                  <a:spcPts val="400"/>
                </a:spcAft>
              </a:pPr>
              <a:r>
                <a:rPr lang="de-DE" sz="2000" b="0">
                  <a:solidFill>
                    <a:schemeClr val="accent1"/>
                  </a:solidFill>
                  <a:latin typeface="Helvetica" panose="020B0604020202020204" pitchFamily="34" charset="0"/>
                  <a:cs typeface="Helvetica" panose="020B0604020202020204" pitchFamily="34" charset="0"/>
                </a:rPr>
                <a:t>(ohne zugehörige Textbox)</a:t>
              </a:r>
            </a:p>
            <a:p>
              <a:pPr algn="l"/>
              <a:r>
                <a:rPr lang="de-DE" sz="1600" b="0">
                  <a:solidFill>
                    <a:schemeClr val="tx1"/>
                  </a:solidFill>
                  <a:latin typeface="Helvetica Light"/>
                  <a:cs typeface="Helvetica" panose="020B0604020202020204" pitchFamily="34" charset="0"/>
                </a:rPr>
                <a:t>Markieren</a:t>
              </a:r>
              <a:r>
                <a:rPr lang="de-DE" sz="1600" b="0" baseline="0">
                  <a:solidFill>
                    <a:schemeClr val="tx1"/>
                  </a:solidFill>
                  <a:latin typeface="Helvetica Light"/>
                  <a:cs typeface="Helvetica" panose="020B0604020202020204" pitchFamily="34" charset="0"/>
                </a:rPr>
                <a:t> der Box und a</a:t>
              </a:r>
              <a:r>
                <a:rPr lang="de-DE" sz="1600" b="0">
                  <a:solidFill>
                    <a:schemeClr val="tx1"/>
                  </a:solidFill>
                  <a:latin typeface="Helvetica Light"/>
                  <a:cs typeface="Helvetica" panose="020B0604020202020204" pitchFamily="34" charset="0"/>
                </a:rPr>
                <a:t>brunden der</a:t>
              </a:r>
            </a:p>
            <a:p>
              <a:pPr algn="l"/>
              <a:r>
                <a:rPr lang="de-DE" sz="1600" b="0">
                  <a:solidFill>
                    <a:schemeClr val="tx1"/>
                  </a:solidFill>
                  <a:latin typeface="Helvetica Light"/>
                  <a:cs typeface="Helvetica" panose="020B0604020202020204" pitchFamily="34" charset="0"/>
                </a:rPr>
                <a:t>Ecken über Makro </a:t>
              </a:r>
              <a:r>
                <a:rPr lang="de-DE" sz="1600" b="0" baseline="0">
                  <a:solidFill>
                    <a:schemeClr val="tx1"/>
                  </a:solidFill>
                  <a:latin typeface="Helvetica Light"/>
                  <a:cs typeface="Helvetica" panose="020B0604020202020204" pitchFamily="34" charset="0"/>
                </a:rPr>
                <a:t>„</a:t>
              </a:r>
              <a:r>
                <a:rPr lang="de-DE" sz="1600" b="0" baseline="0" err="1">
                  <a:solidFill>
                    <a:schemeClr val="tx1"/>
                  </a:solidFill>
                  <a:latin typeface="Helvetica Light"/>
                  <a:cs typeface="Helvetica" panose="020B0604020202020204" pitchFamily="34" charset="0"/>
                </a:rPr>
                <a:t>alle_Ecken</a:t>
              </a:r>
              <a:r>
                <a:rPr lang="de-DE" sz="1600" b="0" baseline="0">
                  <a:solidFill>
                    <a:schemeClr val="tx1"/>
                  </a:solidFill>
                  <a:latin typeface="Helvetica Light"/>
                  <a:cs typeface="Helvetica" panose="020B0604020202020204" pitchFamily="34" charset="0"/>
                </a:rPr>
                <a:t>“, </a:t>
              </a:r>
            </a:p>
            <a:p>
              <a:pPr algn="l">
                <a:spcAft>
                  <a:spcPts val="400"/>
                </a:spcAft>
              </a:pPr>
              <a:r>
                <a:rPr lang="de-DE" sz="1600" b="0" baseline="0">
                  <a:solidFill>
                    <a:schemeClr val="tx1"/>
                  </a:solidFill>
                  <a:latin typeface="Helvetica" panose="020B0604020202020204" pitchFamily="34" charset="0"/>
                  <a:cs typeface="Helvetica" panose="020B0604020202020204" pitchFamily="34" charset="0"/>
                </a:rPr>
                <a:t>nachdem </a:t>
              </a:r>
              <a:r>
                <a:rPr lang="de-DE" sz="1600" b="0" baseline="0">
                  <a:solidFill>
                    <a:schemeClr val="tx1"/>
                  </a:solidFill>
                  <a:latin typeface="Helvetica Light"/>
                  <a:cs typeface="Helvetica" panose="020B0604020202020204" pitchFamily="34" charset="0"/>
                </a:rPr>
                <a:t>die Box ihre finale Größe hat</a:t>
              </a:r>
            </a:p>
          </p:txBody>
        </p:sp>
      </p:grpSp>
      <p:cxnSp>
        <p:nvCxnSpPr>
          <p:cNvPr id="18" name="Gewinkelte Verbindung 17"/>
          <p:cNvCxnSpPr>
            <a:stCxn id="73" idx="0"/>
            <a:endCxn id="95" idx="2"/>
          </p:cNvCxnSpPr>
          <p:nvPr userDrawn="1"/>
        </p:nvCxnSpPr>
        <p:spPr>
          <a:xfrm>
            <a:off x="-760258" y="-167632"/>
            <a:ext cx="1455583" cy="1723995"/>
          </a:xfrm>
          <a:prstGeom prst="bentConnector3">
            <a:avLst>
              <a:gd name="adj1" fmla="val 61467"/>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Auf der gleichen Seite des Rechtecks liegende Ecken abrunden 72"/>
          <p:cNvSpPr/>
          <p:nvPr userDrawn="1"/>
        </p:nvSpPr>
        <p:spPr>
          <a:xfrm>
            <a:off x="-5116258" y="-1039346"/>
            <a:ext cx="4356000" cy="1743428"/>
          </a:xfrm>
          <a:prstGeom prst="round2SameRect">
            <a:avLst>
              <a:gd name="adj1" fmla="val 2976"/>
              <a:gd name="adj2" fmla="val 2976"/>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a:r>
              <a:rPr lang="de-DE" sz="2800" b="0">
                <a:solidFill>
                  <a:schemeClr val="accent1"/>
                </a:solidFill>
                <a:latin typeface="Helvetica" panose="020B0604020202020204" pitchFamily="34" charset="0"/>
                <a:cs typeface="Helvetica" panose="020B0604020202020204" pitchFamily="34" charset="0"/>
              </a:rPr>
              <a:t>Box-Überschrift</a:t>
            </a:r>
          </a:p>
          <a:p>
            <a:pPr algn="l">
              <a:spcAft>
                <a:spcPts val="400"/>
              </a:spcAft>
            </a:pPr>
            <a:r>
              <a:rPr lang="de-DE" sz="2000" b="0">
                <a:solidFill>
                  <a:schemeClr val="accent1"/>
                </a:solidFill>
                <a:latin typeface="Helvetica" panose="020B0604020202020204" pitchFamily="34" charset="0"/>
                <a:cs typeface="Helvetica" panose="020B0604020202020204" pitchFamily="34" charset="0"/>
              </a:rPr>
              <a:t>(mit zugehöriger Textbox)</a:t>
            </a:r>
          </a:p>
          <a:p>
            <a:pPr algn="l"/>
            <a:r>
              <a:rPr lang="de-DE" sz="1600" b="0">
                <a:solidFill>
                  <a:schemeClr val="tx1"/>
                </a:solidFill>
                <a:latin typeface="Helvetica Light"/>
                <a:cs typeface="Helvetica" panose="020B0604020202020204" pitchFamily="34" charset="0"/>
              </a:rPr>
              <a:t>Markieren</a:t>
            </a:r>
            <a:r>
              <a:rPr lang="de-DE" sz="1600" b="0" baseline="0">
                <a:solidFill>
                  <a:schemeClr val="tx1"/>
                </a:solidFill>
                <a:latin typeface="Helvetica Light"/>
                <a:cs typeface="Helvetica" panose="020B0604020202020204" pitchFamily="34" charset="0"/>
              </a:rPr>
              <a:t> der Box und a</a:t>
            </a:r>
            <a:r>
              <a:rPr lang="de-DE" sz="1600" b="0">
                <a:solidFill>
                  <a:schemeClr val="tx1"/>
                </a:solidFill>
                <a:latin typeface="Helvetica Light"/>
                <a:cs typeface="Helvetica" panose="020B0604020202020204" pitchFamily="34" charset="0"/>
              </a:rPr>
              <a:t>brunden der</a:t>
            </a:r>
          </a:p>
          <a:p>
            <a:pPr algn="l"/>
            <a:r>
              <a:rPr lang="de-DE" sz="1600" b="0">
                <a:solidFill>
                  <a:schemeClr val="tx1"/>
                </a:solidFill>
                <a:latin typeface="Helvetica Light"/>
                <a:cs typeface="Helvetica" panose="020B0604020202020204" pitchFamily="34" charset="0"/>
              </a:rPr>
              <a:t>Ecken über Makro </a:t>
            </a:r>
            <a:r>
              <a:rPr lang="de-DE" sz="1600" b="0" baseline="0">
                <a:solidFill>
                  <a:schemeClr val="tx1"/>
                </a:solidFill>
                <a:latin typeface="Helvetica Light"/>
                <a:cs typeface="Helvetica" panose="020B0604020202020204" pitchFamily="34" charset="0"/>
              </a:rPr>
              <a:t>„</a:t>
            </a:r>
            <a:r>
              <a:rPr lang="de-DE" sz="1600" b="0" baseline="0" err="1">
                <a:solidFill>
                  <a:schemeClr val="tx1"/>
                </a:solidFill>
                <a:latin typeface="Helvetica Light"/>
                <a:cs typeface="Helvetica" panose="020B0604020202020204" pitchFamily="34" charset="0"/>
              </a:rPr>
              <a:t>Ecken_oben</a:t>
            </a:r>
            <a:r>
              <a:rPr lang="de-DE" sz="1600" b="0" baseline="0">
                <a:solidFill>
                  <a:schemeClr val="tx1"/>
                </a:solidFill>
                <a:latin typeface="Helvetica Light"/>
                <a:cs typeface="Helvetica" panose="020B0604020202020204" pitchFamily="34" charset="0"/>
              </a:rPr>
              <a:t>“, </a:t>
            </a:r>
          </a:p>
          <a:p>
            <a:pPr algn="l">
              <a:spcAft>
                <a:spcPts val="400"/>
              </a:spcAft>
            </a:pPr>
            <a:r>
              <a:rPr lang="de-DE" sz="1600" b="0" baseline="0">
                <a:solidFill>
                  <a:schemeClr val="tx1"/>
                </a:solidFill>
                <a:latin typeface="Helvetica" panose="020B0604020202020204" pitchFamily="34" charset="0"/>
                <a:cs typeface="Helvetica" panose="020B0604020202020204" pitchFamily="34" charset="0"/>
              </a:rPr>
              <a:t>nachdem </a:t>
            </a:r>
            <a:r>
              <a:rPr lang="de-DE" sz="1600" b="0" baseline="0">
                <a:solidFill>
                  <a:schemeClr val="tx1"/>
                </a:solidFill>
                <a:latin typeface="Helvetica Light"/>
                <a:cs typeface="Helvetica" panose="020B0604020202020204" pitchFamily="34" charset="0"/>
              </a:rPr>
              <a:t>die Box ihre finale Größe hat</a:t>
            </a:r>
          </a:p>
        </p:txBody>
      </p:sp>
      <p:grpSp>
        <p:nvGrpSpPr>
          <p:cNvPr id="23" name="Gruppieren 22"/>
          <p:cNvGrpSpPr/>
          <p:nvPr userDrawn="1"/>
        </p:nvGrpSpPr>
        <p:grpSpPr>
          <a:xfrm>
            <a:off x="11682010" y="3798477"/>
            <a:ext cx="5626790" cy="2148965"/>
            <a:chOff x="11682010" y="3798477"/>
            <a:chExt cx="5626790" cy="2148965"/>
          </a:xfrm>
        </p:grpSpPr>
        <p:cxnSp>
          <p:nvCxnSpPr>
            <p:cNvPr id="50" name="Gerade Verbindung mit Pfeil 49"/>
            <p:cNvCxnSpPr>
              <a:stCxn id="66" idx="2"/>
            </p:cNvCxnSpPr>
            <p:nvPr userDrawn="1"/>
          </p:nvCxnSpPr>
          <p:spPr>
            <a:xfrm flipH="1" flipV="1">
              <a:off x="11682010" y="4871482"/>
              <a:ext cx="1270790" cy="1478"/>
            </a:xfrm>
            <a:prstGeom prst="straightConnector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66" name="Auf der gleichen Seite des Rechtecks liegende Ecken abrunden 65"/>
            <p:cNvSpPr/>
            <p:nvPr userDrawn="1"/>
          </p:nvSpPr>
          <p:spPr>
            <a:xfrm>
              <a:off x="12952800" y="3798477"/>
              <a:ext cx="4356000" cy="2148965"/>
            </a:xfrm>
            <a:prstGeom prst="round2SameRect">
              <a:avLst>
                <a:gd name="adj1" fmla="val 3546"/>
                <a:gd name="adj2" fmla="val 3546"/>
              </a:avLst>
            </a:prstGeom>
            <a:solidFill>
              <a:schemeClr val="bg1">
                <a:lumMod val="95000"/>
              </a:schemeClr>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l" defTabSz="180000">
                <a:spcAft>
                  <a:spcPts val="400"/>
                </a:spcAft>
              </a:pPr>
              <a:r>
                <a:rPr lang="de-DE" sz="2800" b="0">
                  <a:solidFill>
                    <a:schemeClr val="accent1"/>
                  </a:solidFill>
                  <a:latin typeface="Helvetica" panose="020B0604020202020204" pitchFamily="34" charset="0"/>
                  <a:cs typeface="Helvetica" panose="020B0604020202020204" pitchFamily="34" charset="0"/>
                </a:rPr>
                <a:t>Bilder</a:t>
              </a:r>
            </a:p>
            <a:p>
              <a:pPr algn="l" defTabSz="180000"/>
              <a:r>
                <a:rPr lang="de-DE" sz="1600" b="0">
                  <a:solidFill>
                    <a:schemeClr val="tx1"/>
                  </a:solidFill>
                  <a:latin typeface="Helvetica Light"/>
                </a:rPr>
                <a:t>Kontur-Farbe:						Akzent 4</a:t>
              </a:r>
            </a:p>
            <a:p>
              <a:pPr algn="l" defTabSz="180000">
                <a:spcAft>
                  <a:spcPts val="400"/>
                </a:spcAft>
              </a:pPr>
              <a:r>
                <a:rPr lang="de-DE" sz="1600" b="0">
                  <a:solidFill>
                    <a:schemeClr val="tx1"/>
                  </a:solidFill>
                  <a:latin typeface="Helvetica Light"/>
                </a:rPr>
                <a:t>Kontur-Stärke:					</a:t>
              </a:r>
              <a:r>
                <a:rPr lang="de-DE" sz="1600" b="0" kern="1200">
                  <a:solidFill>
                    <a:schemeClr val="tx1"/>
                  </a:solidFill>
                  <a:latin typeface="Helvetica Light"/>
                  <a:ea typeface="+mn-ea"/>
                  <a:cs typeface="+mn-cs"/>
                </a:rPr>
                <a:t>½ </a:t>
              </a:r>
              <a:r>
                <a:rPr lang="de-DE" sz="1600" b="0">
                  <a:solidFill>
                    <a:schemeClr val="tx1"/>
                  </a:solidFill>
                  <a:latin typeface="Helvetica Light"/>
                </a:rPr>
                <a:t>Pt.</a:t>
              </a:r>
            </a:p>
            <a:p>
              <a:pPr algn="l"/>
              <a:r>
                <a:rPr lang="de-DE" sz="1600" b="0">
                  <a:solidFill>
                    <a:schemeClr val="tx1"/>
                  </a:solidFill>
                  <a:latin typeface="Helvetica Light"/>
                </a:rPr>
                <a:t>Abrunden aller</a:t>
              </a:r>
              <a:r>
                <a:rPr lang="de-DE" sz="1600" b="0" baseline="0">
                  <a:solidFill>
                    <a:schemeClr val="tx1"/>
                  </a:solidFill>
                  <a:latin typeface="Helvetica Light"/>
                </a:rPr>
                <a:t> Ecken: </a:t>
              </a:r>
            </a:p>
            <a:p>
              <a:pPr algn="l"/>
              <a:r>
                <a:rPr lang="de-DE" sz="1600" b="0">
                  <a:solidFill>
                    <a:schemeClr val="tx1"/>
                  </a:solidFill>
                  <a:latin typeface="Helvetica Light"/>
                  <a:cs typeface="Helvetica" panose="020B0604020202020204" pitchFamily="34" charset="0"/>
                </a:rPr>
                <a:t>Markieren</a:t>
              </a:r>
              <a:r>
                <a:rPr lang="de-DE" sz="1600" b="0" baseline="0">
                  <a:solidFill>
                    <a:schemeClr val="tx1"/>
                  </a:solidFill>
                  <a:latin typeface="Helvetica Light"/>
                  <a:cs typeface="Helvetica" panose="020B0604020202020204" pitchFamily="34" charset="0"/>
                </a:rPr>
                <a:t> des Bildes und a</a:t>
              </a:r>
              <a:r>
                <a:rPr lang="de-DE" sz="1600" b="0">
                  <a:solidFill>
                    <a:schemeClr val="tx1"/>
                  </a:solidFill>
                  <a:latin typeface="Helvetica Light"/>
                  <a:cs typeface="Helvetica" panose="020B0604020202020204" pitchFamily="34" charset="0"/>
                </a:rPr>
                <a:t>brunden der Ecken</a:t>
              </a:r>
            </a:p>
            <a:p>
              <a:pPr algn="l"/>
              <a:r>
                <a:rPr lang="de-DE" sz="1600" b="0">
                  <a:solidFill>
                    <a:schemeClr val="tx1"/>
                  </a:solidFill>
                  <a:latin typeface="Helvetica Light"/>
                  <a:cs typeface="Helvetica" panose="020B0604020202020204" pitchFamily="34" charset="0"/>
                </a:rPr>
                <a:t>über Makro </a:t>
              </a:r>
              <a:r>
                <a:rPr lang="de-DE" sz="1600" b="0" baseline="0">
                  <a:solidFill>
                    <a:schemeClr val="tx1"/>
                  </a:solidFill>
                  <a:latin typeface="Helvetica Light"/>
                  <a:cs typeface="Helvetica" panose="020B0604020202020204" pitchFamily="34" charset="0"/>
                </a:rPr>
                <a:t>„</a:t>
              </a:r>
              <a:r>
                <a:rPr lang="de-DE" sz="1600" b="0" baseline="0" err="1">
                  <a:solidFill>
                    <a:schemeClr val="tx1"/>
                  </a:solidFill>
                  <a:latin typeface="Helvetica Light"/>
                  <a:cs typeface="Helvetica" panose="020B0604020202020204" pitchFamily="34" charset="0"/>
                </a:rPr>
                <a:t>alle_Ecken</a:t>
              </a:r>
              <a:r>
                <a:rPr lang="de-DE" sz="1600" b="0" baseline="0">
                  <a:solidFill>
                    <a:schemeClr val="tx1"/>
                  </a:solidFill>
                  <a:latin typeface="Helvetica Light"/>
                  <a:cs typeface="Helvetica" panose="020B0604020202020204" pitchFamily="34" charset="0"/>
                </a:rPr>
                <a:t>“, </a:t>
              </a:r>
              <a:r>
                <a:rPr lang="de-DE" sz="1600" b="0" baseline="0">
                  <a:solidFill>
                    <a:schemeClr val="tx1"/>
                  </a:solidFill>
                  <a:latin typeface="Helvetica" panose="020B0604020202020204" pitchFamily="34" charset="0"/>
                  <a:cs typeface="Helvetica" panose="020B0604020202020204" pitchFamily="34" charset="0"/>
                </a:rPr>
                <a:t>nachdem </a:t>
              </a:r>
              <a:r>
                <a:rPr lang="de-DE" sz="1600" b="0" baseline="0">
                  <a:solidFill>
                    <a:schemeClr val="tx1"/>
                  </a:solidFill>
                  <a:latin typeface="Helvetica Light"/>
                  <a:cs typeface="Helvetica" panose="020B0604020202020204" pitchFamily="34" charset="0"/>
                </a:rPr>
                <a:t>das Bild</a:t>
              </a:r>
            </a:p>
            <a:p>
              <a:pPr algn="l"/>
              <a:r>
                <a:rPr lang="de-DE" sz="1600" b="0" baseline="0">
                  <a:solidFill>
                    <a:schemeClr val="tx1"/>
                  </a:solidFill>
                  <a:latin typeface="Helvetica Light"/>
                  <a:cs typeface="Helvetica" panose="020B0604020202020204" pitchFamily="34" charset="0"/>
                </a:rPr>
                <a:t>seine finale Größe hat</a:t>
              </a:r>
              <a:endParaRPr lang="de-DE" sz="1600" b="0">
                <a:solidFill>
                  <a:schemeClr val="tx1"/>
                </a:solidFill>
                <a:latin typeface="Helvetica Light"/>
              </a:endParaRPr>
            </a:p>
          </p:txBody>
        </p:sp>
      </p:grpSp>
      <p:grpSp>
        <p:nvGrpSpPr>
          <p:cNvPr id="12" name="Gruppieren 11"/>
          <p:cNvGrpSpPr/>
          <p:nvPr userDrawn="1"/>
        </p:nvGrpSpPr>
        <p:grpSpPr>
          <a:xfrm>
            <a:off x="11798176" y="-1040401"/>
            <a:ext cx="5510624" cy="3677313"/>
            <a:chOff x="11798176" y="-1040401"/>
            <a:chExt cx="5510624" cy="3677313"/>
          </a:xfrm>
        </p:grpSpPr>
        <p:cxnSp>
          <p:nvCxnSpPr>
            <p:cNvPr id="89" name="Gewinkelte Verbindung 88"/>
            <p:cNvCxnSpPr/>
            <p:nvPr userDrawn="1"/>
          </p:nvCxnSpPr>
          <p:spPr>
            <a:xfrm rot="10800000" flipV="1">
              <a:off x="11798176" y="798256"/>
              <a:ext cx="1154625" cy="2418"/>
            </a:xfrm>
            <a:prstGeom prst="bentConnector3">
              <a:avLst>
                <a:gd name="adj1" fmla="val 50000"/>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Auf der gleichen Seite des Rechtecks liegende Ecken abrunden 54"/>
            <p:cNvSpPr/>
            <p:nvPr userDrawn="1"/>
          </p:nvSpPr>
          <p:spPr>
            <a:xfrm>
              <a:off x="12952800" y="-1040401"/>
              <a:ext cx="4356000" cy="3677313"/>
            </a:xfrm>
            <a:prstGeom prst="round2SameRect">
              <a:avLst>
                <a:gd name="adj1" fmla="val 2072"/>
                <a:gd name="adj2" fmla="val 2072"/>
              </a:avLst>
            </a:prstGeom>
            <a:solidFill>
              <a:schemeClr val="bg1"/>
            </a:solidFill>
            <a:ln w="6350">
              <a:solidFill>
                <a:schemeClr val="accent4"/>
              </a:solidFill>
            </a:ln>
          </p:spPr>
          <p:style>
            <a:lnRef idx="1">
              <a:schemeClr val="accent1"/>
            </a:lnRef>
            <a:fillRef idx="3">
              <a:schemeClr val="accent1"/>
            </a:fillRef>
            <a:effectRef idx="2">
              <a:schemeClr val="accent1"/>
            </a:effectRef>
            <a:fontRef idx="minor">
              <a:schemeClr val="lt1"/>
            </a:fontRef>
          </p:style>
          <p:txBody>
            <a:bodyPr wrap="none" tIns="36286" bIns="36286" rtlCol="0" anchor="ctr"/>
            <a:lstStyle/>
            <a:p>
              <a:pPr algn="l" defTabSz="180000"/>
              <a:r>
                <a:rPr lang="de-DE" sz="2800" b="0">
                  <a:solidFill>
                    <a:schemeClr val="accent1"/>
                  </a:solidFill>
                  <a:latin typeface="Helvetica" panose="020B0604020202020204" pitchFamily="34" charset="0"/>
                  <a:cs typeface="Helvetica" panose="020B0604020202020204" pitchFamily="34" charset="0"/>
                </a:rPr>
                <a:t>Omnipräsente</a:t>
              </a:r>
              <a:r>
                <a:rPr lang="de-DE" sz="2800" b="0" baseline="0">
                  <a:solidFill>
                    <a:schemeClr val="accent1"/>
                  </a:solidFill>
                  <a:latin typeface="Helvetica" panose="020B0604020202020204" pitchFamily="34" charset="0"/>
                  <a:cs typeface="Helvetica" panose="020B0604020202020204" pitchFamily="34" charset="0"/>
                </a:rPr>
                <a:t> Agenda</a:t>
              </a:r>
            </a:p>
            <a:p>
              <a:pPr algn="l" defTabSz="180000">
                <a:spcAft>
                  <a:spcPts val="400"/>
                </a:spcAft>
              </a:pPr>
              <a:r>
                <a:rPr lang="de-DE" sz="2000" b="0" baseline="0">
                  <a:solidFill>
                    <a:schemeClr val="accent1"/>
                  </a:solidFill>
                  <a:latin typeface="Helvetica" panose="020B0604020202020204" pitchFamily="34" charset="0"/>
                  <a:cs typeface="Helvetica" panose="020B0604020202020204" pitchFamily="34" charset="0"/>
                </a:rPr>
                <a:t>(optional)</a:t>
              </a:r>
            </a:p>
            <a:p>
              <a:pPr algn="l" defTabSz="180000">
                <a:spcAft>
                  <a:spcPts val="0"/>
                </a:spcAft>
              </a:pPr>
              <a:r>
                <a:rPr lang="de-DE" sz="1600" b="0">
                  <a:solidFill>
                    <a:schemeClr val="tx1"/>
                  </a:solidFill>
                </a:rPr>
                <a:t>Verwendung bei maximal 7 Agendapunkten;</a:t>
              </a:r>
            </a:p>
            <a:p>
              <a:pPr algn="l" defTabSz="180000">
                <a:spcAft>
                  <a:spcPts val="0"/>
                </a:spcAft>
              </a:pPr>
              <a:r>
                <a:rPr lang="de-DE" sz="1600" b="0">
                  <a:solidFill>
                    <a:schemeClr val="tx1"/>
                  </a:solidFill>
                </a:rPr>
                <a:t>Vorlage in Kapitel 14 der Chartbibliothek</a:t>
              </a:r>
            </a:p>
            <a:p>
              <a:pPr algn="l" defTabSz="180000">
                <a:spcBef>
                  <a:spcPts val="400"/>
                </a:spcBef>
              </a:pPr>
              <a:r>
                <a:rPr lang="de-DE" sz="1600" b="0">
                  <a:solidFill>
                    <a:schemeClr val="tx1"/>
                  </a:solidFill>
                </a:rPr>
                <a:t>Höhe:									0,25 cm</a:t>
              </a:r>
            </a:p>
            <a:p>
              <a:pPr algn="l" defTabSz="180000"/>
              <a:r>
                <a:rPr lang="de-DE" sz="1600" b="0">
                  <a:solidFill>
                    <a:schemeClr val="tx1"/>
                  </a:solidFill>
                </a:rPr>
                <a:t>Breite:									0,25</a:t>
              </a:r>
              <a:r>
                <a:rPr lang="de-DE" sz="1600" b="0" baseline="0">
                  <a:solidFill>
                    <a:schemeClr val="tx1"/>
                  </a:solidFill>
                </a:rPr>
                <a:t> cm</a:t>
              </a:r>
            </a:p>
            <a:p>
              <a:pPr algn="l" defTabSz="180000"/>
              <a:r>
                <a:rPr lang="de-DE" sz="1600" b="0" baseline="0">
                  <a:solidFill>
                    <a:schemeClr val="tx1"/>
                  </a:solidFill>
                </a:rPr>
                <a:t>Konturstärke:						</a:t>
              </a:r>
              <a:r>
                <a:rPr lang="de-DE" sz="1600" b="0" baseline="0">
                  <a:solidFill>
                    <a:schemeClr val="tx1"/>
                  </a:solidFill>
                  <a:latin typeface="Helvetica Light" panose="02000403040000020004" pitchFamily="2" charset="0"/>
                </a:rPr>
                <a:t>¾</a:t>
              </a:r>
              <a:r>
                <a:rPr lang="de-DE" sz="1600" b="0" baseline="0">
                  <a:solidFill>
                    <a:schemeClr val="tx1"/>
                  </a:solidFill>
                </a:rPr>
                <a:t> Pt.</a:t>
              </a:r>
            </a:p>
            <a:p>
              <a:pPr algn="l" defTabSz="180000"/>
              <a:r>
                <a:rPr lang="de-DE" sz="1600" b="0" baseline="0">
                  <a:solidFill>
                    <a:schemeClr val="tx1"/>
                  </a:solidFill>
                </a:rPr>
                <a:t>Konturfarbe:						Akzent 1</a:t>
              </a:r>
            </a:p>
            <a:p>
              <a:pPr algn="l" defTabSz="180000"/>
              <a:r>
                <a:rPr lang="de-DE" sz="1600" b="0" baseline="0">
                  <a:solidFill>
                    <a:schemeClr val="tx1"/>
                  </a:solidFill>
                </a:rPr>
                <a:t>Horizontaler Abstand:		0,2 cm</a:t>
              </a:r>
            </a:p>
            <a:p>
              <a:pPr algn="l" defTabSz="180000"/>
              <a:r>
                <a:rPr lang="de-DE" sz="1600" b="0">
                  <a:solidFill>
                    <a:schemeClr val="tx1"/>
                  </a:solidFill>
                </a:rPr>
                <a:t>Vertikale Position:</a:t>
              </a:r>
              <a:r>
                <a:rPr lang="de-DE" sz="1600" b="0" baseline="0">
                  <a:solidFill>
                    <a:schemeClr val="tx1"/>
                  </a:solidFill>
                </a:rPr>
                <a:t> 			2,08 cm</a:t>
              </a:r>
            </a:p>
            <a:p>
              <a:pPr algn="l" defTabSz="180000"/>
              <a:r>
                <a:rPr lang="de-DE" sz="1600" b="0" baseline="0">
                  <a:solidFill>
                    <a:schemeClr val="tx1"/>
                  </a:solidFill>
                </a:rPr>
                <a:t>Horizontale Position</a:t>
              </a:r>
            </a:p>
            <a:p>
              <a:pPr algn="l" defTabSz="180000"/>
              <a:r>
                <a:rPr lang="de-DE" sz="1600" b="0" baseline="0">
                  <a:solidFill>
                    <a:schemeClr val="tx1"/>
                  </a:solidFill>
                </a:rPr>
                <a:t>des letzten</a:t>
              </a:r>
            </a:p>
            <a:p>
              <a:pPr algn="l" defTabSz="180000"/>
              <a:r>
                <a:rPr lang="de-DE" sz="1600" b="0" baseline="0" err="1">
                  <a:solidFill>
                    <a:schemeClr val="tx1"/>
                  </a:solidFill>
                </a:rPr>
                <a:t>Agendapunktes</a:t>
              </a:r>
              <a:r>
                <a:rPr lang="de-DE" sz="1600" b="0" baseline="0">
                  <a:solidFill>
                    <a:schemeClr val="tx1"/>
                  </a:solidFill>
                </a:rPr>
                <a:t>:				32,20 cm</a:t>
              </a:r>
              <a:endParaRPr lang="de-DE" sz="1600" b="0">
                <a:solidFill>
                  <a:schemeClr val="tx1"/>
                </a:solidFill>
              </a:endParaRPr>
            </a:p>
          </p:txBody>
        </p:sp>
      </p:grpSp>
      <p:sp>
        <p:nvSpPr>
          <p:cNvPr id="64" name="Auf der gleichen Seite des Rechtecks liegende Ecken abrunden 63"/>
          <p:cNvSpPr/>
          <p:nvPr userDrawn="1"/>
        </p:nvSpPr>
        <p:spPr>
          <a:xfrm>
            <a:off x="6888224" y="-1039346"/>
            <a:ext cx="1224000" cy="432000"/>
          </a:xfrm>
          <a:prstGeom prst="round2SameRect">
            <a:avLst>
              <a:gd name="adj1" fmla="val 17639"/>
              <a:gd name="adj2" fmla="val 17639"/>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1 </a:t>
            </a:r>
            <a:br>
              <a:rPr lang="de-DE" sz="1100" b="0"/>
            </a:br>
            <a:r>
              <a:rPr lang="de-DE" sz="1000" b="0"/>
              <a:t>(RGB 30,70,125)</a:t>
            </a:r>
          </a:p>
        </p:txBody>
      </p:sp>
      <p:sp>
        <p:nvSpPr>
          <p:cNvPr id="90" name="Auf der gleichen Seite des Rechtecks liegende Ecken abrunden 89"/>
          <p:cNvSpPr/>
          <p:nvPr userDrawn="1"/>
        </p:nvSpPr>
        <p:spPr>
          <a:xfrm>
            <a:off x="6888224" y="-531392"/>
            <a:ext cx="1224000" cy="432000"/>
          </a:xfrm>
          <a:prstGeom prst="round2SameRect">
            <a:avLst>
              <a:gd name="adj1" fmla="val 17639"/>
              <a:gd name="adj2" fmla="val 17639"/>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2 </a:t>
            </a:r>
            <a:br>
              <a:rPr lang="de-DE" sz="1100" b="0"/>
            </a:br>
            <a:r>
              <a:rPr lang="de-DE" sz="1000" b="0"/>
              <a:t>(RGB 255,100,0)</a:t>
            </a:r>
          </a:p>
        </p:txBody>
      </p:sp>
      <p:sp>
        <p:nvSpPr>
          <p:cNvPr id="93" name="Auf der gleichen Seite des Rechtecks liegende Ecken abrunden 92"/>
          <p:cNvSpPr/>
          <p:nvPr userDrawn="1"/>
        </p:nvSpPr>
        <p:spPr>
          <a:xfrm>
            <a:off x="9607274" y="-1039346"/>
            <a:ext cx="1224000" cy="432000"/>
          </a:xfrm>
          <a:prstGeom prst="round2SameRect">
            <a:avLst>
              <a:gd name="adj1" fmla="val 17639"/>
              <a:gd name="adj2" fmla="val 17639"/>
            </a:avLst>
          </a:prstGeom>
          <a:solidFill>
            <a:schemeClr val="accent5"/>
          </a:solidFill>
          <a:ln>
            <a:solidFill>
              <a:schemeClr val="accent5"/>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Akzent 5 </a:t>
            </a:r>
            <a:br>
              <a:rPr lang="de-DE" sz="1100" b="0"/>
            </a:br>
            <a:r>
              <a:rPr lang="de-DE" sz="1000" b="0"/>
              <a:t>(RGB 100,100,100)</a:t>
            </a:r>
            <a:endParaRPr lang="de-DE" sz="1100" b="0"/>
          </a:p>
        </p:txBody>
      </p:sp>
      <p:sp>
        <p:nvSpPr>
          <p:cNvPr id="94" name="Auf der gleichen Seite des Rechtecks liegende Ecken abrunden 93"/>
          <p:cNvSpPr/>
          <p:nvPr userDrawn="1"/>
        </p:nvSpPr>
        <p:spPr>
          <a:xfrm>
            <a:off x="9607274" y="-531392"/>
            <a:ext cx="1224000" cy="432000"/>
          </a:xfrm>
          <a:prstGeom prst="round2SameRect">
            <a:avLst>
              <a:gd name="adj1" fmla="val 17639"/>
              <a:gd name="adj2" fmla="val 17639"/>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tx1"/>
                </a:solidFill>
                <a:latin typeface="Helvetica" panose="020B0604020202020204" pitchFamily="34" charset="0"/>
                <a:cs typeface="Helvetica" panose="020B0604020202020204" pitchFamily="34" charset="0"/>
              </a:rPr>
              <a:t>Akzent 6 </a:t>
            </a:r>
            <a:br>
              <a:rPr lang="de-DE" sz="1100" b="0">
                <a:solidFill>
                  <a:schemeClr val="tx1"/>
                </a:solidFill>
              </a:rPr>
            </a:br>
            <a:r>
              <a:rPr lang="de-DE" sz="1000" b="0">
                <a:solidFill>
                  <a:schemeClr val="tx1"/>
                </a:solidFill>
              </a:rPr>
              <a:t>(RGB 255,255,255)</a:t>
            </a:r>
            <a:endParaRPr lang="de-DE" sz="1100" b="0">
              <a:solidFill>
                <a:schemeClr val="tx1"/>
              </a:solidFill>
            </a:endParaRPr>
          </a:p>
        </p:txBody>
      </p:sp>
      <p:sp>
        <p:nvSpPr>
          <p:cNvPr id="97" name="Auf der gleichen Seite des Rechtecks liegende Ecken abrunden 96"/>
          <p:cNvSpPr/>
          <p:nvPr userDrawn="1"/>
        </p:nvSpPr>
        <p:spPr>
          <a:xfrm>
            <a:off x="10966800" y="-1039346"/>
            <a:ext cx="1224000" cy="432000"/>
          </a:xfrm>
          <a:prstGeom prst="round2SameRect">
            <a:avLst>
              <a:gd name="adj1" fmla="val 17639"/>
              <a:gd name="adj2" fmla="val 17639"/>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latin typeface="Helvetica" panose="020B0604020202020204" pitchFamily="34" charset="0"/>
                <a:cs typeface="Helvetica" panose="020B0604020202020204" pitchFamily="34" charset="0"/>
              </a:rPr>
              <a:t>Schwarz</a:t>
            </a:r>
            <a:br>
              <a:rPr lang="de-DE" sz="1100" b="0"/>
            </a:br>
            <a:r>
              <a:rPr lang="de-DE" sz="1000" b="0"/>
              <a:t>(RGB 0,0,0)</a:t>
            </a:r>
            <a:endParaRPr lang="de-DE" sz="1100" b="0"/>
          </a:p>
        </p:txBody>
      </p:sp>
      <p:cxnSp>
        <p:nvCxnSpPr>
          <p:cNvPr id="59" name="Gerade Verbindung 117"/>
          <p:cNvCxnSpPr/>
          <p:nvPr userDrawn="1"/>
        </p:nvCxnSpPr>
        <p:spPr>
          <a:xfrm>
            <a:off x="0" y="3754233"/>
            <a:ext cx="12190800" cy="0"/>
          </a:xfrm>
          <a:prstGeom prst="line">
            <a:avLst/>
          </a:prstGeom>
          <a:ln>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 name="Rechteck 59"/>
          <p:cNvSpPr/>
          <p:nvPr userDrawn="1"/>
        </p:nvSpPr>
        <p:spPr>
          <a:xfrm>
            <a:off x="-980545" y="351446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0,9</a:t>
            </a:r>
          </a:p>
        </p:txBody>
      </p:sp>
      <p:sp>
        <p:nvSpPr>
          <p:cNvPr id="68" name="Rechteck 67"/>
          <p:cNvSpPr/>
          <p:nvPr userDrawn="1"/>
        </p:nvSpPr>
        <p:spPr>
          <a:xfrm>
            <a:off x="11956552" y="3514467"/>
            <a:ext cx="1184712" cy="47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0">
                <a:solidFill>
                  <a:schemeClr val="accent2">
                    <a:lumMod val="75000"/>
                  </a:schemeClr>
                </a:solidFill>
                <a:latin typeface="Helvetica" panose="020B0604020202020204" pitchFamily="34" charset="0"/>
                <a:cs typeface="Helvetica" panose="020B0604020202020204" pitchFamily="34" charset="0"/>
              </a:rPr>
              <a:t>0,9</a:t>
            </a:r>
          </a:p>
        </p:txBody>
      </p:sp>
      <p:sp>
        <p:nvSpPr>
          <p:cNvPr id="100" name="Auf der gleichen Seite des Rechtecks liegende Ecken abrunden 85"/>
          <p:cNvSpPr/>
          <p:nvPr userDrawn="1"/>
        </p:nvSpPr>
        <p:spPr>
          <a:xfrm>
            <a:off x="8247749" y="-1039346"/>
            <a:ext cx="1224000" cy="432000"/>
          </a:xfrm>
          <a:prstGeom prst="round2SameRect">
            <a:avLst>
              <a:gd name="adj1" fmla="val 17639"/>
              <a:gd name="adj2" fmla="val 17639"/>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bg1"/>
                </a:solidFill>
                <a:latin typeface="Helvetica" panose="020B0604020202020204" pitchFamily="34" charset="0"/>
                <a:cs typeface="Helvetica" panose="020B0604020202020204" pitchFamily="34" charset="0"/>
              </a:rPr>
              <a:t>Akzent 3</a:t>
            </a:r>
            <a:br>
              <a:rPr lang="de-DE" sz="1100" b="0">
                <a:solidFill>
                  <a:schemeClr val="bg1"/>
                </a:solidFill>
              </a:rPr>
            </a:br>
            <a:r>
              <a:rPr lang="de-DE" sz="1000" b="0">
                <a:solidFill>
                  <a:schemeClr val="bg1"/>
                </a:solidFill>
              </a:rPr>
              <a:t>(RGB 62,138,131)</a:t>
            </a:r>
            <a:endParaRPr lang="de-DE" sz="1100" b="0">
              <a:solidFill>
                <a:schemeClr val="bg1"/>
              </a:solidFill>
            </a:endParaRPr>
          </a:p>
        </p:txBody>
      </p:sp>
      <p:sp>
        <p:nvSpPr>
          <p:cNvPr id="101" name="Auf der gleichen Seite des Rechtecks liegende Ecken abrunden 86"/>
          <p:cNvSpPr/>
          <p:nvPr userDrawn="1"/>
        </p:nvSpPr>
        <p:spPr>
          <a:xfrm>
            <a:off x="8247749" y="-531392"/>
            <a:ext cx="1224000" cy="432000"/>
          </a:xfrm>
          <a:prstGeom prst="round2SameRect">
            <a:avLst>
              <a:gd name="adj1" fmla="val 17639"/>
              <a:gd name="adj2" fmla="val 17639"/>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100" b="0">
                <a:solidFill>
                  <a:schemeClr val="tx1"/>
                </a:solidFill>
                <a:latin typeface="Helvetica" panose="020B0604020202020204" pitchFamily="34" charset="0"/>
                <a:cs typeface="Helvetica" panose="020B0604020202020204" pitchFamily="34" charset="0"/>
              </a:rPr>
              <a:t>Akzent 4 </a:t>
            </a:r>
            <a:br>
              <a:rPr lang="de-DE" sz="1100" b="0">
                <a:solidFill>
                  <a:schemeClr val="tx1"/>
                </a:solidFill>
              </a:rPr>
            </a:br>
            <a:r>
              <a:rPr lang="de-DE" sz="1000" b="0">
                <a:solidFill>
                  <a:schemeClr val="tx1"/>
                </a:solidFill>
              </a:rPr>
              <a:t>(RGB 165,165,165)</a:t>
            </a:r>
            <a:endParaRPr lang="de-DE" sz="1100" b="0">
              <a:solidFill>
                <a:schemeClr val="tx1"/>
              </a:solidFill>
            </a:endParaRPr>
          </a:p>
        </p:txBody>
      </p:sp>
      <p:sp>
        <p:nvSpPr>
          <p:cNvPr id="91" name="Fußzeilenplatzhalter 4">
            <a:extLst>
              <a:ext uri="{FF2B5EF4-FFF2-40B4-BE49-F238E27FC236}">
                <a16:creationId xmlns:a16="http://schemas.microsoft.com/office/drawing/2014/main" id="{67FA8624-227E-4E03-9908-34639224E7AE}"/>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Tree>
    <p:extLst>
      <p:ext uri="{BB962C8B-B14F-4D97-AF65-F5344CB8AC3E}">
        <p14:creationId xmlns:p14="http://schemas.microsoft.com/office/powerpoint/2010/main" val="511853029"/>
      </p:ext>
    </p:extLst>
  </p:cSld>
  <p:clrMapOvr>
    <a:masterClrMapping/>
  </p:clrMapOvr>
  <p:extLst>
    <p:ext uri="{DCECCB84-F9BA-43D5-87BE-67443E8EF086}">
      <p15:sldGuideLst xmlns:p15="http://schemas.microsoft.com/office/powerpoint/2012/main">
        <p15:guide id="1" orient="horz" pos="2364">
          <p15:clr>
            <a:srgbClr val="A4A3A4"/>
          </p15:clr>
        </p15:guide>
        <p15:guide id="2" pos="438">
          <p15:clr>
            <a:srgbClr val="A4A3A4"/>
          </p15:clr>
        </p15:guide>
        <p15:guide id="3" pos="7242">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Leere Seite">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8194" name="think-cell Folie" r:id="rId4" imgW="270" imgH="270" progId="TCLayout.ActiveDocument.1">
                  <p:embed/>
                </p:oleObj>
              </mc:Choice>
              <mc:Fallback>
                <p:oleObj name="think-cell Folie" r:id="rId4" imgW="270" imgH="270" progId="TCLayout.ActiveDocument.1">
                  <p:embed/>
                  <p:pic>
                    <p:nvPicPr>
                      <p:cNvPr id="31" name="Objekt 3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Rechteck 11"/>
          <p:cNvSpPr/>
          <p:nvPr userDrawn="1"/>
        </p:nvSpPr>
        <p:spPr>
          <a:xfrm>
            <a:off x="462000" y="6309320"/>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p>
        </p:txBody>
      </p:sp>
      <p:sp>
        <p:nvSpPr>
          <p:cNvPr id="16" name="Rechteck 15"/>
          <p:cNvSpPr/>
          <p:nvPr userDrawn="1"/>
        </p:nvSpPr>
        <p:spPr>
          <a:xfrm>
            <a:off x="462000" y="789908"/>
            <a:ext cx="11268000" cy="10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a:p>
        </p:txBody>
      </p:sp>
      <p:sp>
        <p:nvSpPr>
          <p:cNvPr id="17" name="Titel 6"/>
          <p:cNvSpPr>
            <a:spLocks noGrp="1"/>
          </p:cNvSpPr>
          <p:nvPr>
            <p:ph type="title" hasCustomPrompt="1"/>
          </p:nvPr>
        </p:nvSpPr>
        <p:spPr>
          <a:xfrm>
            <a:off x="534000" y="332656"/>
            <a:ext cx="11124000" cy="360040"/>
          </a:xfrm>
          <a:prstGeom prst="rect">
            <a:avLst/>
          </a:prstGeom>
        </p:spPr>
        <p:txBody>
          <a:bodyPr tIns="0" rIns="72000" bIns="0" anchor="ctr" anchorCtr="0"/>
          <a:lstStyle>
            <a:lvl1pPr algn="l">
              <a:defRPr sz="2000">
                <a:latin typeface="Helvetica Light" pitchFamily="2" charset="0"/>
              </a:defRPr>
            </a:lvl1pPr>
          </a:lstStyle>
          <a:p>
            <a:r>
              <a:rPr lang="en-US" err="1"/>
              <a:t>Mastertitelformat</a:t>
            </a:r>
            <a:r>
              <a:rPr lang="en-US"/>
              <a:t> </a:t>
            </a:r>
            <a:r>
              <a:rPr lang="en-US" err="1"/>
              <a:t>bearbeiten</a:t>
            </a:r>
            <a:endParaRPr lang="de-DE"/>
          </a:p>
        </p:txBody>
      </p:sp>
      <p:sp>
        <p:nvSpPr>
          <p:cNvPr id="18" name="Textplatzhalter 4"/>
          <p:cNvSpPr>
            <a:spLocks noGrp="1"/>
          </p:cNvSpPr>
          <p:nvPr>
            <p:ph type="body" sz="quarter" idx="10"/>
          </p:nvPr>
        </p:nvSpPr>
        <p:spPr>
          <a:xfrm>
            <a:off x="551384" y="960983"/>
            <a:ext cx="5975019" cy="307777"/>
          </a:xfrm>
          <a:prstGeom prst="rect">
            <a:avLst/>
          </a:prstGeom>
        </p:spPr>
        <p:txBody>
          <a:bodyPr>
            <a:noAutofit/>
          </a:bodyPr>
          <a:lstStyle>
            <a:lvl1pPr marL="0" indent="0">
              <a:buNone/>
              <a:defRPr lang="de-DE" sz="1400" kern="1200" cap="all" spc="110" baseline="0" dirty="0">
                <a:solidFill>
                  <a:srgbClr val="002869"/>
                </a:solidFill>
                <a:latin typeface="Helvetica Light"/>
                <a:ea typeface="+mn-ea"/>
                <a:cs typeface="+mn-cs"/>
              </a:defRPr>
            </a:lvl1pPr>
          </a:lstStyle>
          <a:p>
            <a:endParaRPr lang="de-DE"/>
          </a:p>
        </p:txBody>
      </p:sp>
      <p:sp>
        <p:nvSpPr>
          <p:cNvPr id="19" name="Textfeld 18"/>
          <p:cNvSpPr txBox="1"/>
          <p:nvPr userDrawn="1"/>
        </p:nvSpPr>
        <p:spPr>
          <a:xfrm>
            <a:off x="550800" y="6439562"/>
            <a:ext cx="781877" cy="255775"/>
          </a:xfrm>
          <a:prstGeom prst="rect">
            <a:avLst/>
          </a:prstGeom>
        </p:spPr>
        <p:txBody>
          <a:bodyPr tIns="46800" bIns="46800" anchor="b" anchorCtr="0"/>
          <a:lstStyle>
            <a:defPPr>
              <a:defRPr lang="de-DE"/>
            </a:defPPr>
            <a:lvl1pPr>
              <a:spcBef>
                <a:spcPct val="20000"/>
              </a:spcBef>
              <a:buFont typeface="Arial" pitchFamily="34" charset="0"/>
              <a:buNone/>
              <a:defRPr sz="1000">
                <a:latin typeface="Helvetica Light" pitchFamily="2" charset="0"/>
              </a:defRPr>
            </a:lvl1pPr>
          </a:lstStyle>
          <a:p>
            <a:pPr lvl="0"/>
            <a:r>
              <a:rPr lang="de-DE"/>
              <a:t>Seite </a:t>
            </a:r>
            <a:fld id="{DD608E45-DDF2-4823-A5F2-DA1D8F559DEE}" type="slidenum">
              <a:rPr lang="de-DE" smtClean="0"/>
              <a:pPr lvl="0"/>
              <a:t>‹#›</a:t>
            </a:fld>
            <a:endParaRPr lang="de-DE"/>
          </a:p>
        </p:txBody>
      </p:sp>
      <p:sp>
        <p:nvSpPr>
          <p:cNvPr id="11" name="Textfeld 10">
            <a:extLst>
              <a:ext uri="{FF2B5EF4-FFF2-40B4-BE49-F238E27FC236}">
                <a16:creationId xmlns:a16="http://schemas.microsoft.com/office/drawing/2014/main" id="{D70221B8-C253-49B7-98F7-7604B2B85E9D}"/>
              </a:ext>
            </a:extLst>
          </p:cNvPr>
          <p:cNvSpPr txBox="1">
            <a:spLocks noChangeArrowheads="1"/>
          </p:cNvSpPr>
          <p:nvPr userDrawn="1"/>
        </p:nvSpPr>
        <p:spPr bwMode="auto">
          <a:xfrm>
            <a:off x="6203952" y="1743320"/>
            <a:ext cx="5292724" cy="2873812"/>
          </a:xfrm>
          <a:prstGeom prst="round2SameRect">
            <a:avLst>
              <a:gd name="adj1" fmla="val 0"/>
              <a:gd name="adj2" fmla="val 2652"/>
            </a:avLst>
          </a:prstGeom>
          <a:noFill/>
          <a:ln w="6350">
            <a:solidFill>
              <a:schemeClr val="accent4"/>
            </a:solidFill>
            <a:prstDash val="solid"/>
            <a:miter lim="800000"/>
            <a:headEnd/>
            <a:tailEnd/>
          </a:ln>
        </p:spPr>
        <p:txBody>
          <a:bodyPr wrap="square" lIns="144000" tIns="36286" rIns="50800" bIns="36286">
            <a:noAutofit/>
          </a:bodyPr>
          <a:lstStyle>
            <a:defPPr>
              <a:defRPr lang="de-DE"/>
            </a:defPPr>
            <a:lvl1pPr marL="144000" indent="-144000">
              <a:lnSpc>
                <a:spcPct val="125000"/>
              </a:lnSpc>
              <a:spcAft>
                <a:spcPts val="400"/>
              </a:spcAft>
              <a:buClr>
                <a:srgbClr val="002276"/>
              </a:buClr>
              <a:buSzPct val="80000"/>
              <a:buBlip>
                <a:blip r:embed="rId6"/>
              </a:buBlip>
              <a:defRPr sz="1400">
                <a:solidFill>
                  <a:srgbClr val="000000"/>
                </a:solidFill>
                <a:ea typeface="Arial"/>
                <a:cs typeface="Arial" pitchFamily="34" charset="0"/>
              </a:defRPr>
            </a:lvl1pPr>
          </a:lstStyle>
          <a:p>
            <a:pPr marL="625475" marR="0" lvl="1" indent="-168275" defTabSz="914400" eaLnBrk="1" fontAlgn="auto" latinLnBrk="0" hangingPunct="1">
              <a:lnSpc>
                <a:spcPct val="114000"/>
              </a:lnSpc>
              <a:spcBef>
                <a:spcPts val="0"/>
              </a:spcBef>
              <a:spcAft>
                <a:spcPts val="300"/>
              </a:spcAft>
              <a:buClr>
                <a:schemeClr val="tx2"/>
              </a:buClr>
              <a:buSzTx/>
              <a:buFont typeface="Wingdings" panose="05000000000000000000" pitchFamily="2" charset="2"/>
              <a:buNone/>
              <a:tabLst/>
              <a:defRPr/>
            </a:pPr>
            <a:endParaRPr lang="en-US" sz="1200"/>
          </a:p>
        </p:txBody>
      </p:sp>
      <p:sp>
        <p:nvSpPr>
          <p:cNvPr id="21" name="Textfeld 20">
            <a:extLst>
              <a:ext uri="{FF2B5EF4-FFF2-40B4-BE49-F238E27FC236}">
                <a16:creationId xmlns:a16="http://schemas.microsoft.com/office/drawing/2014/main" id="{F5311DC2-178F-4764-92B2-8B10A45057DE}"/>
              </a:ext>
            </a:extLst>
          </p:cNvPr>
          <p:cNvSpPr txBox="1"/>
          <p:nvPr userDrawn="1"/>
        </p:nvSpPr>
        <p:spPr bwMode="auto">
          <a:xfrm>
            <a:off x="9768408" y="4421251"/>
            <a:ext cx="1764196" cy="261492"/>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rgbClr val="002276"/>
              </a:buClr>
              <a:buSzPct val="80000"/>
            </a:pPr>
            <a:endParaRPr lang="de-DE" sz="800">
              <a:solidFill>
                <a:schemeClr val="bg1">
                  <a:lumMod val="65000"/>
                </a:schemeClr>
              </a:solidFill>
            </a:endParaRPr>
          </a:p>
        </p:txBody>
      </p:sp>
      <p:sp>
        <p:nvSpPr>
          <p:cNvPr id="41" name="Textfeld 40">
            <a:extLst>
              <a:ext uri="{FF2B5EF4-FFF2-40B4-BE49-F238E27FC236}">
                <a16:creationId xmlns:a16="http://schemas.microsoft.com/office/drawing/2014/main" id="{840C5AA3-2DBC-4260-B942-F95E202D28AB}"/>
              </a:ext>
            </a:extLst>
          </p:cNvPr>
          <p:cNvSpPr txBox="1">
            <a:spLocks noChangeArrowheads="1"/>
          </p:cNvSpPr>
          <p:nvPr userDrawn="1"/>
        </p:nvSpPr>
        <p:spPr bwMode="auto">
          <a:xfrm>
            <a:off x="695324" y="1743320"/>
            <a:ext cx="5292724" cy="2873812"/>
          </a:xfrm>
          <a:prstGeom prst="round2SameRect">
            <a:avLst>
              <a:gd name="adj1" fmla="val 0"/>
              <a:gd name="adj2" fmla="val 2652"/>
            </a:avLst>
          </a:prstGeom>
          <a:noFill/>
          <a:ln w="6350">
            <a:solidFill>
              <a:schemeClr val="accent4"/>
            </a:solidFill>
            <a:prstDash val="solid"/>
            <a:miter lim="800000"/>
            <a:headEnd/>
            <a:tailEnd/>
          </a:ln>
        </p:spPr>
        <p:txBody>
          <a:bodyPr wrap="square" lIns="144000" tIns="36286" rIns="50800" bIns="36286">
            <a:noAutofit/>
          </a:bodyPr>
          <a:lstStyle>
            <a:defPPr>
              <a:defRPr lang="de-DE"/>
            </a:defPPr>
            <a:lvl1pPr marL="144000" indent="-144000">
              <a:lnSpc>
                <a:spcPct val="125000"/>
              </a:lnSpc>
              <a:spcAft>
                <a:spcPts val="400"/>
              </a:spcAft>
              <a:buClr>
                <a:srgbClr val="002276"/>
              </a:buClr>
              <a:buSzPct val="80000"/>
              <a:buBlip>
                <a:blip r:embed="rId6"/>
              </a:buBlip>
              <a:defRPr sz="1400">
                <a:solidFill>
                  <a:srgbClr val="000000"/>
                </a:solidFill>
                <a:ea typeface="Arial"/>
                <a:cs typeface="Arial" pitchFamily="34" charset="0"/>
              </a:defRPr>
            </a:lvl1pPr>
          </a:lstStyle>
          <a:p>
            <a:pPr marL="625475" marR="0" lvl="1" indent="-168275" defTabSz="914400" eaLnBrk="1" fontAlgn="auto" latinLnBrk="0" hangingPunct="1">
              <a:lnSpc>
                <a:spcPct val="114000"/>
              </a:lnSpc>
              <a:spcBef>
                <a:spcPts val="0"/>
              </a:spcBef>
              <a:spcAft>
                <a:spcPts val="300"/>
              </a:spcAft>
              <a:buClr>
                <a:schemeClr val="tx2"/>
              </a:buClr>
              <a:buSzTx/>
              <a:buFont typeface="Wingdings" panose="05000000000000000000" pitchFamily="2" charset="2"/>
              <a:buNone/>
              <a:tabLst/>
              <a:defRPr/>
            </a:pPr>
            <a:endParaRPr lang="en-US" sz="1200"/>
          </a:p>
        </p:txBody>
      </p:sp>
      <p:sp>
        <p:nvSpPr>
          <p:cNvPr id="3" name="Bildplatzhalter 2">
            <a:extLst>
              <a:ext uri="{FF2B5EF4-FFF2-40B4-BE49-F238E27FC236}">
                <a16:creationId xmlns:a16="http://schemas.microsoft.com/office/drawing/2014/main" id="{7BD2490D-4E9D-4FBD-8B16-8DB60541E2F7}"/>
              </a:ext>
            </a:extLst>
          </p:cNvPr>
          <p:cNvSpPr>
            <a:spLocks noGrp="1"/>
          </p:cNvSpPr>
          <p:nvPr>
            <p:ph type="pic" sz="quarter" idx="12" hasCustomPrompt="1"/>
          </p:nvPr>
        </p:nvSpPr>
        <p:spPr>
          <a:xfrm>
            <a:off x="695325" y="1742084"/>
            <a:ext cx="5292725" cy="2873812"/>
          </a:xfrm>
          <a:prstGeom prst="round2SameRect">
            <a:avLst>
              <a:gd name="adj1" fmla="val 0"/>
              <a:gd name="adj2" fmla="val 2652"/>
            </a:avLst>
          </a:prstGeom>
        </p:spPr>
        <p:txBody>
          <a:bodyPr/>
          <a:lstStyle>
            <a:lvl1pPr>
              <a:defRPr sz="1400"/>
            </a:lvl1pPr>
          </a:lstStyle>
          <a:p>
            <a:r>
              <a:rPr lang="de-DE"/>
              <a:t>Bild einfügen</a:t>
            </a:r>
          </a:p>
        </p:txBody>
      </p:sp>
      <p:sp>
        <p:nvSpPr>
          <p:cNvPr id="43" name="Bildplatzhalter 2">
            <a:extLst>
              <a:ext uri="{FF2B5EF4-FFF2-40B4-BE49-F238E27FC236}">
                <a16:creationId xmlns:a16="http://schemas.microsoft.com/office/drawing/2014/main" id="{C9AB983F-331D-4972-A5FA-9E375338B6A1}"/>
              </a:ext>
            </a:extLst>
          </p:cNvPr>
          <p:cNvSpPr>
            <a:spLocks noGrp="1"/>
          </p:cNvSpPr>
          <p:nvPr>
            <p:ph type="pic" sz="quarter" idx="13" hasCustomPrompt="1"/>
          </p:nvPr>
        </p:nvSpPr>
        <p:spPr>
          <a:xfrm>
            <a:off x="6203950" y="1742084"/>
            <a:ext cx="5292725" cy="2873812"/>
          </a:xfrm>
          <a:prstGeom prst="round2SameRect">
            <a:avLst>
              <a:gd name="adj1" fmla="val 0"/>
              <a:gd name="adj2" fmla="val 2652"/>
            </a:avLst>
          </a:prstGeom>
        </p:spPr>
        <p:txBody>
          <a:bodyPr/>
          <a:lstStyle>
            <a:lvl1pPr>
              <a:defRPr sz="1400"/>
            </a:lvl1pPr>
          </a:lstStyle>
          <a:p>
            <a:r>
              <a:rPr lang="de-DE"/>
              <a:t>Bild einfügen</a:t>
            </a:r>
          </a:p>
        </p:txBody>
      </p:sp>
      <p:sp>
        <p:nvSpPr>
          <p:cNvPr id="15" name="Fußzeilenplatzhalter 4">
            <a:extLst>
              <a:ext uri="{FF2B5EF4-FFF2-40B4-BE49-F238E27FC236}">
                <a16:creationId xmlns:a16="http://schemas.microsoft.com/office/drawing/2014/main" id="{6F2489E4-E9F7-408B-9247-7545B73636A4}"/>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Tree>
    <p:extLst>
      <p:ext uri="{BB962C8B-B14F-4D97-AF65-F5344CB8AC3E}">
        <p14:creationId xmlns:p14="http://schemas.microsoft.com/office/powerpoint/2010/main" val="3358200035"/>
      </p:ext>
    </p:extLst>
  </p:cSld>
  <p:clrMapOvr>
    <a:masterClrMapping/>
  </p:clrMapOvr>
  <p:extLst>
    <p:ext uri="{DCECCB84-F9BA-43D5-87BE-67443E8EF086}">
      <p15:sldGuideLst xmlns:p15="http://schemas.microsoft.com/office/powerpoint/2012/main">
        <p15:guide id="1" pos="438">
          <p15:clr>
            <a:srgbClr val="A4A3A4"/>
          </p15:clr>
        </p15:guide>
        <p15:guide id="2" pos="7242">
          <p15:clr>
            <a:srgbClr val="A4A3A4"/>
          </p15:clr>
        </p15:guide>
        <p15:guide id="3" orient="horz" pos="3861">
          <p15:clr>
            <a:srgbClr val="A4A3A4"/>
          </p15:clr>
        </p15:guide>
        <p15:guide id="4" orient="horz" pos="2364">
          <p15:clr>
            <a:srgbClr val="A4A3A4"/>
          </p15:clr>
        </p15:guide>
        <p15:guide id="5" pos="3840">
          <p15:clr>
            <a:srgbClr val="A4A3A4"/>
          </p15:clr>
        </p15:guide>
        <p15:guide id="6" pos="3908">
          <p15:clr>
            <a:srgbClr val="A4A3A4"/>
          </p15:clr>
        </p15:guide>
        <p15:guide id="7" pos="3772">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852828-556A-4B46-8426-7AC9624B3E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2D3559F3-1262-4F48-A62D-F1912698B5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E8094700-7FB8-4CDD-94A6-FDF18C928773}"/>
              </a:ext>
            </a:extLst>
          </p:cNvPr>
          <p:cNvSpPr>
            <a:spLocks noGrp="1"/>
          </p:cNvSpPr>
          <p:nvPr>
            <p:ph type="dt" sz="half" idx="10"/>
          </p:nvPr>
        </p:nvSpPr>
        <p:spPr/>
        <p:txBody>
          <a:bodyPr/>
          <a:lstStyle/>
          <a:p>
            <a:fld id="{B61D6E9C-5AE9-4BBF-BC90-4C84D48EEE57}" type="datetimeFigureOut">
              <a:rPr lang="de-DE" smtClean="0"/>
              <a:t>09.03.2022</a:t>
            </a:fld>
            <a:endParaRPr lang="de-DE"/>
          </a:p>
        </p:txBody>
      </p:sp>
      <p:sp>
        <p:nvSpPr>
          <p:cNvPr id="5" name="Fußzeilenplatzhalter 4">
            <a:extLst>
              <a:ext uri="{FF2B5EF4-FFF2-40B4-BE49-F238E27FC236}">
                <a16:creationId xmlns:a16="http://schemas.microsoft.com/office/drawing/2014/main" id="{CC47631D-8874-4EC4-BD0A-94228F1FFBB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993B7B4-E539-4085-A6A4-1FA248B66FE1}"/>
              </a:ext>
            </a:extLst>
          </p:cNvPr>
          <p:cNvSpPr>
            <a:spLocks noGrp="1"/>
          </p:cNvSpPr>
          <p:nvPr>
            <p:ph type="sldNum" sz="quarter" idx="12"/>
          </p:nvPr>
        </p:nvSpPr>
        <p:spPr/>
        <p:txBody>
          <a:bodyPr/>
          <a:lstStyle/>
          <a:p>
            <a:fld id="{90C4618F-0F01-47BA-A46B-EAF85FC92045}" type="slidenum">
              <a:rPr lang="de-DE" smtClean="0"/>
              <a:t>‹#›</a:t>
            </a:fld>
            <a:endParaRPr lang="de-DE"/>
          </a:p>
        </p:txBody>
      </p:sp>
    </p:spTree>
    <p:extLst>
      <p:ext uri="{BB962C8B-B14F-4D97-AF65-F5344CB8AC3E}">
        <p14:creationId xmlns:p14="http://schemas.microsoft.com/office/powerpoint/2010/main" val="4049152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1"/>
            </p:custDataLst>
            <p:extLst>
              <p:ext uri="{D42A27DB-BD31-4B8C-83A1-F6EECF244321}">
                <p14:modId xmlns:p14="http://schemas.microsoft.com/office/powerpoint/2010/main" val="2475010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12" imgW="136" imgH="136" progId="TCLayout.ActiveDocument.1">
                  <p:embed/>
                </p:oleObj>
              </mc:Choice>
              <mc:Fallback>
                <p:oleObj name="think-cell Folie" r:id="rId12" imgW="136" imgH="136" progId="TCLayout.ActiveDocument.1">
                  <p:embed/>
                  <p:pic>
                    <p:nvPicPr>
                      <p:cNvPr id="8" name="Objekt 7"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 name="Auf der gleichen Seite des Rechtecks liegende Ecken abrunden 8"/>
          <p:cNvSpPr/>
          <p:nvPr userDrawn="1"/>
        </p:nvSpPr>
        <p:spPr>
          <a:xfrm>
            <a:off x="983432" y="-525583"/>
            <a:ext cx="640800" cy="360040"/>
          </a:xfrm>
          <a:prstGeom prst="round2SameRect">
            <a:avLst>
              <a:gd name="adj1" fmla="val 21164"/>
              <a:gd name="adj2" fmla="val 21164"/>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
        <p:nvSpPr>
          <p:cNvPr id="10" name="Auf der gleichen Seite des Rechtecks liegende Ecken abrunden 9"/>
          <p:cNvSpPr/>
          <p:nvPr userDrawn="1"/>
        </p:nvSpPr>
        <p:spPr>
          <a:xfrm>
            <a:off x="1761118" y="-525583"/>
            <a:ext cx="640800" cy="360040"/>
          </a:xfrm>
          <a:prstGeom prst="round2SameRect">
            <a:avLst>
              <a:gd name="adj1" fmla="val 21164"/>
              <a:gd name="adj2" fmla="val 21164"/>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
        <p:nvSpPr>
          <p:cNvPr id="11" name="Auf der gleichen Seite des Rechtecks liegende Ecken abrunden 10"/>
          <p:cNvSpPr/>
          <p:nvPr userDrawn="1"/>
        </p:nvSpPr>
        <p:spPr>
          <a:xfrm>
            <a:off x="2538804" y="-525583"/>
            <a:ext cx="640800" cy="360040"/>
          </a:xfrm>
          <a:prstGeom prst="round2SameRect">
            <a:avLst>
              <a:gd name="adj1" fmla="val 21164"/>
              <a:gd name="adj2" fmla="val 21164"/>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
        <p:nvSpPr>
          <p:cNvPr id="12" name="Auf der gleichen Seite des Rechtecks liegende Ecken abrunden 11"/>
          <p:cNvSpPr/>
          <p:nvPr userDrawn="1"/>
        </p:nvSpPr>
        <p:spPr>
          <a:xfrm>
            <a:off x="3316490" y="-525583"/>
            <a:ext cx="640800" cy="360040"/>
          </a:xfrm>
          <a:prstGeom prst="round2SameRect">
            <a:avLst>
              <a:gd name="adj1" fmla="val 21164"/>
              <a:gd name="adj2" fmla="val 21164"/>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
        <p:nvSpPr>
          <p:cNvPr id="13" name="Auf der gleichen Seite des Rechtecks liegende Ecken abrunden 12"/>
          <p:cNvSpPr/>
          <p:nvPr userDrawn="1"/>
        </p:nvSpPr>
        <p:spPr>
          <a:xfrm>
            <a:off x="4094176" y="-525583"/>
            <a:ext cx="640800" cy="360040"/>
          </a:xfrm>
          <a:prstGeom prst="round2SameRect">
            <a:avLst>
              <a:gd name="adj1" fmla="val 21164"/>
              <a:gd name="adj2" fmla="val 21164"/>
            </a:avLst>
          </a:prstGeom>
          <a:solidFill>
            <a:schemeClr val="accent5"/>
          </a:solid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
        <p:nvSpPr>
          <p:cNvPr id="14" name="Auf der gleichen Seite des Rechtecks liegende Ecken abrunden 13"/>
          <p:cNvSpPr/>
          <p:nvPr userDrawn="1"/>
        </p:nvSpPr>
        <p:spPr>
          <a:xfrm>
            <a:off x="4871864" y="-525583"/>
            <a:ext cx="640800" cy="360040"/>
          </a:xfrm>
          <a:prstGeom prst="round2SameRect">
            <a:avLst>
              <a:gd name="adj1" fmla="val 21164"/>
              <a:gd name="adj2" fmla="val 21164"/>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dist"/>
            <a:endParaRPr lang="de-DE" sz="1800"/>
          </a:p>
        </p:txBody>
      </p:sp>
    </p:spTree>
    <p:extLst>
      <p:ext uri="{BB962C8B-B14F-4D97-AF65-F5344CB8AC3E}">
        <p14:creationId xmlns:p14="http://schemas.microsoft.com/office/powerpoint/2010/main" val="317537925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vmlDrawing" Target="../drawings/vmlDrawing6.v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54.png"/><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image" Target="../media/image57.svg"/><Relationship Id="rId4" Type="http://schemas.openxmlformats.org/officeDocument/2006/relationships/image" Target="../media/image56.png"/><Relationship Id="rId9" Type="http://schemas.openxmlformats.org/officeDocument/2006/relationships/image" Target="../media/image60.png"/></Relationships>
</file>

<file path=ppt/slides/_rels/slide1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7.svg"/><Relationship Id="rId7" Type="http://schemas.openxmlformats.org/officeDocument/2006/relationships/image" Target="../media/image59.svg"/><Relationship Id="rId2" Type="http://schemas.openxmlformats.org/officeDocument/2006/relationships/image" Target="../media/image56.png"/><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image" Target="../media/image62.svg"/><Relationship Id="rId4" Type="http://schemas.openxmlformats.org/officeDocument/2006/relationships/image" Target="../media/image61.png"/><Relationship Id="rId9" Type="http://schemas.openxmlformats.org/officeDocument/2006/relationships/image" Target="../media/image64.svg"/></Relationships>
</file>

<file path=ppt/slides/_rels/slide12.xml.rels><?xml version="1.0" encoding="UTF-8" standalone="yes"?>
<Relationships xmlns="http://schemas.openxmlformats.org/package/2006/relationships"><Relationship Id="rId13" Type="http://schemas.openxmlformats.org/officeDocument/2006/relationships/customXml" Target="../ink/ink5.xml"/><Relationship Id="rId18" Type="http://schemas.openxmlformats.org/officeDocument/2006/relationships/customXml" Target="../ink/ink8.xml"/><Relationship Id="rId26" Type="http://schemas.openxmlformats.org/officeDocument/2006/relationships/customXml" Target="../ink/ink13.xml"/><Relationship Id="rId39" Type="http://schemas.openxmlformats.org/officeDocument/2006/relationships/customXml" Target="../ink/ink21.xml"/><Relationship Id="rId3" Type="http://schemas.openxmlformats.org/officeDocument/2006/relationships/image" Target="../media/image63.png"/><Relationship Id="rId21" Type="http://schemas.openxmlformats.org/officeDocument/2006/relationships/customXml" Target="../ink/ink10.xml"/><Relationship Id="rId34" Type="http://schemas.openxmlformats.org/officeDocument/2006/relationships/customXml" Target="../ink/ink18.xml"/><Relationship Id="rId42" Type="http://schemas.openxmlformats.org/officeDocument/2006/relationships/image" Target="../media/image85.png"/><Relationship Id="rId47" Type="http://schemas.openxmlformats.org/officeDocument/2006/relationships/customXml" Target="../ink/ink25.xml"/><Relationship Id="rId50" Type="http://schemas.openxmlformats.org/officeDocument/2006/relationships/image" Target="../media/image89.png"/><Relationship Id="rId7" Type="http://schemas.openxmlformats.org/officeDocument/2006/relationships/customXml" Target="../ink/ink2.xml"/><Relationship Id="rId12" Type="http://schemas.openxmlformats.org/officeDocument/2006/relationships/image" Target="../media/image73.png"/><Relationship Id="rId17" Type="http://schemas.openxmlformats.org/officeDocument/2006/relationships/image" Target="../media/image75.png"/><Relationship Id="rId25" Type="http://schemas.openxmlformats.org/officeDocument/2006/relationships/image" Target="../media/image78.png"/><Relationship Id="rId33" Type="http://schemas.openxmlformats.org/officeDocument/2006/relationships/image" Target="../media/image81.png"/><Relationship Id="rId38" Type="http://schemas.openxmlformats.org/officeDocument/2006/relationships/image" Target="../media/image83.png"/><Relationship Id="rId46" Type="http://schemas.openxmlformats.org/officeDocument/2006/relationships/image" Target="../media/image87.png"/><Relationship Id="rId2" Type="http://schemas.openxmlformats.org/officeDocument/2006/relationships/image" Target="../media/image65.jpeg"/><Relationship Id="rId16" Type="http://schemas.openxmlformats.org/officeDocument/2006/relationships/customXml" Target="../ink/ink7.xml"/><Relationship Id="rId20" Type="http://schemas.openxmlformats.org/officeDocument/2006/relationships/customXml" Target="../ink/ink9.xml"/><Relationship Id="rId29" Type="http://schemas.openxmlformats.org/officeDocument/2006/relationships/customXml" Target="../ink/ink15.xml"/><Relationship Id="rId41" Type="http://schemas.openxmlformats.org/officeDocument/2006/relationships/customXml" Target="../ink/ink22.xml"/><Relationship Id="rId54" Type="http://schemas.openxmlformats.org/officeDocument/2006/relationships/image" Target="../media/image91.png"/><Relationship Id="rId1" Type="http://schemas.openxmlformats.org/officeDocument/2006/relationships/slideLayout" Target="../slideLayouts/slideLayout3.xml"/><Relationship Id="rId6" Type="http://schemas.openxmlformats.org/officeDocument/2006/relationships/image" Target="../media/image70.png"/><Relationship Id="rId11" Type="http://schemas.openxmlformats.org/officeDocument/2006/relationships/customXml" Target="../ink/ink4.xml"/><Relationship Id="rId24" Type="http://schemas.openxmlformats.org/officeDocument/2006/relationships/customXml" Target="../ink/ink12.xml"/><Relationship Id="rId32" Type="http://schemas.openxmlformats.org/officeDocument/2006/relationships/customXml" Target="../ink/ink17.xml"/><Relationship Id="rId37" Type="http://schemas.openxmlformats.org/officeDocument/2006/relationships/customXml" Target="../ink/ink20.xml"/><Relationship Id="rId40" Type="http://schemas.openxmlformats.org/officeDocument/2006/relationships/image" Target="../media/image84.png"/><Relationship Id="rId45" Type="http://schemas.openxmlformats.org/officeDocument/2006/relationships/customXml" Target="../ink/ink24.xml"/><Relationship Id="rId53" Type="http://schemas.openxmlformats.org/officeDocument/2006/relationships/customXml" Target="../ink/ink28.xml"/><Relationship Id="rId5" Type="http://schemas.openxmlformats.org/officeDocument/2006/relationships/customXml" Target="../ink/ink1.xml"/><Relationship Id="rId15" Type="http://schemas.openxmlformats.org/officeDocument/2006/relationships/customXml" Target="../ink/ink6.xml"/><Relationship Id="rId23" Type="http://schemas.openxmlformats.org/officeDocument/2006/relationships/image" Target="../media/image77.png"/><Relationship Id="rId28" Type="http://schemas.openxmlformats.org/officeDocument/2006/relationships/customXml" Target="../ink/ink14.xml"/><Relationship Id="rId36" Type="http://schemas.openxmlformats.org/officeDocument/2006/relationships/image" Target="../media/image82.png"/><Relationship Id="rId49" Type="http://schemas.openxmlformats.org/officeDocument/2006/relationships/customXml" Target="../ink/ink26.xml"/><Relationship Id="rId10" Type="http://schemas.openxmlformats.org/officeDocument/2006/relationships/image" Target="../media/image72.png"/><Relationship Id="rId19" Type="http://schemas.openxmlformats.org/officeDocument/2006/relationships/image" Target="../media/image76.png"/><Relationship Id="rId31" Type="http://schemas.openxmlformats.org/officeDocument/2006/relationships/image" Target="../media/image80.png"/><Relationship Id="rId44" Type="http://schemas.openxmlformats.org/officeDocument/2006/relationships/image" Target="../media/image86.png"/><Relationship Id="rId52" Type="http://schemas.openxmlformats.org/officeDocument/2006/relationships/image" Target="../media/image90.png"/><Relationship Id="rId4" Type="http://schemas.openxmlformats.org/officeDocument/2006/relationships/image" Target="../media/image64.svg"/><Relationship Id="rId9" Type="http://schemas.openxmlformats.org/officeDocument/2006/relationships/customXml" Target="../ink/ink3.xml"/><Relationship Id="rId14" Type="http://schemas.openxmlformats.org/officeDocument/2006/relationships/image" Target="../media/image74.png"/><Relationship Id="rId22" Type="http://schemas.openxmlformats.org/officeDocument/2006/relationships/customXml" Target="../ink/ink11.xml"/><Relationship Id="rId27" Type="http://schemas.openxmlformats.org/officeDocument/2006/relationships/image" Target="../media/image79.png"/><Relationship Id="rId30" Type="http://schemas.openxmlformats.org/officeDocument/2006/relationships/customXml" Target="../ink/ink16.xml"/><Relationship Id="rId35" Type="http://schemas.openxmlformats.org/officeDocument/2006/relationships/customXml" Target="../ink/ink19.xml"/><Relationship Id="rId43" Type="http://schemas.openxmlformats.org/officeDocument/2006/relationships/customXml" Target="../ink/ink23.xml"/><Relationship Id="rId48" Type="http://schemas.openxmlformats.org/officeDocument/2006/relationships/image" Target="../media/image88.png"/><Relationship Id="rId8" Type="http://schemas.openxmlformats.org/officeDocument/2006/relationships/image" Target="../media/image71.png"/><Relationship Id="rId51" Type="http://schemas.openxmlformats.org/officeDocument/2006/relationships/customXml" Target="../ink/ink27.xml"/></Relationships>
</file>

<file path=ppt/slides/_rels/slide1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3.xml"/><Relationship Id="rId5" Type="http://schemas.openxmlformats.org/officeDocument/2006/relationships/image" Target="../media/image64.sv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55.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3.svg"/><Relationship Id="rId18" Type="http://schemas.openxmlformats.org/officeDocument/2006/relationships/image" Target="../media/image108.png"/><Relationship Id="rId26" Type="http://schemas.openxmlformats.org/officeDocument/2006/relationships/image" Target="../media/image116.png"/><Relationship Id="rId39" Type="http://schemas.openxmlformats.org/officeDocument/2006/relationships/image" Target="../media/image127.svg"/><Relationship Id="rId3" Type="http://schemas.openxmlformats.org/officeDocument/2006/relationships/image" Target="../media/image95.png"/><Relationship Id="rId21" Type="http://schemas.openxmlformats.org/officeDocument/2006/relationships/image" Target="../media/image111.svg"/><Relationship Id="rId34" Type="http://schemas.openxmlformats.org/officeDocument/2006/relationships/image" Target="../media/image122.png"/><Relationship Id="rId7" Type="http://schemas.openxmlformats.org/officeDocument/2006/relationships/image" Target="../media/image98.svg"/><Relationship Id="rId12" Type="http://schemas.openxmlformats.org/officeDocument/2006/relationships/image" Target="../media/image102.png"/><Relationship Id="rId17" Type="http://schemas.openxmlformats.org/officeDocument/2006/relationships/image" Target="../media/image107.svg"/><Relationship Id="rId25" Type="http://schemas.openxmlformats.org/officeDocument/2006/relationships/image" Target="../media/image115.svg"/><Relationship Id="rId33" Type="http://schemas.openxmlformats.org/officeDocument/2006/relationships/image" Target="../media/image121.svg"/><Relationship Id="rId38" Type="http://schemas.openxmlformats.org/officeDocument/2006/relationships/image" Target="../media/image126.png"/><Relationship Id="rId2" Type="http://schemas.openxmlformats.org/officeDocument/2006/relationships/notesSlide" Target="../notesSlides/notesSlide11.xml"/><Relationship Id="rId16" Type="http://schemas.openxmlformats.org/officeDocument/2006/relationships/image" Target="../media/image106.png"/><Relationship Id="rId20" Type="http://schemas.openxmlformats.org/officeDocument/2006/relationships/image" Target="../media/image110.png"/><Relationship Id="rId29" Type="http://schemas.openxmlformats.org/officeDocument/2006/relationships/image" Target="../media/image119.svg"/><Relationship Id="rId41" Type="http://schemas.openxmlformats.org/officeDocument/2006/relationships/image" Target="../media/image129.svg"/><Relationship Id="rId1" Type="http://schemas.openxmlformats.org/officeDocument/2006/relationships/slideLayout" Target="../slideLayouts/slideLayout8.xml"/><Relationship Id="rId6" Type="http://schemas.openxmlformats.org/officeDocument/2006/relationships/image" Target="../media/image97.png"/><Relationship Id="rId11" Type="http://schemas.microsoft.com/office/2007/relationships/hdphoto" Target="../media/hdphoto2.wdp"/><Relationship Id="rId24" Type="http://schemas.openxmlformats.org/officeDocument/2006/relationships/image" Target="../media/image114.png"/><Relationship Id="rId32" Type="http://schemas.openxmlformats.org/officeDocument/2006/relationships/image" Target="../media/image120.png"/><Relationship Id="rId37" Type="http://schemas.openxmlformats.org/officeDocument/2006/relationships/image" Target="../media/image125.svg"/><Relationship Id="rId40" Type="http://schemas.openxmlformats.org/officeDocument/2006/relationships/image" Target="../media/image128.png"/><Relationship Id="rId5" Type="http://schemas.openxmlformats.org/officeDocument/2006/relationships/image" Target="../media/image96.svg"/><Relationship Id="rId15" Type="http://schemas.openxmlformats.org/officeDocument/2006/relationships/image" Target="../media/image105.svg"/><Relationship Id="rId23" Type="http://schemas.openxmlformats.org/officeDocument/2006/relationships/image" Target="../media/image113.svg"/><Relationship Id="rId28" Type="http://schemas.openxmlformats.org/officeDocument/2006/relationships/image" Target="../media/image118.png"/><Relationship Id="rId36" Type="http://schemas.openxmlformats.org/officeDocument/2006/relationships/image" Target="../media/image124.png"/><Relationship Id="rId10" Type="http://schemas.openxmlformats.org/officeDocument/2006/relationships/image" Target="../media/image101.png"/><Relationship Id="rId19" Type="http://schemas.openxmlformats.org/officeDocument/2006/relationships/image" Target="../media/image109.svg"/><Relationship Id="rId31" Type="http://schemas.openxmlformats.org/officeDocument/2006/relationships/chart" Target="../charts/chart3.xml"/><Relationship Id="rId4" Type="http://schemas.openxmlformats.org/officeDocument/2006/relationships/image" Target="../media/image66.png"/><Relationship Id="rId9" Type="http://schemas.openxmlformats.org/officeDocument/2006/relationships/image" Target="../media/image100.svg"/><Relationship Id="rId14" Type="http://schemas.openxmlformats.org/officeDocument/2006/relationships/image" Target="../media/image104.png"/><Relationship Id="rId22" Type="http://schemas.openxmlformats.org/officeDocument/2006/relationships/image" Target="../media/image112.png"/><Relationship Id="rId27" Type="http://schemas.openxmlformats.org/officeDocument/2006/relationships/image" Target="../media/image117.svg"/><Relationship Id="rId30" Type="http://schemas.openxmlformats.org/officeDocument/2006/relationships/chart" Target="../charts/chart2.xml"/><Relationship Id="rId35" Type="http://schemas.openxmlformats.org/officeDocument/2006/relationships/image" Target="../media/image123.svg"/></Relationships>
</file>

<file path=ppt/slides/_rels/slide24.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9.svg"/><Relationship Id="rId18" Type="http://schemas.openxmlformats.org/officeDocument/2006/relationships/image" Target="../media/image114.png"/><Relationship Id="rId26" Type="http://schemas.openxmlformats.org/officeDocument/2006/relationships/image" Target="../media/image122.png"/><Relationship Id="rId39" Type="http://schemas.openxmlformats.org/officeDocument/2006/relationships/image" Target="../media/image127.svg"/><Relationship Id="rId3" Type="http://schemas.openxmlformats.org/officeDocument/2006/relationships/image" Target="../media/image95.png"/><Relationship Id="rId21" Type="http://schemas.openxmlformats.org/officeDocument/2006/relationships/image" Target="../media/image117.svg"/><Relationship Id="rId34" Type="http://schemas.openxmlformats.org/officeDocument/2006/relationships/image" Target="../media/image118.png"/><Relationship Id="rId7" Type="http://schemas.openxmlformats.org/officeDocument/2006/relationships/image" Target="../media/image98.svg"/><Relationship Id="rId12" Type="http://schemas.openxmlformats.org/officeDocument/2006/relationships/image" Target="../media/image108.png"/><Relationship Id="rId17" Type="http://schemas.openxmlformats.org/officeDocument/2006/relationships/image" Target="../media/image113.svg"/><Relationship Id="rId25" Type="http://schemas.openxmlformats.org/officeDocument/2006/relationships/image" Target="../media/image121.svg"/><Relationship Id="rId33" Type="http://schemas.openxmlformats.org/officeDocument/2006/relationships/image" Target="../media/image105.svg"/><Relationship Id="rId38" Type="http://schemas.openxmlformats.org/officeDocument/2006/relationships/image" Target="../media/image126.png"/><Relationship Id="rId2" Type="http://schemas.openxmlformats.org/officeDocument/2006/relationships/notesSlide" Target="../notesSlides/notesSlide12.xml"/><Relationship Id="rId16" Type="http://schemas.openxmlformats.org/officeDocument/2006/relationships/image" Target="../media/image112.png"/><Relationship Id="rId20" Type="http://schemas.openxmlformats.org/officeDocument/2006/relationships/image" Target="../media/image116.png"/><Relationship Id="rId29" Type="http://schemas.openxmlformats.org/officeDocument/2006/relationships/image" Target="../media/image125.svg"/><Relationship Id="rId41" Type="http://schemas.openxmlformats.org/officeDocument/2006/relationships/image" Target="../media/image129.svg"/><Relationship Id="rId1" Type="http://schemas.openxmlformats.org/officeDocument/2006/relationships/slideLayout" Target="../slideLayouts/slideLayout8.xml"/><Relationship Id="rId6" Type="http://schemas.openxmlformats.org/officeDocument/2006/relationships/image" Target="../media/image97.png"/><Relationship Id="rId11" Type="http://schemas.openxmlformats.org/officeDocument/2006/relationships/image" Target="../media/image107.svg"/><Relationship Id="rId24" Type="http://schemas.openxmlformats.org/officeDocument/2006/relationships/image" Target="../media/image120.png"/><Relationship Id="rId32" Type="http://schemas.openxmlformats.org/officeDocument/2006/relationships/image" Target="../media/image104.png"/><Relationship Id="rId37" Type="http://schemas.microsoft.com/office/2007/relationships/hdphoto" Target="../media/hdphoto2.wdp"/><Relationship Id="rId40" Type="http://schemas.openxmlformats.org/officeDocument/2006/relationships/image" Target="../media/image128.png"/><Relationship Id="rId5" Type="http://schemas.openxmlformats.org/officeDocument/2006/relationships/image" Target="../media/image96.svg"/><Relationship Id="rId15" Type="http://schemas.openxmlformats.org/officeDocument/2006/relationships/image" Target="../media/image111.svg"/><Relationship Id="rId23" Type="http://schemas.openxmlformats.org/officeDocument/2006/relationships/chart" Target="../charts/chart5.xml"/><Relationship Id="rId28" Type="http://schemas.openxmlformats.org/officeDocument/2006/relationships/image" Target="../media/image124.png"/><Relationship Id="rId36" Type="http://schemas.openxmlformats.org/officeDocument/2006/relationships/image" Target="../media/image101.png"/><Relationship Id="rId10" Type="http://schemas.openxmlformats.org/officeDocument/2006/relationships/image" Target="../media/image106.png"/><Relationship Id="rId19" Type="http://schemas.openxmlformats.org/officeDocument/2006/relationships/image" Target="../media/image115.svg"/><Relationship Id="rId31" Type="http://schemas.openxmlformats.org/officeDocument/2006/relationships/image" Target="../media/image103.svg"/><Relationship Id="rId4" Type="http://schemas.openxmlformats.org/officeDocument/2006/relationships/image" Target="../media/image66.png"/><Relationship Id="rId9" Type="http://schemas.openxmlformats.org/officeDocument/2006/relationships/image" Target="../media/image100.svg"/><Relationship Id="rId14" Type="http://schemas.openxmlformats.org/officeDocument/2006/relationships/image" Target="../media/image110.png"/><Relationship Id="rId22" Type="http://schemas.openxmlformats.org/officeDocument/2006/relationships/chart" Target="../charts/chart4.xml"/><Relationship Id="rId27" Type="http://schemas.openxmlformats.org/officeDocument/2006/relationships/image" Target="../media/image123.svg"/><Relationship Id="rId30" Type="http://schemas.openxmlformats.org/officeDocument/2006/relationships/image" Target="../media/image102.png"/><Relationship Id="rId35" Type="http://schemas.openxmlformats.org/officeDocument/2006/relationships/image" Target="../media/image119.svg"/></Relationships>
</file>

<file path=ppt/slides/_rels/slide25.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7.svg"/><Relationship Id="rId18" Type="http://schemas.openxmlformats.org/officeDocument/2006/relationships/image" Target="../media/image112.png"/><Relationship Id="rId26" Type="http://schemas.openxmlformats.org/officeDocument/2006/relationships/image" Target="../media/image120.png"/><Relationship Id="rId39" Type="http://schemas.openxmlformats.org/officeDocument/2006/relationships/image" Target="../media/image105.svg"/><Relationship Id="rId3" Type="http://schemas.openxmlformats.org/officeDocument/2006/relationships/image" Target="../media/image95.png"/><Relationship Id="rId21" Type="http://schemas.openxmlformats.org/officeDocument/2006/relationships/image" Target="../media/image115.svg"/><Relationship Id="rId34" Type="http://schemas.openxmlformats.org/officeDocument/2006/relationships/image" Target="../media/image128.png"/><Relationship Id="rId7" Type="http://schemas.openxmlformats.org/officeDocument/2006/relationships/image" Target="../media/image98.svg"/><Relationship Id="rId12" Type="http://schemas.openxmlformats.org/officeDocument/2006/relationships/image" Target="../media/image106.png"/><Relationship Id="rId17" Type="http://schemas.openxmlformats.org/officeDocument/2006/relationships/image" Target="../media/image111.svg"/><Relationship Id="rId25" Type="http://schemas.openxmlformats.org/officeDocument/2006/relationships/chart" Target="../charts/chart7.xml"/><Relationship Id="rId33" Type="http://schemas.openxmlformats.org/officeDocument/2006/relationships/image" Target="../media/image127.svg"/><Relationship Id="rId38" Type="http://schemas.openxmlformats.org/officeDocument/2006/relationships/image" Target="../media/image104.png"/><Relationship Id="rId2" Type="http://schemas.openxmlformats.org/officeDocument/2006/relationships/notesSlide" Target="../notesSlides/notesSlide13.xml"/><Relationship Id="rId16" Type="http://schemas.openxmlformats.org/officeDocument/2006/relationships/image" Target="../media/image110.png"/><Relationship Id="rId20" Type="http://schemas.openxmlformats.org/officeDocument/2006/relationships/image" Target="../media/image114.png"/><Relationship Id="rId29" Type="http://schemas.openxmlformats.org/officeDocument/2006/relationships/image" Target="../media/image123.svg"/><Relationship Id="rId41" Type="http://schemas.openxmlformats.org/officeDocument/2006/relationships/image" Target="../media/image119.svg"/><Relationship Id="rId1" Type="http://schemas.openxmlformats.org/officeDocument/2006/relationships/slideLayout" Target="../slideLayouts/slideLayout8.xml"/><Relationship Id="rId6" Type="http://schemas.openxmlformats.org/officeDocument/2006/relationships/image" Target="../media/image97.png"/><Relationship Id="rId11" Type="http://schemas.microsoft.com/office/2007/relationships/hdphoto" Target="../media/hdphoto2.wdp"/><Relationship Id="rId24" Type="http://schemas.openxmlformats.org/officeDocument/2006/relationships/chart" Target="../charts/chart6.xml"/><Relationship Id="rId32" Type="http://schemas.openxmlformats.org/officeDocument/2006/relationships/image" Target="../media/image126.png"/><Relationship Id="rId37" Type="http://schemas.openxmlformats.org/officeDocument/2006/relationships/image" Target="../media/image103.svg"/><Relationship Id="rId40" Type="http://schemas.openxmlformats.org/officeDocument/2006/relationships/image" Target="../media/image118.png"/><Relationship Id="rId5" Type="http://schemas.openxmlformats.org/officeDocument/2006/relationships/image" Target="../media/image96.svg"/><Relationship Id="rId15" Type="http://schemas.openxmlformats.org/officeDocument/2006/relationships/image" Target="../media/image109.svg"/><Relationship Id="rId23" Type="http://schemas.openxmlformats.org/officeDocument/2006/relationships/image" Target="../media/image117.svg"/><Relationship Id="rId28" Type="http://schemas.openxmlformats.org/officeDocument/2006/relationships/image" Target="../media/image122.png"/><Relationship Id="rId36" Type="http://schemas.openxmlformats.org/officeDocument/2006/relationships/image" Target="../media/image102.png"/><Relationship Id="rId10" Type="http://schemas.openxmlformats.org/officeDocument/2006/relationships/image" Target="../media/image101.png"/><Relationship Id="rId19" Type="http://schemas.openxmlformats.org/officeDocument/2006/relationships/image" Target="../media/image113.svg"/><Relationship Id="rId31" Type="http://schemas.openxmlformats.org/officeDocument/2006/relationships/image" Target="../media/image125.svg"/><Relationship Id="rId4" Type="http://schemas.openxmlformats.org/officeDocument/2006/relationships/image" Target="../media/image66.png"/><Relationship Id="rId9" Type="http://schemas.openxmlformats.org/officeDocument/2006/relationships/image" Target="../media/image100.sv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121.svg"/><Relationship Id="rId30" Type="http://schemas.openxmlformats.org/officeDocument/2006/relationships/image" Target="../media/image124.png"/><Relationship Id="rId35" Type="http://schemas.openxmlformats.org/officeDocument/2006/relationships/image" Target="../media/image129.svg"/></Relationships>
</file>

<file path=ppt/slides/_rels/slide26.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9.svg"/><Relationship Id="rId18" Type="http://schemas.openxmlformats.org/officeDocument/2006/relationships/image" Target="../media/image116.png"/><Relationship Id="rId26" Type="http://schemas.openxmlformats.org/officeDocument/2006/relationships/image" Target="../media/image125.svg"/><Relationship Id="rId39" Type="http://schemas.openxmlformats.org/officeDocument/2006/relationships/image" Target="../media/image110.png"/><Relationship Id="rId3" Type="http://schemas.openxmlformats.org/officeDocument/2006/relationships/image" Target="../media/image95.png"/><Relationship Id="rId21" Type="http://schemas.openxmlformats.org/officeDocument/2006/relationships/image" Target="../media/image120.png"/><Relationship Id="rId34" Type="http://schemas.microsoft.com/office/2007/relationships/hdphoto" Target="../media/hdphoto2.wdp"/><Relationship Id="rId7" Type="http://schemas.openxmlformats.org/officeDocument/2006/relationships/image" Target="../media/image98.svg"/><Relationship Id="rId12" Type="http://schemas.openxmlformats.org/officeDocument/2006/relationships/image" Target="../media/image108.png"/><Relationship Id="rId17" Type="http://schemas.openxmlformats.org/officeDocument/2006/relationships/image" Target="../media/image115.svg"/><Relationship Id="rId25" Type="http://schemas.openxmlformats.org/officeDocument/2006/relationships/image" Target="../media/image124.png"/><Relationship Id="rId33" Type="http://schemas.openxmlformats.org/officeDocument/2006/relationships/image" Target="../media/image101.png"/><Relationship Id="rId38" Type="http://schemas.openxmlformats.org/officeDocument/2006/relationships/image" Target="../media/image129.svg"/><Relationship Id="rId2" Type="http://schemas.openxmlformats.org/officeDocument/2006/relationships/notesSlide" Target="../notesSlides/notesSlide14.xml"/><Relationship Id="rId16" Type="http://schemas.openxmlformats.org/officeDocument/2006/relationships/image" Target="../media/image114.png"/><Relationship Id="rId20" Type="http://schemas.openxmlformats.org/officeDocument/2006/relationships/chart" Target="../charts/chart8.xml"/><Relationship Id="rId29" Type="http://schemas.openxmlformats.org/officeDocument/2006/relationships/image" Target="../media/image104.png"/><Relationship Id="rId41" Type="http://schemas.openxmlformats.org/officeDocument/2006/relationships/chart" Target="../charts/chart9.xml"/><Relationship Id="rId1" Type="http://schemas.openxmlformats.org/officeDocument/2006/relationships/slideLayout" Target="../slideLayouts/slideLayout8.xml"/><Relationship Id="rId6" Type="http://schemas.openxmlformats.org/officeDocument/2006/relationships/image" Target="../media/image97.png"/><Relationship Id="rId11" Type="http://schemas.openxmlformats.org/officeDocument/2006/relationships/image" Target="../media/image107.svg"/><Relationship Id="rId24" Type="http://schemas.openxmlformats.org/officeDocument/2006/relationships/image" Target="../media/image123.svg"/><Relationship Id="rId32" Type="http://schemas.openxmlformats.org/officeDocument/2006/relationships/image" Target="../media/image119.svg"/><Relationship Id="rId37" Type="http://schemas.openxmlformats.org/officeDocument/2006/relationships/image" Target="../media/image128.png"/><Relationship Id="rId40" Type="http://schemas.openxmlformats.org/officeDocument/2006/relationships/image" Target="../media/image111.svg"/><Relationship Id="rId5" Type="http://schemas.openxmlformats.org/officeDocument/2006/relationships/image" Target="../media/image96.svg"/><Relationship Id="rId15" Type="http://schemas.openxmlformats.org/officeDocument/2006/relationships/image" Target="../media/image113.svg"/><Relationship Id="rId23" Type="http://schemas.openxmlformats.org/officeDocument/2006/relationships/image" Target="../media/image122.png"/><Relationship Id="rId28" Type="http://schemas.openxmlformats.org/officeDocument/2006/relationships/image" Target="../media/image103.svg"/><Relationship Id="rId36" Type="http://schemas.openxmlformats.org/officeDocument/2006/relationships/image" Target="../media/image127.svg"/><Relationship Id="rId10" Type="http://schemas.openxmlformats.org/officeDocument/2006/relationships/image" Target="../media/image106.png"/><Relationship Id="rId19" Type="http://schemas.openxmlformats.org/officeDocument/2006/relationships/image" Target="../media/image117.svg"/><Relationship Id="rId31" Type="http://schemas.openxmlformats.org/officeDocument/2006/relationships/image" Target="../media/image118.png"/><Relationship Id="rId4" Type="http://schemas.openxmlformats.org/officeDocument/2006/relationships/image" Target="../media/image66.png"/><Relationship Id="rId9" Type="http://schemas.openxmlformats.org/officeDocument/2006/relationships/image" Target="../media/image100.svg"/><Relationship Id="rId14" Type="http://schemas.openxmlformats.org/officeDocument/2006/relationships/image" Target="../media/image112.png"/><Relationship Id="rId22" Type="http://schemas.openxmlformats.org/officeDocument/2006/relationships/image" Target="../media/image121.svg"/><Relationship Id="rId27" Type="http://schemas.openxmlformats.org/officeDocument/2006/relationships/image" Target="../media/image102.png"/><Relationship Id="rId30" Type="http://schemas.openxmlformats.org/officeDocument/2006/relationships/image" Target="../media/image105.svg"/><Relationship Id="rId35" Type="http://schemas.openxmlformats.org/officeDocument/2006/relationships/image" Target="../media/image126.png"/></Relationships>
</file>

<file path=ppt/slides/_rels/slide27.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15.svg"/><Relationship Id="rId18" Type="http://schemas.openxmlformats.org/officeDocument/2006/relationships/image" Target="../media/image122.png"/><Relationship Id="rId26" Type="http://schemas.openxmlformats.org/officeDocument/2006/relationships/image" Target="../media/image118.png"/><Relationship Id="rId39" Type="http://schemas.openxmlformats.org/officeDocument/2006/relationships/image" Target="../media/image108.png"/><Relationship Id="rId3" Type="http://schemas.openxmlformats.org/officeDocument/2006/relationships/image" Target="../media/image95.png"/><Relationship Id="rId21" Type="http://schemas.openxmlformats.org/officeDocument/2006/relationships/image" Target="../media/image125.svg"/><Relationship Id="rId34" Type="http://schemas.openxmlformats.org/officeDocument/2006/relationships/image" Target="../media/image110.png"/><Relationship Id="rId7" Type="http://schemas.openxmlformats.org/officeDocument/2006/relationships/image" Target="../media/image98.svg"/><Relationship Id="rId12" Type="http://schemas.openxmlformats.org/officeDocument/2006/relationships/image" Target="../media/image114.png"/><Relationship Id="rId17" Type="http://schemas.openxmlformats.org/officeDocument/2006/relationships/image" Target="../media/image121.svg"/><Relationship Id="rId25" Type="http://schemas.openxmlformats.org/officeDocument/2006/relationships/image" Target="../media/image105.svg"/><Relationship Id="rId33" Type="http://schemas.openxmlformats.org/officeDocument/2006/relationships/image" Target="../media/image129.svg"/><Relationship Id="rId38" Type="http://schemas.openxmlformats.org/officeDocument/2006/relationships/image" Target="../media/image107.svg"/><Relationship Id="rId2" Type="http://schemas.openxmlformats.org/officeDocument/2006/relationships/notesSlide" Target="../notesSlides/notesSlide15.xml"/><Relationship Id="rId16" Type="http://schemas.openxmlformats.org/officeDocument/2006/relationships/image" Target="../media/image120.png"/><Relationship Id="rId20" Type="http://schemas.openxmlformats.org/officeDocument/2006/relationships/image" Target="../media/image124.png"/><Relationship Id="rId29" Type="http://schemas.microsoft.com/office/2007/relationships/hdphoto" Target="../media/hdphoto2.wdp"/><Relationship Id="rId41" Type="http://schemas.openxmlformats.org/officeDocument/2006/relationships/chart" Target="../charts/chart11.xml"/><Relationship Id="rId1" Type="http://schemas.openxmlformats.org/officeDocument/2006/relationships/slideLayout" Target="../slideLayouts/slideLayout8.xml"/><Relationship Id="rId6" Type="http://schemas.openxmlformats.org/officeDocument/2006/relationships/image" Target="../media/image97.png"/><Relationship Id="rId11" Type="http://schemas.openxmlformats.org/officeDocument/2006/relationships/image" Target="../media/image113.svg"/><Relationship Id="rId24" Type="http://schemas.openxmlformats.org/officeDocument/2006/relationships/image" Target="../media/image104.png"/><Relationship Id="rId32" Type="http://schemas.openxmlformats.org/officeDocument/2006/relationships/image" Target="../media/image128.png"/><Relationship Id="rId37" Type="http://schemas.openxmlformats.org/officeDocument/2006/relationships/image" Target="../media/image106.png"/><Relationship Id="rId40" Type="http://schemas.openxmlformats.org/officeDocument/2006/relationships/image" Target="../media/image109.svg"/><Relationship Id="rId5" Type="http://schemas.openxmlformats.org/officeDocument/2006/relationships/image" Target="../media/image96.svg"/><Relationship Id="rId15" Type="http://schemas.openxmlformats.org/officeDocument/2006/relationships/image" Target="../media/image117.svg"/><Relationship Id="rId23" Type="http://schemas.openxmlformats.org/officeDocument/2006/relationships/image" Target="../media/image103.svg"/><Relationship Id="rId28" Type="http://schemas.openxmlformats.org/officeDocument/2006/relationships/image" Target="../media/image101.png"/><Relationship Id="rId36" Type="http://schemas.openxmlformats.org/officeDocument/2006/relationships/chart" Target="../charts/chart10.xml"/><Relationship Id="rId10" Type="http://schemas.openxmlformats.org/officeDocument/2006/relationships/image" Target="../media/image112.png"/><Relationship Id="rId19" Type="http://schemas.openxmlformats.org/officeDocument/2006/relationships/image" Target="../media/image123.svg"/><Relationship Id="rId31" Type="http://schemas.openxmlformats.org/officeDocument/2006/relationships/image" Target="../media/image127.svg"/><Relationship Id="rId4" Type="http://schemas.openxmlformats.org/officeDocument/2006/relationships/image" Target="../media/image66.png"/><Relationship Id="rId9" Type="http://schemas.openxmlformats.org/officeDocument/2006/relationships/image" Target="../media/image100.svg"/><Relationship Id="rId14" Type="http://schemas.openxmlformats.org/officeDocument/2006/relationships/image" Target="../media/image116.png"/><Relationship Id="rId22" Type="http://schemas.openxmlformats.org/officeDocument/2006/relationships/image" Target="../media/image102.png"/><Relationship Id="rId27" Type="http://schemas.openxmlformats.org/officeDocument/2006/relationships/image" Target="../media/image119.svg"/><Relationship Id="rId30" Type="http://schemas.openxmlformats.org/officeDocument/2006/relationships/image" Target="../media/image126.png"/><Relationship Id="rId35" Type="http://schemas.openxmlformats.org/officeDocument/2006/relationships/image" Target="../media/image111.svg"/></Relationships>
</file>

<file path=ppt/slides/_rels/slide28.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10.png"/><Relationship Id="rId18" Type="http://schemas.openxmlformats.org/officeDocument/2006/relationships/chart" Target="../charts/chart13.xml"/><Relationship Id="rId26" Type="http://schemas.openxmlformats.org/officeDocument/2006/relationships/image" Target="../media/image97.png"/><Relationship Id="rId39" Type="http://schemas.openxmlformats.org/officeDocument/2006/relationships/image" Target="../media/image123.svg"/><Relationship Id="rId3" Type="http://schemas.openxmlformats.org/officeDocument/2006/relationships/image" Target="../media/image101.png"/><Relationship Id="rId21" Type="http://schemas.openxmlformats.org/officeDocument/2006/relationships/image" Target="../media/image128.png"/><Relationship Id="rId34" Type="http://schemas.openxmlformats.org/officeDocument/2006/relationships/image" Target="../media/image116.png"/><Relationship Id="rId7" Type="http://schemas.openxmlformats.org/officeDocument/2006/relationships/image" Target="../media/image104.png"/><Relationship Id="rId12" Type="http://schemas.openxmlformats.org/officeDocument/2006/relationships/image" Target="../media/image109.svg"/><Relationship Id="rId17" Type="http://schemas.openxmlformats.org/officeDocument/2006/relationships/chart" Target="../charts/chart12.xml"/><Relationship Id="rId25" Type="http://schemas.openxmlformats.org/officeDocument/2006/relationships/image" Target="../media/image96.svg"/><Relationship Id="rId33" Type="http://schemas.openxmlformats.org/officeDocument/2006/relationships/image" Target="../media/image115.svg"/><Relationship Id="rId38" Type="http://schemas.openxmlformats.org/officeDocument/2006/relationships/image" Target="../media/image122.png"/><Relationship Id="rId2" Type="http://schemas.openxmlformats.org/officeDocument/2006/relationships/notesSlide" Target="../notesSlides/notesSlide16.xml"/><Relationship Id="rId16" Type="http://schemas.openxmlformats.org/officeDocument/2006/relationships/image" Target="../media/image119.svg"/><Relationship Id="rId20" Type="http://schemas.openxmlformats.org/officeDocument/2006/relationships/image" Target="../media/image127.svg"/><Relationship Id="rId29" Type="http://schemas.openxmlformats.org/officeDocument/2006/relationships/image" Target="../media/image100.svg"/><Relationship Id="rId41" Type="http://schemas.openxmlformats.org/officeDocument/2006/relationships/image" Target="../media/image125.svg"/><Relationship Id="rId1" Type="http://schemas.openxmlformats.org/officeDocument/2006/relationships/slideLayout" Target="../slideLayouts/slideLayout8.xml"/><Relationship Id="rId6" Type="http://schemas.openxmlformats.org/officeDocument/2006/relationships/image" Target="../media/image103.svg"/><Relationship Id="rId11" Type="http://schemas.openxmlformats.org/officeDocument/2006/relationships/image" Target="../media/image108.png"/><Relationship Id="rId24" Type="http://schemas.openxmlformats.org/officeDocument/2006/relationships/image" Target="../media/image66.png"/><Relationship Id="rId32" Type="http://schemas.openxmlformats.org/officeDocument/2006/relationships/image" Target="../media/image114.png"/><Relationship Id="rId37" Type="http://schemas.openxmlformats.org/officeDocument/2006/relationships/image" Target="../media/image121.svg"/><Relationship Id="rId40" Type="http://schemas.openxmlformats.org/officeDocument/2006/relationships/image" Target="../media/image124.png"/><Relationship Id="rId5" Type="http://schemas.openxmlformats.org/officeDocument/2006/relationships/image" Target="../media/image102.png"/><Relationship Id="rId15" Type="http://schemas.openxmlformats.org/officeDocument/2006/relationships/image" Target="../media/image118.png"/><Relationship Id="rId23" Type="http://schemas.openxmlformats.org/officeDocument/2006/relationships/image" Target="../media/image95.png"/><Relationship Id="rId28" Type="http://schemas.openxmlformats.org/officeDocument/2006/relationships/image" Target="../media/image99.png"/><Relationship Id="rId36" Type="http://schemas.openxmlformats.org/officeDocument/2006/relationships/image" Target="../media/image120.png"/><Relationship Id="rId10" Type="http://schemas.openxmlformats.org/officeDocument/2006/relationships/image" Target="../media/image107.svg"/><Relationship Id="rId19" Type="http://schemas.openxmlformats.org/officeDocument/2006/relationships/image" Target="../media/image126.png"/><Relationship Id="rId31" Type="http://schemas.openxmlformats.org/officeDocument/2006/relationships/image" Target="../media/image113.svg"/><Relationship Id="rId4" Type="http://schemas.microsoft.com/office/2007/relationships/hdphoto" Target="../media/hdphoto2.wdp"/><Relationship Id="rId9" Type="http://schemas.openxmlformats.org/officeDocument/2006/relationships/image" Target="../media/image106.png"/><Relationship Id="rId14" Type="http://schemas.openxmlformats.org/officeDocument/2006/relationships/image" Target="../media/image111.svg"/><Relationship Id="rId22" Type="http://schemas.openxmlformats.org/officeDocument/2006/relationships/image" Target="../media/image129.svg"/><Relationship Id="rId27" Type="http://schemas.openxmlformats.org/officeDocument/2006/relationships/image" Target="../media/image98.svg"/><Relationship Id="rId30" Type="http://schemas.openxmlformats.org/officeDocument/2006/relationships/image" Target="../media/image112.png"/><Relationship Id="rId35" Type="http://schemas.openxmlformats.org/officeDocument/2006/relationships/image" Target="../media/image117.svg"/></Relationships>
</file>

<file path=ppt/slides/_rels/slide29.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image" Target="../media/image137.svg"/><Relationship Id="rId18" Type="http://schemas.openxmlformats.org/officeDocument/2006/relationships/image" Target="../media/image128.png"/><Relationship Id="rId3" Type="http://schemas.microsoft.com/office/2007/relationships/hdphoto" Target="../media/hdphoto2.wdp"/><Relationship Id="rId21" Type="http://schemas.openxmlformats.org/officeDocument/2006/relationships/image" Target="../media/image139.svg"/><Relationship Id="rId7" Type="http://schemas.openxmlformats.org/officeDocument/2006/relationships/image" Target="../media/image133.svg"/><Relationship Id="rId12" Type="http://schemas.openxmlformats.org/officeDocument/2006/relationships/image" Target="../media/image136.png"/><Relationship Id="rId17" Type="http://schemas.openxmlformats.org/officeDocument/2006/relationships/image" Target="../media/image127.svg"/><Relationship Id="rId2" Type="http://schemas.openxmlformats.org/officeDocument/2006/relationships/image" Target="../media/image101.png"/><Relationship Id="rId16" Type="http://schemas.openxmlformats.org/officeDocument/2006/relationships/image" Target="../media/image126.png"/><Relationship Id="rId20" Type="http://schemas.openxmlformats.org/officeDocument/2006/relationships/image" Target="../media/image138.png"/><Relationship Id="rId1" Type="http://schemas.openxmlformats.org/officeDocument/2006/relationships/slideLayout" Target="../slideLayouts/slideLayout8.xml"/><Relationship Id="rId6" Type="http://schemas.openxmlformats.org/officeDocument/2006/relationships/image" Target="../media/image132.png"/><Relationship Id="rId11" Type="http://schemas.openxmlformats.org/officeDocument/2006/relationships/image" Target="../media/image95.png"/><Relationship Id="rId5" Type="http://schemas.openxmlformats.org/officeDocument/2006/relationships/image" Target="../media/image131.svg"/><Relationship Id="rId15" Type="http://schemas.openxmlformats.org/officeDocument/2006/relationships/image" Target="../media/image103.svg"/><Relationship Id="rId10" Type="http://schemas.openxmlformats.org/officeDocument/2006/relationships/image" Target="../media/image135.svg"/><Relationship Id="rId19" Type="http://schemas.openxmlformats.org/officeDocument/2006/relationships/image" Target="../media/image129.svg"/><Relationship Id="rId4" Type="http://schemas.openxmlformats.org/officeDocument/2006/relationships/image" Target="../media/image130.png"/><Relationship Id="rId9" Type="http://schemas.openxmlformats.org/officeDocument/2006/relationships/image" Target="../media/image134.png"/><Relationship Id="rId14" Type="http://schemas.openxmlformats.org/officeDocument/2006/relationships/image" Target="../media/image10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image" Target="../media/image127.svg"/><Relationship Id="rId18" Type="http://schemas.openxmlformats.org/officeDocument/2006/relationships/image" Target="../media/image102.png"/><Relationship Id="rId3" Type="http://schemas.microsoft.com/office/2007/relationships/hdphoto" Target="../media/hdphoto2.wdp"/><Relationship Id="rId21" Type="http://schemas.openxmlformats.org/officeDocument/2006/relationships/image" Target="../media/image137.svg"/><Relationship Id="rId7" Type="http://schemas.openxmlformats.org/officeDocument/2006/relationships/image" Target="../media/image133.svg"/><Relationship Id="rId12" Type="http://schemas.openxmlformats.org/officeDocument/2006/relationships/image" Target="../media/image126.png"/><Relationship Id="rId17" Type="http://schemas.openxmlformats.org/officeDocument/2006/relationships/image" Target="../media/image139.svg"/><Relationship Id="rId2" Type="http://schemas.openxmlformats.org/officeDocument/2006/relationships/image" Target="../media/image101.png"/><Relationship Id="rId16" Type="http://schemas.openxmlformats.org/officeDocument/2006/relationships/image" Target="../media/image138.png"/><Relationship Id="rId20" Type="http://schemas.openxmlformats.org/officeDocument/2006/relationships/image" Target="../media/image136.png"/><Relationship Id="rId1" Type="http://schemas.openxmlformats.org/officeDocument/2006/relationships/slideLayout" Target="../slideLayouts/slideLayout8.xml"/><Relationship Id="rId6" Type="http://schemas.openxmlformats.org/officeDocument/2006/relationships/image" Target="../media/image132.png"/><Relationship Id="rId11" Type="http://schemas.openxmlformats.org/officeDocument/2006/relationships/image" Target="../media/image95.png"/><Relationship Id="rId5" Type="http://schemas.openxmlformats.org/officeDocument/2006/relationships/image" Target="../media/image131.svg"/><Relationship Id="rId15" Type="http://schemas.openxmlformats.org/officeDocument/2006/relationships/image" Target="../media/image129.svg"/><Relationship Id="rId10" Type="http://schemas.openxmlformats.org/officeDocument/2006/relationships/image" Target="../media/image135.svg"/><Relationship Id="rId19" Type="http://schemas.openxmlformats.org/officeDocument/2006/relationships/image" Target="../media/image103.svg"/><Relationship Id="rId4" Type="http://schemas.openxmlformats.org/officeDocument/2006/relationships/image" Target="../media/image130.png"/><Relationship Id="rId9" Type="http://schemas.openxmlformats.org/officeDocument/2006/relationships/image" Target="../media/image134.png"/><Relationship Id="rId14" Type="http://schemas.openxmlformats.org/officeDocument/2006/relationships/image" Target="../media/image128.png"/></Relationships>
</file>

<file path=ppt/slides/_rels/slide31.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137.svg"/><Relationship Id="rId18" Type="http://schemas.openxmlformats.org/officeDocument/2006/relationships/image" Target="../media/image126.png"/><Relationship Id="rId3" Type="http://schemas.microsoft.com/office/2007/relationships/hdphoto" Target="../media/hdphoto2.wdp"/><Relationship Id="rId21" Type="http://schemas.openxmlformats.org/officeDocument/2006/relationships/image" Target="../media/image129.svg"/><Relationship Id="rId7" Type="http://schemas.openxmlformats.org/officeDocument/2006/relationships/image" Target="../media/image133.svg"/><Relationship Id="rId12" Type="http://schemas.openxmlformats.org/officeDocument/2006/relationships/image" Target="../media/image136.png"/><Relationship Id="rId17" Type="http://schemas.openxmlformats.org/officeDocument/2006/relationships/image" Target="../media/image103.svg"/><Relationship Id="rId2" Type="http://schemas.openxmlformats.org/officeDocument/2006/relationships/image" Target="../media/image101.png"/><Relationship Id="rId16" Type="http://schemas.openxmlformats.org/officeDocument/2006/relationships/image" Target="../media/image102.png"/><Relationship Id="rId20" Type="http://schemas.openxmlformats.org/officeDocument/2006/relationships/image" Target="../media/image128.png"/><Relationship Id="rId1" Type="http://schemas.openxmlformats.org/officeDocument/2006/relationships/slideLayout" Target="../slideLayouts/slideLayout8.xml"/><Relationship Id="rId6" Type="http://schemas.openxmlformats.org/officeDocument/2006/relationships/image" Target="../media/image132.png"/><Relationship Id="rId11" Type="http://schemas.openxmlformats.org/officeDocument/2006/relationships/image" Target="../media/image95.png"/><Relationship Id="rId5" Type="http://schemas.openxmlformats.org/officeDocument/2006/relationships/image" Target="../media/image131.svg"/><Relationship Id="rId15" Type="http://schemas.openxmlformats.org/officeDocument/2006/relationships/image" Target="../media/image139.svg"/><Relationship Id="rId10" Type="http://schemas.openxmlformats.org/officeDocument/2006/relationships/image" Target="../media/image135.svg"/><Relationship Id="rId19" Type="http://schemas.openxmlformats.org/officeDocument/2006/relationships/image" Target="../media/image127.svg"/><Relationship Id="rId4" Type="http://schemas.openxmlformats.org/officeDocument/2006/relationships/image" Target="../media/image130.png"/><Relationship Id="rId9" Type="http://schemas.openxmlformats.org/officeDocument/2006/relationships/image" Target="../media/image134.png"/><Relationship Id="rId14" Type="http://schemas.openxmlformats.org/officeDocument/2006/relationships/image" Target="../media/image138.png"/></Relationships>
</file>

<file path=ppt/slides/_rels/slide32.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27.svg"/><Relationship Id="rId18" Type="http://schemas.openxmlformats.org/officeDocument/2006/relationships/image" Target="../media/image135.svg"/><Relationship Id="rId3" Type="http://schemas.microsoft.com/office/2007/relationships/hdphoto" Target="../media/hdphoto2.wdp"/><Relationship Id="rId21" Type="http://schemas.openxmlformats.org/officeDocument/2006/relationships/image" Target="../media/image139.svg"/><Relationship Id="rId7" Type="http://schemas.openxmlformats.org/officeDocument/2006/relationships/image" Target="../media/image133.svg"/><Relationship Id="rId12" Type="http://schemas.openxmlformats.org/officeDocument/2006/relationships/image" Target="../media/image126.png"/><Relationship Id="rId17" Type="http://schemas.openxmlformats.org/officeDocument/2006/relationships/image" Target="../media/image134.png"/><Relationship Id="rId2" Type="http://schemas.openxmlformats.org/officeDocument/2006/relationships/image" Target="../media/image101.png"/><Relationship Id="rId16" Type="http://schemas.openxmlformats.org/officeDocument/2006/relationships/chart" Target="../charts/chart17.xml"/><Relationship Id="rId20" Type="http://schemas.openxmlformats.org/officeDocument/2006/relationships/image" Target="../media/image138.png"/><Relationship Id="rId1" Type="http://schemas.openxmlformats.org/officeDocument/2006/relationships/slideLayout" Target="../slideLayouts/slideLayout8.xml"/><Relationship Id="rId6" Type="http://schemas.openxmlformats.org/officeDocument/2006/relationships/image" Target="../media/image132.png"/><Relationship Id="rId11" Type="http://schemas.openxmlformats.org/officeDocument/2006/relationships/image" Target="../media/image103.svg"/><Relationship Id="rId5" Type="http://schemas.openxmlformats.org/officeDocument/2006/relationships/image" Target="../media/image131.svg"/><Relationship Id="rId15" Type="http://schemas.openxmlformats.org/officeDocument/2006/relationships/image" Target="../media/image129.svg"/><Relationship Id="rId10" Type="http://schemas.openxmlformats.org/officeDocument/2006/relationships/image" Target="../media/image102.png"/><Relationship Id="rId19" Type="http://schemas.openxmlformats.org/officeDocument/2006/relationships/image" Target="../media/image95.png"/><Relationship Id="rId4" Type="http://schemas.openxmlformats.org/officeDocument/2006/relationships/image" Target="../media/image130.png"/><Relationship Id="rId9" Type="http://schemas.openxmlformats.org/officeDocument/2006/relationships/image" Target="../media/image137.svg"/><Relationship Id="rId14" Type="http://schemas.openxmlformats.org/officeDocument/2006/relationships/image" Target="../media/image12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39.png"/><Relationship Id="rId18" Type="http://schemas.openxmlformats.org/officeDocument/2006/relationships/image" Target="../media/image48.svg"/><Relationship Id="rId3" Type="http://schemas.openxmlformats.org/officeDocument/2006/relationships/image" Target="../media/image140.png"/><Relationship Id="rId21" Type="http://schemas.openxmlformats.org/officeDocument/2006/relationships/image" Target="../media/image143.png"/><Relationship Id="rId7" Type="http://schemas.openxmlformats.org/officeDocument/2006/relationships/image" Target="../media/image51.png"/><Relationship Id="rId12" Type="http://schemas.openxmlformats.org/officeDocument/2006/relationships/image" Target="../media/image38.svg"/><Relationship Id="rId17" Type="http://schemas.openxmlformats.org/officeDocument/2006/relationships/image" Target="../media/image41.png"/><Relationship Id="rId2" Type="http://schemas.openxmlformats.org/officeDocument/2006/relationships/notesSlide" Target="../notesSlides/notesSlide17.xml"/><Relationship Id="rId16" Type="http://schemas.openxmlformats.org/officeDocument/2006/relationships/image" Target="../media/image47.svg"/><Relationship Id="rId20" Type="http://schemas.openxmlformats.org/officeDocument/2006/relationships/image" Target="../media/image142.svg"/><Relationship Id="rId1" Type="http://schemas.openxmlformats.org/officeDocument/2006/relationships/slideLayout" Target="../slideLayouts/slideLayout3.xml"/><Relationship Id="rId6" Type="http://schemas.openxmlformats.org/officeDocument/2006/relationships/image" Target="../media/image50.svg"/><Relationship Id="rId11" Type="http://schemas.openxmlformats.org/officeDocument/2006/relationships/image" Target="../media/image37.png"/><Relationship Id="rId24" Type="http://schemas.openxmlformats.org/officeDocument/2006/relationships/image" Target="../media/image146.svg"/><Relationship Id="rId5" Type="http://schemas.openxmlformats.org/officeDocument/2006/relationships/image" Target="../media/image49.png"/><Relationship Id="rId15" Type="http://schemas.openxmlformats.org/officeDocument/2006/relationships/image" Target="../media/image46.png"/><Relationship Id="rId23" Type="http://schemas.openxmlformats.org/officeDocument/2006/relationships/image" Target="../media/image145.png"/><Relationship Id="rId10" Type="http://schemas.openxmlformats.org/officeDocument/2006/relationships/image" Target="../media/image36.svg"/><Relationship Id="rId19" Type="http://schemas.openxmlformats.org/officeDocument/2006/relationships/image" Target="../media/image141.png"/><Relationship Id="rId4" Type="http://schemas.openxmlformats.org/officeDocument/2006/relationships/image" Target="../media/image45.png"/><Relationship Id="rId9" Type="http://schemas.openxmlformats.org/officeDocument/2006/relationships/image" Target="../media/image35.png"/><Relationship Id="rId14" Type="http://schemas.openxmlformats.org/officeDocument/2006/relationships/image" Target="../media/image40.svg"/><Relationship Id="rId22" Type="http://schemas.openxmlformats.org/officeDocument/2006/relationships/image" Target="../media/image144.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1.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50.svg"/><Relationship Id="rId17" Type="http://schemas.openxmlformats.org/officeDocument/2006/relationships/image" Target="../media/image45.png"/><Relationship Id="rId2" Type="http://schemas.openxmlformats.org/officeDocument/2006/relationships/notesSlide" Target="../notesSlides/notesSlide18.xml"/><Relationship Id="rId16" Type="http://schemas.openxmlformats.org/officeDocument/2006/relationships/image" Target="../media/image150.png"/><Relationship Id="rId1" Type="http://schemas.openxmlformats.org/officeDocument/2006/relationships/slideLayout" Target="../slideLayouts/slideLayout3.xml"/><Relationship Id="rId6" Type="http://schemas.openxmlformats.org/officeDocument/2006/relationships/image" Target="../media/image148.svg"/><Relationship Id="rId11" Type="http://schemas.openxmlformats.org/officeDocument/2006/relationships/image" Target="../media/image49.png"/><Relationship Id="rId5" Type="http://schemas.openxmlformats.org/officeDocument/2006/relationships/image" Target="../media/image147.png"/><Relationship Id="rId15" Type="http://schemas.openxmlformats.org/officeDocument/2006/relationships/image" Target="../media/image149.png"/><Relationship Id="rId10" Type="http://schemas.openxmlformats.org/officeDocument/2006/relationships/image" Target="../media/image48.svg"/><Relationship Id="rId4" Type="http://schemas.openxmlformats.org/officeDocument/2006/relationships/image" Target="../media/image44.svg"/><Relationship Id="rId9" Type="http://schemas.openxmlformats.org/officeDocument/2006/relationships/image" Target="../media/image41.png"/><Relationship Id="rId14" Type="http://schemas.openxmlformats.org/officeDocument/2006/relationships/image" Target="../media/image52.sv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52.svg"/><Relationship Id="rId2" Type="http://schemas.openxmlformats.org/officeDocument/2006/relationships/image" Target="../media/image151.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54.svg"/><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slide" Target="slide42.xml"/><Relationship Id="rId1" Type="http://schemas.openxmlformats.org/officeDocument/2006/relationships/slideLayout" Target="../slideLayouts/slideLayout3.xml"/><Relationship Id="rId4" Type="http://schemas.openxmlformats.org/officeDocument/2006/relationships/slide" Target="slide48.xml"/></Relationships>
</file>

<file path=ppt/slides/_rels/slide4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slideLayout" Target="../slideLayouts/slideLayout3.xml"/><Relationship Id="rId7" Type="http://schemas.openxmlformats.org/officeDocument/2006/relationships/image" Target="../media/image155.jpeg"/><Relationship Id="rId12" Type="http://schemas.openxmlformats.org/officeDocument/2006/relationships/image" Target="../media/image159.sv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53.emf"/><Relationship Id="rId11" Type="http://schemas.openxmlformats.org/officeDocument/2006/relationships/image" Target="../media/image158.png"/><Relationship Id="rId5" Type="http://schemas.openxmlformats.org/officeDocument/2006/relationships/oleObject" Target="../embeddings/oleObject8.bin"/><Relationship Id="rId10" Type="http://schemas.openxmlformats.org/officeDocument/2006/relationships/slide" Target="slide41.xml"/><Relationship Id="rId4" Type="http://schemas.openxmlformats.org/officeDocument/2006/relationships/notesSlide" Target="../notesSlides/notesSlide19.xml"/><Relationship Id="rId9" Type="http://schemas.openxmlformats.org/officeDocument/2006/relationships/image" Target="../media/image157.png"/></Relationships>
</file>

<file path=ppt/slides/_rels/slide43.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slideLayout" Target="../slideLayouts/slideLayout3.xml"/><Relationship Id="rId7" Type="http://schemas.openxmlformats.org/officeDocument/2006/relationships/slide" Target="slide4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53.emf"/><Relationship Id="rId5" Type="http://schemas.openxmlformats.org/officeDocument/2006/relationships/oleObject" Target="../embeddings/oleObject9.bin"/><Relationship Id="rId4" Type="http://schemas.openxmlformats.org/officeDocument/2006/relationships/notesSlide" Target="../notesSlides/notesSlide20.xml"/><Relationship Id="rId9" Type="http://schemas.openxmlformats.org/officeDocument/2006/relationships/image" Target="../media/image159.svg"/></Relationships>
</file>

<file path=ppt/slides/_rels/slide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0.png"/><Relationship Id="rId1" Type="http://schemas.openxmlformats.org/officeDocument/2006/relationships/slideLayout" Target="../slideLayouts/slideLayout3.xml"/><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slide" Target="slide41.xml"/></Relationships>
</file>

<file path=ppt/slides/_rels/slide4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slide" Target="slide41.xml"/><Relationship Id="rId1" Type="http://schemas.openxmlformats.org/officeDocument/2006/relationships/slideLayout" Target="../slideLayouts/slideLayout3.xml"/><Relationship Id="rId4" Type="http://schemas.openxmlformats.org/officeDocument/2006/relationships/image" Target="../media/image159.svg"/></Relationships>
</file>

<file path=ppt/slides/_rels/slide46.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hyperlink" Target="https://help.marinetraffic.com/hc/en-us/articles/205579997-What-is-the-significance-of-the-AIS-Shiptype-number-" TargetMode="External"/><Relationship Id="rId1" Type="http://schemas.openxmlformats.org/officeDocument/2006/relationships/slideLayout" Target="../slideLayouts/slideLayout3.xml"/><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slide" Target="slide41.xml"/></Relationships>
</file>

<file path=ppt/slides/_rels/slide47.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image" Target="../media/image162.png"/><Relationship Id="rId1" Type="http://schemas.openxmlformats.org/officeDocument/2006/relationships/slideLayout" Target="../slideLayouts/slideLayout3.xml"/><Relationship Id="rId5" Type="http://schemas.openxmlformats.org/officeDocument/2006/relationships/image" Target="../media/image159.svg"/><Relationship Id="rId4" Type="http://schemas.openxmlformats.org/officeDocument/2006/relationships/image" Target="../media/image158.png"/></Relationships>
</file>

<file path=ppt/slides/_rels/slide4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slide" Target="slide41.xml"/><Relationship Id="rId1" Type="http://schemas.openxmlformats.org/officeDocument/2006/relationships/slideLayout" Target="../slideLayouts/slideLayout3.xml"/><Relationship Id="rId4" Type="http://schemas.openxmlformats.org/officeDocument/2006/relationships/image" Target="../media/image159.svg"/></Relationships>
</file>

<file path=ppt/slides/_rels/slide4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slide" Target="slide41.xml"/><Relationship Id="rId1" Type="http://schemas.openxmlformats.org/officeDocument/2006/relationships/slideLayout" Target="../slideLayouts/slideLayout3.xml"/><Relationship Id="rId4" Type="http://schemas.openxmlformats.org/officeDocument/2006/relationships/image" Target="../media/image159.sv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3" Type="http://schemas.openxmlformats.org/officeDocument/2006/relationships/image" Target="../media/image12.jpeg"/><Relationship Id="rId21" Type="http://schemas.openxmlformats.org/officeDocument/2006/relationships/image" Target="../media/image30.svg"/><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svg"/><Relationship Id="rId25" Type="http://schemas.openxmlformats.org/officeDocument/2006/relationships/image" Target="../media/image34.svg"/><Relationship Id="rId2" Type="http://schemas.openxmlformats.org/officeDocument/2006/relationships/notesSlide" Target="../notesSlides/notesSlide2.xml"/><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svg"/><Relationship Id="rId24" Type="http://schemas.openxmlformats.org/officeDocument/2006/relationships/image" Target="../media/image33.png"/><Relationship Id="rId5" Type="http://schemas.openxmlformats.org/officeDocument/2006/relationships/image" Target="../media/image14.svg"/><Relationship Id="rId15" Type="http://schemas.openxmlformats.org/officeDocument/2006/relationships/image" Target="../media/image24.svg"/><Relationship Id="rId23" Type="http://schemas.openxmlformats.org/officeDocument/2006/relationships/image" Target="../media/image32.svg"/><Relationship Id="rId10" Type="http://schemas.openxmlformats.org/officeDocument/2006/relationships/image" Target="../media/image19.png"/><Relationship Id="rId19" Type="http://schemas.openxmlformats.org/officeDocument/2006/relationships/image" Target="../media/image28.svg"/><Relationship Id="rId4" Type="http://schemas.openxmlformats.org/officeDocument/2006/relationships/image" Target="../media/image13.png"/><Relationship Id="rId9" Type="http://schemas.openxmlformats.org/officeDocument/2006/relationships/image" Target="../media/image18.svg"/><Relationship Id="rId14" Type="http://schemas.openxmlformats.org/officeDocument/2006/relationships/image" Target="../media/image23.png"/><Relationship Id="rId22" Type="http://schemas.openxmlformats.org/officeDocument/2006/relationships/image" Target="../media/image31.png"/></Relationships>
</file>

<file path=ppt/slides/_rels/slide5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63.png"/><Relationship Id="rId1" Type="http://schemas.openxmlformats.org/officeDocument/2006/relationships/slideLayout" Target="../slideLayouts/slideLayout3.xml"/><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slide" Target="slide41.xml"/></Relationships>
</file>

<file path=ppt/slides/_rels/slide51.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59.svg"/><Relationship Id="rId2" Type="http://schemas.openxmlformats.org/officeDocument/2006/relationships/image" Target="../media/image164.png"/><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slide" Target="slide41.xml"/><Relationship Id="rId4" Type="http://schemas.openxmlformats.org/officeDocument/2006/relationships/image" Target="../media/image165.png"/></Relationships>
</file>

<file path=ppt/slides/_rels/slide6.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11.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8.svg"/><Relationship Id="rId3" Type="http://schemas.openxmlformats.org/officeDocument/2006/relationships/image" Target="../media/image45.png"/><Relationship Id="rId7" Type="http://schemas.openxmlformats.org/officeDocument/2006/relationships/image" Target="../media/image38.svg"/><Relationship Id="rId12" Type="http://schemas.openxmlformats.org/officeDocument/2006/relationships/image" Target="../media/image41.png"/><Relationship Id="rId17" Type="http://schemas.openxmlformats.org/officeDocument/2006/relationships/image" Target="../media/image52.svg"/><Relationship Id="rId2" Type="http://schemas.openxmlformats.org/officeDocument/2006/relationships/notesSlide" Target="../notesSlides/notesSlide4.xml"/><Relationship Id="rId16" Type="http://schemas.openxmlformats.org/officeDocument/2006/relationships/image" Target="../media/image51.png"/><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47.svg"/><Relationship Id="rId5" Type="http://schemas.openxmlformats.org/officeDocument/2006/relationships/image" Target="../media/image36.svg"/><Relationship Id="rId15" Type="http://schemas.openxmlformats.org/officeDocument/2006/relationships/image" Target="../media/image50.svg"/><Relationship Id="rId10" Type="http://schemas.openxmlformats.org/officeDocument/2006/relationships/image" Target="../media/image46.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slideLayout" Target="../slideLayouts/slideLayout3.xml"/><Relationship Id="rId7" Type="http://schemas.openxmlformats.org/officeDocument/2006/relationships/image" Target="../media/image54.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53.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14" descr="Ein Bild, das Wasser, draußen, Boot, Fluss enthält.&#10;&#10;Automatisch generierte Beschreibung">
            <a:extLst>
              <a:ext uri="{FF2B5EF4-FFF2-40B4-BE49-F238E27FC236}">
                <a16:creationId xmlns:a16="http://schemas.microsoft.com/office/drawing/2014/main" id="{A5071CDB-FB81-4CC5-BC39-A26113382604}"/>
              </a:ext>
            </a:extLst>
          </p:cNvPr>
          <p:cNvPicPr>
            <a:picLocks noGrp="1" noChangeAspect="1"/>
          </p:cNvPicPr>
          <p:nvPr>
            <p:ph type="pic" sz="quarter" idx="18"/>
          </p:nvPr>
        </p:nvPicPr>
        <p:blipFill>
          <a:blip r:embed="rId5">
            <a:extLst>
              <a:ext uri="{BEBA8EAE-BF5A-486C-A8C5-ECC9F3942E4B}">
                <a14:imgProps xmlns:a14="http://schemas.microsoft.com/office/drawing/2010/main">
                  <a14:imgLayer r:embed="rId6">
                    <a14:imgEffect>
                      <a14:colorTemperature colorTemp="5300"/>
                    </a14:imgEffect>
                  </a14:imgLayer>
                </a14:imgProps>
              </a:ext>
              <a:ext uri="{28A0092B-C50C-407E-A947-70E740481C1C}">
                <a14:useLocalDpi xmlns:a14="http://schemas.microsoft.com/office/drawing/2010/main" val="0"/>
              </a:ext>
            </a:extLst>
          </a:blip>
          <a:srcRect t="6" b="6"/>
          <a:stretch>
            <a:fillRect/>
          </a:stretch>
        </p:blipFill>
        <p:spPr/>
      </p:pic>
      <p:graphicFrame>
        <p:nvGraphicFramePr>
          <p:cNvPr id="6" name="Objekt 5" hidden="1">
            <a:extLst>
              <a:ext uri="{FF2B5EF4-FFF2-40B4-BE49-F238E27FC236}">
                <a16:creationId xmlns:a16="http://schemas.microsoft.com/office/drawing/2014/main" id="{46F8926A-529B-1B4E-9A1B-80F9144F0A0B}"/>
              </a:ext>
            </a:extLst>
          </p:cNvPr>
          <p:cNvGraphicFramePr>
            <a:graphicFrameLocks noChangeAspect="1"/>
          </p:cNvGraphicFramePr>
          <p:nvPr>
            <p:custDataLst>
              <p:tags r:id="rId2"/>
            </p:custDataLst>
            <p:extLst>
              <p:ext uri="{D42A27DB-BD31-4B8C-83A1-F6EECF244321}">
                <p14:modId xmlns:p14="http://schemas.microsoft.com/office/powerpoint/2010/main" val="3628296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0" name="think-cell Folie" r:id="rId7" imgW="7772400" imgH="10058400" progId="TCLayout.ActiveDocument.1">
                  <p:embed/>
                </p:oleObj>
              </mc:Choice>
              <mc:Fallback>
                <p:oleObj name="think-cell Folie" r:id="rId7" imgW="7772400" imgH="10058400" progId="TCLayout.ActiveDocument.1">
                  <p:embed/>
                  <p:pic>
                    <p:nvPicPr>
                      <p:cNvPr id="6" name="Objekt 5" hidden="1">
                        <a:extLst>
                          <a:ext uri="{FF2B5EF4-FFF2-40B4-BE49-F238E27FC236}">
                            <a16:creationId xmlns:a16="http://schemas.microsoft.com/office/drawing/2014/main" id="{46F8926A-529B-1B4E-9A1B-80F9144F0A0B}"/>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7" name="Freihandform: Form 36">
            <a:extLst>
              <a:ext uri="{FF2B5EF4-FFF2-40B4-BE49-F238E27FC236}">
                <a16:creationId xmlns:a16="http://schemas.microsoft.com/office/drawing/2014/main" id="{0CDFB961-7259-476F-B234-9B2148294D99}"/>
              </a:ext>
            </a:extLst>
          </p:cNvPr>
          <p:cNvSpPr/>
          <p:nvPr/>
        </p:nvSpPr>
        <p:spPr>
          <a:xfrm rot="657608">
            <a:off x="66656" y="1847687"/>
            <a:ext cx="3703430" cy="2235918"/>
          </a:xfrm>
          <a:custGeom>
            <a:avLst/>
            <a:gdLst>
              <a:gd name="connsiteX0" fmla="*/ 0 w 3703430"/>
              <a:gd name="connsiteY0" fmla="*/ 717200 h 2235918"/>
              <a:gd name="connsiteX1" fmla="*/ 3703430 w 3703430"/>
              <a:gd name="connsiteY1" fmla="*/ 0 h 2235918"/>
              <a:gd name="connsiteX2" fmla="*/ 3703429 w 3703430"/>
              <a:gd name="connsiteY2" fmla="*/ 1575675 h 2235918"/>
              <a:gd name="connsiteX3" fmla="*/ 294113 w 3703430"/>
              <a:gd name="connsiteY3" fmla="*/ 2235918 h 2235918"/>
              <a:gd name="connsiteX4" fmla="*/ 0 w 3703430"/>
              <a:gd name="connsiteY4" fmla="*/ 717200 h 223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3430" h="2235918">
                <a:moveTo>
                  <a:pt x="0" y="717200"/>
                </a:moveTo>
                <a:lnTo>
                  <a:pt x="3703430" y="0"/>
                </a:lnTo>
                <a:lnTo>
                  <a:pt x="3703429" y="1575675"/>
                </a:lnTo>
                <a:lnTo>
                  <a:pt x="294113" y="2235918"/>
                </a:lnTo>
                <a:lnTo>
                  <a:pt x="0" y="717200"/>
                </a:lnTo>
                <a:close/>
              </a:path>
            </a:pathLst>
          </a:custGeom>
          <a:solidFill>
            <a:schemeClr val="accent3">
              <a:lumMod val="7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noAutofit/>
          </a:bodyPr>
          <a:lstStyle/>
          <a:p>
            <a:pPr algn="ctr"/>
            <a:endParaRPr lang="en-US" sz="1400">
              <a:solidFill>
                <a:schemeClr val="bg1"/>
              </a:solidFill>
            </a:endParaRPr>
          </a:p>
        </p:txBody>
      </p:sp>
      <p:sp>
        <p:nvSpPr>
          <p:cNvPr id="2" name="Textplatzhalter 1">
            <a:extLst>
              <a:ext uri="{FF2B5EF4-FFF2-40B4-BE49-F238E27FC236}">
                <a16:creationId xmlns:a16="http://schemas.microsoft.com/office/drawing/2014/main" id="{25F49094-FA43-DA4A-98D4-F45335FBF0C6}"/>
              </a:ext>
            </a:extLst>
          </p:cNvPr>
          <p:cNvSpPr>
            <a:spLocks noGrp="1"/>
          </p:cNvSpPr>
          <p:nvPr>
            <p:ph type="body" sz="quarter" idx="10"/>
          </p:nvPr>
        </p:nvSpPr>
        <p:spPr/>
        <p:txBody>
          <a:bodyPr/>
          <a:lstStyle/>
          <a:p>
            <a:r>
              <a:rPr lang="de-DE" sz="1600">
                <a:solidFill>
                  <a:srgbClr val="2E6862"/>
                </a:solidFill>
              </a:rPr>
              <a:t>Case Study SCA </a:t>
            </a:r>
            <a:r>
              <a:rPr lang="de-DE" sz="1600" err="1">
                <a:solidFill>
                  <a:srgbClr val="2E6862"/>
                </a:solidFill>
              </a:rPr>
              <a:t>SoSe</a:t>
            </a:r>
            <a:r>
              <a:rPr lang="de-DE" sz="1600">
                <a:solidFill>
                  <a:srgbClr val="2E6862"/>
                </a:solidFill>
              </a:rPr>
              <a:t> 2021</a:t>
            </a:r>
            <a:endParaRPr lang="en-US" sz="1600">
              <a:solidFill>
                <a:srgbClr val="2E6862"/>
              </a:solidFill>
            </a:endParaRPr>
          </a:p>
        </p:txBody>
      </p:sp>
      <p:sp>
        <p:nvSpPr>
          <p:cNvPr id="3" name="headline2">
            <a:extLst>
              <a:ext uri="{FF2B5EF4-FFF2-40B4-BE49-F238E27FC236}">
                <a16:creationId xmlns:a16="http://schemas.microsoft.com/office/drawing/2014/main" id="{31C2EFB6-0FDD-554F-95BC-E778504D29FC}"/>
              </a:ext>
            </a:extLst>
          </p:cNvPr>
          <p:cNvSpPr>
            <a:spLocks noGrp="1"/>
          </p:cNvSpPr>
          <p:nvPr>
            <p:ph type="body" sz="quarter" idx="13"/>
          </p:nvPr>
        </p:nvSpPr>
        <p:spPr/>
        <p:txBody>
          <a:bodyPr/>
          <a:lstStyle/>
          <a:p>
            <a:r>
              <a:rPr lang="de-DE" sz="2800" b="1"/>
              <a:t>ETA-Prognosen für Binnenschiffe</a:t>
            </a:r>
            <a:endParaRPr lang="en-US" sz="2800" b="1"/>
          </a:p>
        </p:txBody>
      </p:sp>
      <p:sp>
        <p:nvSpPr>
          <p:cNvPr id="5" name="Textplatzhalter 4">
            <a:extLst>
              <a:ext uri="{FF2B5EF4-FFF2-40B4-BE49-F238E27FC236}">
                <a16:creationId xmlns:a16="http://schemas.microsoft.com/office/drawing/2014/main" id="{996A3A4C-06C6-A44A-8BFC-AB2EBAAC9352}"/>
              </a:ext>
            </a:extLst>
          </p:cNvPr>
          <p:cNvSpPr>
            <a:spLocks noGrp="1"/>
          </p:cNvSpPr>
          <p:nvPr>
            <p:ph type="body" sz="quarter" idx="14"/>
          </p:nvPr>
        </p:nvSpPr>
        <p:spPr>
          <a:xfrm>
            <a:off x="369393" y="2307721"/>
            <a:ext cx="3240000" cy="216000"/>
          </a:xfrm>
        </p:spPr>
        <p:txBody>
          <a:bodyPr>
            <a:noAutofit/>
          </a:bodyPr>
          <a:lstStyle/>
          <a:p>
            <a:r>
              <a:rPr lang="en-US" sz="1800">
                <a:solidFill>
                  <a:schemeClr val="bg1"/>
                </a:solidFill>
              </a:rPr>
              <a:t>Ronny Georgi</a:t>
            </a:r>
          </a:p>
          <a:p>
            <a:r>
              <a:rPr lang="en-US" sz="1800">
                <a:solidFill>
                  <a:schemeClr val="bg1"/>
                </a:solidFill>
              </a:rPr>
              <a:t>Klara Hinze</a:t>
            </a:r>
          </a:p>
          <a:p>
            <a:r>
              <a:rPr lang="en-US" sz="1800">
                <a:solidFill>
                  <a:schemeClr val="bg1"/>
                </a:solidFill>
              </a:rPr>
              <a:t>Nicola </a:t>
            </a:r>
            <a:r>
              <a:rPr lang="en-US" sz="1800" err="1">
                <a:solidFill>
                  <a:schemeClr val="bg1"/>
                </a:solidFill>
              </a:rPr>
              <a:t>Leschke</a:t>
            </a:r>
            <a:endParaRPr lang="en-US" sz="1800">
              <a:solidFill>
                <a:schemeClr val="bg1"/>
              </a:solidFill>
            </a:endParaRPr>
          </a:p>
          <a:p>
            <a:r>
              <a:rPr lang="en-US" sz="1800">
                <a:solidFill>
                  <a:schemeClr val="bg1"/>
                </a:solidFill>
              </a:rPr>
              <a:t>Carlo Schmid</a:t>
            </a:r>
          </a:p>
        </p:txBody>
      </p:sp>
      <p:pic>
        <p:nvPicPr>
          <p:cNvPr id="19" name="Grafik 18">
            <a:extLst>
              <a:ext uri="{FF2B5EF4-FFF2-40B4-BE49-F238E27FC236}">
                <a16:creationId xmlns:a16="http://schemas.microsoft.com/office/drawing/2014/main" id="{E697F80E-1315-452F-BED1-8CDD1080CF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338519" y="6226553"/>
            <a:ext cx="660712" cy="491238"/>
          </a:xfrm>
          <a:prstGeom prst="rect">
            <a:avLst/>
          </a:prstGeom>
        </p:spPr>
      </p:pic>
    </p:spTree>
    <p:extLst>
      <p:ext uri="{BB962C8B-B14F-4D97-AF65-F5344CB8AC3E}">
        <p14:creationId xmlns:p14="http://schemas.microsoft.com/office/powerpoint/2010/main" val="3719017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val 7">
            <a:extLst>
              <a:ext uri="{FF2B5EF4-FFF2-40B4-BE49-F238E27FC236}">
                <a16:creationId xmlns:a16="http://schemas.microsoft.com/office/drawing/2014/main" id="{DAB5B6EF-9A65-4DEA-BDAE-24E70A6455D9}"/>
              </a:ext>
            </a:extLst>
          </p:cNvPr>
          <p:cNvSpPr/>
          <p:nvPr/>
        </p:nvSpPr>
        <p:spPr>
          <a:xfrm>
            <a:off x="7665104" y="1469395"/>
            <a:ext cx="1952603" cy="1792677"/>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sp>
        <p:nvSpPr>
          <p:cNvPr id="44" name="Oval 7">
            <a:extLst>
              <a:ext uri="{FF2B5EF4-FFF2-40B4-BE49-F238E27FC236}">
                <a16:creationId xmlns:a16="http://schemas.microsoft.com/office/drawing/2014/main" id="{1DD1B916-5888-4970-9CE1-DF48CF1B1EAC}"/>
              </a:ext>
            </a:extLst>
          </p:cNvPr>
          <p:cNvSpPr/>
          <p:nvPr/>
        </p:nvSpPr>
        <p:spPr>
          <a:xfrm>
            <a:off x="9700897" y="1469395"/>
            <a:ext cx="1952603" cy="1792677"/>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sp>
        <p:nvSpPr>
          <p:cNvPr id="46" name="Oval 7">
            <a:extLst>
              <a:ext uri="{FF2B5EF4-FFF2-40B4-BE49-F238E27FC236}">
                <a16:creationId xmlns:a16="http://schemas.microsoft.com/office/drawing/2014/main" id="{89089510-4E52-46D8-B746-95A2E89F2A7C}"/>
              </a:ext>
            </a:extLst>
          </p:cNvPr>
          <p:cNvSpPr/>
          <p:nvPr/>
        </p:nvSpPr>
        <p:spPr>
          <a:xfrm>
            <a:off x="7665104" y="3315429"/>
            <a:ext cx="1952603" cy="2558237"/>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sp>
        <p:nvSpPr>
          <p:cNvPr id="47" name="Oval 7">
            <a:extLst>
              <a:ext uri="{FF2B5EF4-FFF2-40B4-BE49-F238E27FC236}">
                <a16:creationId xmlns:a16="http://schemas.microsoft.com/office/drawing/2014/main" id="{342D894D-D866-4A5D-A6F6-12FC8831DFE1}"/>
              </a:ext>
            </a:extLst>
          </p:cNvPr>
          <p:cNvSpPr/>
          <p:nvPr/>
        </p:nvSpPr>
        <p:spPr>
          <a:xfrm>
            <a:off x="9700897" y="3315429"/>
            <a:ext cx="1952603" cy="2515892"/>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sp>
        <p:nvSpPr>
          <p:cNvPr id="4" name="Fußzeilenplatzhalter 3">
            <a:extLst>
              <a:ext uri="{FF2B5EF4-FFF2-40B4-BE49-F238E27FC236}">
                <a16:creationId xmlns:a16="http://schemas.microsoft.com/office/drawing/2014/main" id="{9FFA1074-5B9E-4080-850D-0707BC100590}"/>
              </a:ext>
            </a:extLst>
          </p:cNvPr>
          <p:cNvSpPr>
            <a:spLocks noGrp="1"/>
          </p:cNvSpPr>
          <p:nvPr>
            <p:ph type="ftr" sz="quarter" idx="11"/>
          </p:nvPr>
        </p:nvSpPr>
        <p:spPr/>
        <p:txBody>
          <a:bodyPr/>
          <a:lstStyle/>
          <a:p>
            <a:pPr>
              <a:spcBef>
                <a:spcPct val="20000"/>
              </a:spcBef>
            </a:pPr>
            <a:r>
              <a:rPr lang="de-DE"/>
              <a:t>SCA Case Study – 28.07.2021</a:t>
            </a:r>
          </a:p>
        </p:txBody>
      </p:sp>
      <p:sp>
        <p:nvSpPr>
          <p:cNvPr id="39" name="Titel 1">
            <a:extLst>
              <a:ext uri="{FF2B5EF4-FFF2-40B4-BE49-F238E27FC236}">
                <a16:creationId xmlns:a16="http://schemas.microsoft.com/office/drawing/2014/main" id="{C221C785-4474-4A5B-9E59-9A62999DA099}"/>
              </a:ext>
            </a:extLst>
          </p:cNvPr>
          <p:cNvSpPr>
            <a:spLocks noGrp="1"/>
          </p:cNvSpPr>
          <p:nvPr>
            <p:ph type="title"/>
          </p:nvPr>
        </p:nvSpPr>
        <p:spPr>
          <a:xfrm>
            <a:off x="534000" y="332656"/>
            <a:ext cx="11124000" cy="360040"/>
          </a:xfrm>
        </p:spPr>
        <p:txBody>
          <a:bodyPr/>
          <a:lstStyle/>
          <a:p>
            <a:r>
              <a:rPr lang="de-DE"/>
              <a:t>Datenaufbereitung</a:t>
            </a:r>
          </a:p>
        </p:txBody>
      </p:sp>
      <p:sp>
        <p:nvSpPr>
          <p:cNvPr id="8" name="Auf der gleichen Seite des Rechtecks liegende Ecken abrunden 137">
            <a:extLst>
              <a:ext uri="{FF2B5EF4-FFF2-40B4-BE49-F238E27FC236}">
                <a16:creationId xmlns:a16="http://schemas.microsoft.com/office/drawing/2014/main" id="{573FEBF2-0AA9-4099-A1CA-390A089B8999}"/>
              </a:ext>
            </a:extLst>
          </p:cNvPr>
          <p:cNvSpPr/>
          <p:nvPr/>
        </p:nvSpPr>
        <p:spPr>
          <a:xfrm flipH="1">
            <a:off x="475862" y="1026679"/>
            <a:ext cx="11182136" cy="324000"/>
          </a:xfrm>
          <a:prstGeom prst="round2SameRect">
            <a:avLst>
              <a:gd name="adj1" fmla="val 26752"/>
              <a:gd name="adj2" fmla="val 0"/>
            </a:avLst>
          </a:prstGeom>
          <a:solidFill>
            <a:schemeClr val="bg1">
              <a:lumMod val="50000"/>
            </a:schemeClr>
          </a:solidFill>
          <a:ln w="6350" cap="rnd">
            <a:noFill/>
          </a:ln>
          <a:effectLst/>
        </p:spPr>
        <p:style>
          <a:lnRef idx="1">
            <a:schemeClr val="accent1"/>
          </a:lnRef>
          <a:fillRef idx="3">
            <a:schemeClr val="accent1"/>
          </a:fillRef>
          <a:effectRef idx="2">
            <a:schemeClr val="accent1"/>
          </a:effectRef>
          <a:fontRef idx="minor">
            <a:schemeClr val="lt1"/>
          </a:fontRef>
        </p:style>
        <p:txBody>
          <a:bodyPr wrap="square" lIns="72000" tIns="12700" rIns="50800" bIns="36286" rtlCol="0" anchor="ctr" anchorCtr="0"/>
          <a:lstStyle/>
          <a:p>
            <a:pPr marL="539750" indent="-539750"/>
            <a:r>
              <a:rPr lang="en-US" sz="1400">
                <a:solidFill>
                  <a:schemeClr val="bg1"/>
                </a:solidFill>
              </a:rPr>
              <a:t>       Key Takeaways</a:t>
            </a:r>
          </a:p>
        </p:txBody>
      </p:sp>
      <p:pic>
        <p:nvPicPr>
          <p:cNvPr id="9" name="Grafik 8" descr="Glühlampe mit einfarbiger Füllung">
            <a:extLst>
              <a:ext uri="{FF2B5EF4-FFF2-40B4-BE49-F238E27FC236}">
                <a16:creationId xmlns:a16="http://schemas.microsoft.com/office/drawing/2014/main" id="{6AA72C3D-DC89-4A61-AFD5-C86055C62A6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6044" y="1080589"/>
            <a:ext cx="232199" cy="232199"/>
          </a:xfrm>
          <a:prstGeom prst="rect">
            <a:avLst/>
          </a:prstGeom>
        </p:spPr>
      </p:pic>
      <p:grpSp>
        <p:nvGrpSpPr>
          <p:cNvPr id="10" name="Gruppieren 9">
            <a:extLst>
              <a:ext uri="{FF2B5EF4-FFF2-40B4-BE49-F238E27FC236}">
                <a16:creationId xmlns:a16="http://schemas.microsoft.com/office/drawing/2014/main" id="{BE45BCA2-5461-4F93-BA21-12E5DD0E22DC}"/>
              </a:ext>
            </a:extLst>
          </p:cNvPr>
          <p:cNvGrpSpPr/>
          <p:nvPr/>
        </p:nvGrpSpPr>
        <p:grpSpPr>
          <a:xfrm>
            <a:off x="8315533" y="1532282"/>
            <a:ext cx="648000" cy="648000"/>
            <a:chOff x="1307925" y="1217969"/>
            <a:chExt cx="1584000" cy="1584000"/>
          </a:xfrm>
        </p:grpSpPr>
        <p:sp>
          <p:nvSpPr>
            <p:cNvPr id="11" name="Ellipse 10">
              <a:extLst>
                <a:ext uri="{FF2B5EF4-FFF2-40B4-BE49-F238E27FC236}">
                  <a16:creationId xmlns:a16="http://schemas.microsoft.com/office/drawing/2014/main" id="{669C9FCB-ACCB-45F1-9DE5-B65CA33EB1C2}"/>
                </a:ext>
              </a:extLst>
            </p:cNvPr>
            <p:cNvSpPr/>
            <p:nvPr/>
          </p:nvSpPr>
          <p:spPr>
            <a:xfrm>
              <a:off x="1307925" y="1217969"/>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2" name="Grafik 11" descr="Welle mit einfarbiger Füllung">
              <a:extLst>
                <a:ext uri="{FF2B5EF4-FFF2-40B4-BE49-F238E27FC236}">
                  <a16:creationId xmlns:a16="http://schemas.microsoft.com/office/drawing/2014/main" id="{80797868-251E-467E-A6ED-AB8750381C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83703" y="1453379"/>
              <a:ext cx="1023294" cy="1023294"/>
            </a:xfrm>
            <a:prstGeom prst="rect">
              <a:avLst/>
            </a:prstGeom>
          </p:spPr>
        </p:pic>
      </p:grpSp>
      <p:sp>
        <p:nvSpPr>
          <p:cNvPr id="13" name="Textfeld 12">
            <a:extLst>
              <a:ext uri="{FF2B5EF4-FFF2-40B4-BE49-F238E27FC236}">
                <a16:creationId xmlns:a16="http://schemas.microsoft.com/office/drawing/2014/main" id="{D43067D7-B40D-448A-ADCE-BE5B179DE00D}"/>
              </a:ext>
            </a:extLst>
          </p:cNvPr>
          <p:cNvSpPr txBox="1"/>
          <p:nvPr/>
        </p:nvSpPr>
        <p:spPr bwMode="auto">
          <a:xfrm>
            <a:off x="7805507" y="2171449"/>
            <a:ext cx="1501857" cy="954107"/>
          </a:xfrm>
          <a:prstGeom prst="rect">
            <a:avLst/>
          </a:prstGeom>
          <a:noFill/>
          <a:ln w="6350">
            <a:noFill/>
            <a:prstDash val="solid"/>
            <a:miter lim="800000"/>
            <a:headEnd/>
            <a:tailEnd/>
          </a:ln>
        </p:spPr>
        <p:txBody>
          <a:bodyPr wrap="square">
            <a:spAutoFit/>
          </a:bodyPr>
          <a:lstStyle/>
          <a:p>
            <a:pPr marL="0" lvl="1">
              <a:lnSpc>
                <a:spcPct val="100000"/>
              </a:lnSpc>
            </a:pPr>
            <a:r>
              <a:rPr lang="en-US" sz="1400" err="1">
                <a:solidFill>
                  <a:srgbClr val="000000"/>
                </a:solidFill>
                <a:latin typeface="Helvetica Light"/>
                <a:cs typeface="Helvetica Light"/>
              </a:rPr>
              <a:t>Messstation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messen</a:t>
            </a:r>
            <a:r>
              <a:rPr lang="en-US" sz="1400">
                <a:solidFill>
                  <a:srgbClr val="000000"/>
                </a:solidFill>
                <a:latin typeface="Helvetica Light"/>
                <a:cs typeface="Helvetica Light"/>
              </a:rPr>
              <a:t> max. </a:t>
            </a:r>
            <a:r>
              <a:rPr lang="en-US" sz="1400" err="1">
                <a:solidFill>
                  <a:srgbClr val="000000"/>
                </a:solidFill>
                <a:latin typeface="Helvetica Light"/>
                <a:cs typeface="Helvetica Light"/>
              </a:rPr>
              <a:t>zwei</a:t>
            </a:r>
            <a:r>
              <a:rPr lang="en-US" sz="1400">
                <a:solidFill>
                  <a:srgbClr val="000000"/>
                </a:solidFill>
                <a:latin typeface="Helvetica Light"/>
                <a:cs typeface="Helvetica Light"/>
              </a:rPr>
              <a:t> Mal am Tag</a:t>
            </a:r>
          </a:p>
          <a:p>
            <a:pPr marL="0" lvl="1">
              <a:lnSpc>
                <a:spcPct val="100000"/>
              </a:lnSpc>
            </a:pPr>
            <a:r>
              <a:rPr lang="en-US" sz="1400" err="1">
                <a:solidFill>
                  <a:srgbClr val="000000"/>
                </a:solidFill>
                <a:latin typeface="Helvetica Light"/>
                <a:cs typeface="Helvetica Light"/>
              </a:rPr>
              <a:t>Wasserstand</a:t>
            </a:r>
            <a:endParaRPr lang="en-US" sz="1400">
              <a:solidFill>
                <a:srgbClr val="000000"/>
              </a:solidFill>
              <a:latin typeface="Helvetica Light"/>
              <a:cs typeface="Helvetica Light"/>
            </a:endParaRPr>
          </a:p>
        </p:txBody>
      </p:sp>
      <p:grpSp>
        <p:nvGrpSpPr>
          <p:cNvPr id="14" name="Gruppieren 13">
            <a:extLst>
              <a:ext uri="{FF2B5EF4-FFF2-40B4-BE49-F238E27FC236}">
                <a16:creationId xmlns:a16="http://schemas.microsoft.com/office/drawing/2014/main" id="{B7D5D7AF-43A6-462F-815D-2114CCB9DF64}"/>
              </a:ext>
            </a:extLst>
          </p:cNvPr>
          <p:cNvGrpSpPr/>
          <p:nvPr/>
        </p:nvGrpSpPr>
        <p:grpSpPr>
          <a:xfrm>
            <a:off x="10353198" y="1532282"/>
            <a:ext cx="648000" cy="648000"/>
            <a:chOff x="2228897" y="4695218"/>
            <a:chExt cx="1584000" cy="1584000"/>
          </a:xfrm>
        </p:grpSpPr>
        <p:sp>
          <p:nvSpPr>
            <p:cNvPr id="15" name="Ellipse 14">
              <a:extLst>
                <a:ext uri="{FF2B5EF4-FFF2-40B4-BE49-F238E27FC236}">
                  <a16:creationId xmlns:a16="http://schemas.microsoft.com/office/drawing/2014/main" id="{53F42986-1D46-4177-9A82-5FEFEA6BDE8D}"/>
                </a:ext>
              </a:extLst>
            </p:cNvPr>
            <p:cNvSpPr/>
            <p:nvPr/>
          </p:nvSpPr>
          <p:spPr>
            <a:xfrm>
              <a:off x="2228897" y="4695218"/>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6" name="Grafik 15" descr="Wasserkraft mit einfarbiger Füllung">
              <a:extLst>
                <a:ext uri="{FF2B5EF4-FFF2-40B4-BE49-F238E27FC236}">
                  <a16:creationId xmlns:a16="http://schemas.microsoft.com/office/drawing/2014/main" id="{C2B36268-F0A0-4261-A7A2-234F74575D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29967" y="5096288"/>
              <a:ext cx="781860" cy="781860"/>
            </a:xfrm>
            <a:prstGeom prst="rect">
              <a:avLst/>
            </a:prstGeom>
          </p:spPr>
        </p:pic>
      </p:grpSp>
      <p:sp>
        <p:nvSpPr>
          <p:cNvPr id="17" name="Textfeld 16">
            <a:extLst>
              <a:ext uri="{FF2B5EF4-FFF2-40B4-BE49-F238E27FC236}">
                <a16:creationId xmlns:a16="http://schemas.microsoft.com/office/drawing/2014/main" id="{E2E53833-0BA3-4434-A19C-F0700CEB89C1}"/>
              </a:ext>
            </a:extLst>
          </p:cNvPr>
          <p:cNvSpPr txBox="1"/>
          <p:nvPr/>
        </p:nvSpPr>
        <p:spPr bwMode="auto">
          <a:xfrm>
            <a:off x="9782450" y="2171449"/>
            <a:ext cx="1465047" cy="738664"/>
          </a:xfrm>
          <a:prstGeom prst="rect">
            <a:avLst/>
          </a:prstGeom>
          <a:noFill/>
          <a:ln w="6350">
            <a:noFill/>
            <a:prstDash val="solid"/>
            <a:miter lim="800000"/>
            <a:headEnd/>
            <a:tailEnd/>
          </a:ln>
        </p:spPr>
        <p:txBody>
          <a:bodyPr wrap="square">
            <a:spAutoFit/>
          </a:bodyPr>
          <a:lstStyle/>
          <a:p>
            <a:pPr marL="0" lvl="1">
              <a:lnSpc>
                <a:spcPct val="100000"/>
              </a:lnSpc>
            </a:pPr>
            <a:r>
              <a:rPr lang="en-US" sz="1400" err="1">
                <a:solidFill>
                  <a:srgbClr val="000000"/>
                </a:solidFill>
                <a:latin typeface="Helvetica Light"/>
                <a:cs typeface="Helvetica Light"/>
              </a:rPr>
              <a:t>Zwei</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Schleus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müss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passiert</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werden</a:t>
            </a:r>
            <a:endParaRPr lang="en-US" sz="1400">
              <a:solidFill>
                <a:srgbClr val="000000"/>
              </a:solidFill>
              <a:latin typeface="Helvetica Light"/>
              <a:cs typeface="Helvetica Light"/>
            </a:endParaRPr>
          </a:p>
        </p:txBody>
      </p:sp>
      <p:grpSp>
        <p:nvGrpSpPr>
          <p:cNvPr id="18" name="Gruppieren 17">
            <a:extLst>
              <a:ext uri="{FF2B5EF4-FFF2-40B4-BE49-F238E27FC236}">
                <a16:creationId xmlns:a16="http://schemas.microsoft.com/office/drawing/2014/main" id="{5E498620-50E8-45FC-A2D0-89CD85BA798C}"/>
              </a:ext>
            </a:extLst>
          </p:cNvPr>
          <p:cNvGrpSpPr/>
          <p:nvPr/>
        </p:nvGrpSpPr>
        <p:grpSpPr>
          <a:xfrm>
            <a:off x="8315533" y="3396322"/>
            <a:ext cx="648000" cy="648000"/>
            <a:chOff x="9300075" y="1219946"/>
            <a:chExt cx="1584000" cy="1584000"/>
          </a:xfrm>
        </p:grpSpPr>
        <p:sp>
          <p:nvSpPr>
            <p:cNvPr id="19" name="Ellipse 18">
              <a:extLst>
                <a:ext uri="{FF2B5EF4-FFF2-40B4-BE49-F238E27FC236}">
                  <a16:creationId xmlns:a16="http://schemas.microsoft.com/office/drawing/2014/main" id="{F29A2EA7-32AF-417C-9A00-6B1AFFA4D39D}"/>
                </a:ext>
              </a:extLst>
            </p:cNvPr>
            <p:cNvSpPr/>
            <p:nvPr/>
          </p:nvSpPr>
          <p:spPr>
            <a:xfrm>
              <a:off x="9300075"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0" name="Bildplatzhalter 12" descr="Anker mit einfarbiger Füllung">
              <a:extLst>
                <a:ext uri="{FF2B5EF4-FFF2-40B4-BE49-F238E27FC236}">
                  <a16:creationId xmlns:a16="http://schemas.microsoft.com/office/drawing/2014/main" id="{C3E230E7-EA8A-46CC-AEBE-36F0DD81A901}"/>
                </a:ext>
              </a:extLst>
            </p:cNvPr>
            <p:cNvSpPr/>
            <p:nvPr/>
          </p:nvSpPr>
          <p:spPr>
            <a:xfrm>
              <a:off x="9653555" y="1554746"/>
              <a:ext cx="877039" cy="935909"/>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0E0E0"/>
            </a:solidFill>
            <a:ln w="16371" cap="flat">
              <a:noFill/>
              <a:prstDash val="solid"/>
              <a:miter/>
            </a:ln>
          </p:spPr>
          <p:txBody>
            <a:bodyPr rtlCol="0" anchor="ctr"/>
            <a:lstStyle/>
            <a:p>
              <a:endParaRPr lang="de-DE"/>
            </a:p>
          </p:txBody>
        </p:sp>
      </p:grpSp>
      <p:sp>
        <p:nvSpPr>
          <p:cNvPr id="21" name="Textfeld 20">
            <a:extLst>
              <a:ext uri="{FF2B5EF4-FFF2-40B4-BE49-F238E27FC236}">
                <a16:creationId xmlns:a16="http://schemas.microsoft.com/office/drawing/2014/main" id="{EF04D7AC-B6A0-45BB-A150-74DFFE67983B}"/>
              </a:ext>
            </a:extLst>
          </p:cNvPr>
          <p:cNvSpPr txBox="1"/>
          <p:nvPr/>
        </p:nvSpPr>
        <p:spPr bwMode="auto">
          <a:xfrm>
            <a:off x="7813259" y="4119172"/>
            <a:ext cx="1635080" cy="1538883"/>
          </a:xfrm>
          <a:prstGeom prst="rect">
            <a:avLst/>
          </a:prstGeom>
          <a:noFill/>
          <a:ln w="6350">
            <a:noFill/>
            <a:prstDash val="solid"/>
            <a:miter lim="800000"/>
            <a:headEnd/>
            <a:tailEnd/>
          </a:ln>
        </p:spPr>
        <p:txBody>
          <a:bodyPr wrap="square">
            <a:spAutoFit/>
          </a:bodyPr>
          <a:lstStyle/>
          <a:p>
            <a:r>
              <a:rPr lang="de-DE" sz="1400">
                <a:solidFill>
                  <a:schemeClr val="tx1"/>
                </a:solidFill>
              </a:rPr>
              <a:t>mehrere Stopps auf aber eine Ladung ist nicht / selten erkennbar</a:t>
            </a:r>
            <a:br>
              <a:rPr lang="de-DE" sz="1400">
                <a:solidFill>
                  <a:schemeClr val="tx1"/>
                </a:solidFill>
              </a:rPr>
            </a:br>
            <a:endParaRPr lang="de-DE" sz="900">
              <a:solidFill>
                <a:schemeClr val="tx1"/>
              </a:solidFill>
            </a:endParaRPr>
          </a:p>
          <a:p>
            <a:r>
              <a:rPr lang="de-DE" sz="1400">
                <a:solidFill>
                  <a:schemeClr val="tx1"/>
                </a:solidFill>
              </a:rPr>
              <a:t>Stopps bei Schleusen</a:t>
            </a:r>
          </a:p>
        </p:txBody>
      </p:sp>
      <p:grpSp>
        <p:nvGrpSpPr>
          <p:cNvPr id="22" name="Gruppieren 21">
            <a:extLst>
              <a:ext uri="{FF2B5EF4-FFF2-40B4-BE49-F238E27FC236}">
                <a16:creationId xmlns:a16="http://schemas.microsoft.com/office/drawing/2014/main" id="{6EEF13E5-7158-4D92-ACE6-7519001FD8B2}"/>
              </a:ext>
            </a:extLst>
          </p:cNvPr>
          <p:cNvGrpSpPr/>
          <p:nvPr/>
        </p:nvGrpSpPr>
        <p:grpSpPr>
          <a:xfrm>
            <a:off x="10353198" y="3382327"/>
            <a:ext cx="648000" cy="648000"/>
            <a:chOff x="5304000" y="1216085"/>
            <a:chExt cx="1584000" cy="1584000"/>
          </a:xfrm>
        </p:grpSpPr>
        <p:sp>
          <p:nvSpPr>
            <p:cNvPr id="23" name="Ellipse 22">
              <a:extLst>
                <a:ext uri="{FF2B5EF4-FFF2-40B4-BE49-F238E27FC236}">
                  <a16:creationId xmlns:a16="http://schemas.microsoft.com/office/drawing/2014/main" id="{7011792C-CFE8-43D7-87B9-F3340B6E8985}"/>
                </a:ext>
              </a:extLst>
            </p:cNvPr>
            <p:cNvSpPr/>
            <p:nvPr/>
          </p:nvSpPr>
          <p:spPr>
            <a:xfrm>
              <a:off x="5304000" y="1216085"/>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4" name="Gruppieren 23">
              <a:extLst>
                <a:ext uri="{FF2B5EF4-FFF2-40B4-BE49-F238E27FC236}">
                  <a16:creationId xmlns:a16="http://schemas.microsoft.com/office/drawing/2014/main" id="{AC66023B-52A4-4204-A6F3-91D44A7CBB85}"/>
                </a:ext>
              </a:extLst>
            </p:cNvPr>
            <p:cNvGrpSpPr/>
            <p:nvPr/>
          </p:nvGrpSpPr>
          <p:grpSpPr>
            <a:xfrm>
              <a:off x="5745080" y="1965727"/>
              <a:ext cx="744550" cy="443715"/>
              <a:chOff x="9316970" y="1884825"/>
              <a:chExt cx="1514374" cy="947540"/>
            </a:xfrm>
            <a:solidFill>
              <a:schemeClr val="bg1">
                <a:lumMod val="85000"/>
              </a:schemeClr>
            </a:solidFill>
          </p:grpSpPr>
          <p:sp>
            <p:nvSpPr>
              <p:cNvPr id="30" name="Bildplatzhalter 14" descr="Fracht mit einfarbiger Füllung">
                <a:extLst>
                  <a:ext uri="{FF2B5EF4-FFF2-40B4-BE49-F238E27FC236}">
                    <a16:creationId xmlns:a16="http://schemas.microsoft.com/office/drawing/2014/main" id="{FA0B59FA-5F28-4DB6-9EA4-ABC7F3A7CB92}"/>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1" name="Bildplatzhalter 14" descr="Fracht mit einfarbiger Füllung">
                <a:extLst>
                  <a:ext uri="{FF2B5EF4-FFF2-40B4-BE49-F238E27FC236}">
                    <a16:creationId xmlns:a16="http://schemas.microsoft.com/office/drawing/2014/main" id="{DC4C125F-6079-49C8-88F8-B4F8C95346E1}"/>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2" name="Bildplatzhalter 14" descr="Fracht mit einfarbiger Füllung">
                <a:extLst>
                  <a:ext uri="{FF2B5EF4-FFF2-40B4-BE49-F238E27FC236}">
                    <a16:creationId xmlns:a16="http://schemas.microsoft.com/office/drawing/2014/main" id="{B323DE51-A9BC-4E76-AD38-E8C748CD6D29}"/>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3" name="Bildplatzhalter 14" descr="Fracht mit einfarbiger Füllung">
                <a:extLst>
                  <a:ext uri="{FF2B5EF4-FFF2-40B4-BE49-F238E27FC236}">
                    <a16:creationId xmlns:a16="http://schemas.microsoft.com/office/drawing/2014/main" id="{BB77FB1E-1F6D-4F85-9A08-E537F601DD3E}"/>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4" name="Bildplatzhalter 14" descr="Fracht mit einfarbiger Füllung">
                <a:extLst>
                  <a:ext uri="{FF2B5EF4-FFF2-40B4-BE49-F238E27FC236}">
                    <a16:creationId xmlns:a16="http://schemas.microsoft.com/office/drawing/2014/main" id="{893349E1-C6E5-4D6B-B558-68E06BF8ACF1}"/>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5" name="Bildplatzhalter 14" descr="Fracht mit einfarbiger Füllung">
                <a:extLst>
                  <a:ext uri="{FF2B5EF4-FFF2-40B4-BE49-F238E27FC236}">
                    <a16:creationId xmlns:a16="http://schemas.microsoft.com/office/drawing/2014/main" id="{4D32521E-73C9-4423-B655-2665FC02FF94}"/>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6" name="Bildplatzhalter 14" descr="Fracht mit einfarbiger Füllung">
                <a:extLst>
                  <a:ext uri="{FF2B5EF4-FFF2-40B4-BE49-F238E27FC236}">
                    <a16:creationId xmlns:a16="http://schemas.microsoft.com/office/drawing/2014/main" id="{8924F617-39C1-40E2-BC7A-C50896A4B599}"/>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7" name="Bildplatzhalter 14" descr="Fracht mit einfarbiger Füllung">
                <a:extLst>
                  <a:ext uri="{FF2B5EF4-FFF2-40B4-BE49-F238E27FC236}">
                    <a16:creationId xmlns:a16="http://schemas.microsoft.com/office/drawing/2014/main" id="{FE392230-EF8B-4476-A06A-98DFFD4B33A6}"/>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38" name="Bildplatzhalter 14" descr="Fracht mit einfarbiger Füllung">
                <a:extLst>
                  <a:ext uri="{FF2B5EF4-FFF2-40B4-BE49-F238E27FC236}">
                    <a16:creationId xmlns:a16="http://schemas.microsoft.com/office/drawing/2014/main" id="{BA6D36CC-1F85-42CE-9E2B-740162BECCDF}"/>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40" name="Bildplatzhalter 14" descr="Fracht mit einfarbiger Füllung">
                <a:extLst>
                  <a:ext uri="{FF2B5EF4-FFF2-40B4-BE49-F238E27FC236}">
                    <a16:creationId xmlns:a16="http://schemas.microsoft.com/office/drawing/2014/main" id="{FD103D98-A683-4D8E-82A4-C2FEA7544C69}"/>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25" name="Gruppieren 24">
              <a:extLst>
                <a:ext uri="{FF2B5EF4-FFF2-40B4-BE49-F238E27FC236}">
                  <a16:creationId xmlns:a16="http://schemas.microsoft.com/office/drawing/2014/main" id="{C7B78188-141F-4869-B9F1-E5946AE96026}"/>
                </a:ext>
              </a:extLst>
            </p:cNvPr>
            <p:cNvGrpSpPr/>
            <p:nvPr/>
          </p:nvGrpSpPr>
          <p:grpSpPr>
            <a:xfrm>
              <a:off x="5896644" y="1534870"/>
              <a:ext cx="398712" cy="415448"/>
              <a:chOff x="-1463559" y="2802046"/>
              <a:chExt cx="1343912" cy="1321940"/>
            </a:xfrm>
            <a:solidFill>
              <a:schemeClr val="bg1">
                <a:lumMod val="85000"/>
              </a:schemeClr>
            </a:solidFill>
          </p:grpSpPr>
          <p:sp>
            <p:nvSpPr>
              <p:cNvPr id="26" name="Bildplatzhalter 10" descr="Schlepper mit einfarbiger Füllung">
                <a:extLst>
                  <a:ext uri="{FF2B5EF4-FFF2-40B4-BE49-F238E27FC236}">
                    <a16:creationId xmlns:a16="http://schemas.microsoft.com/office/drawing/2014/main" id="{E6AE5C03-8D28-46CB-9EC6-83F30A84C6F9}"/>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27" name="Bildplatzhalter 10" descr="Schlepper mit einfarbiger Füllung">
                <a:extLst>
                  <a:ext uri="{FF2B5EF4-FFF2-40B4-BE49-F238E27FC236}">
                    <a16:creationId xmlns:a16="http://schemas.microsoft.com/office/drawing/2014/main" id="{CF33E011-7CED-422C-836B-35C60FB82D22}"/>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28" name="Bildplatzhalter 10" descr="Schlepper mit einfarbiger Füllung">
                <a:extLst>
                  <a:ext uri="{FF2B5EF4-FFF2-40B4-BE49-F238E27FC236}">
                    <a16:creationId xmlns:a16="http://schemas.microsoft.com/office/drawing/2014/main" id="{50D9C268-D117-48FE-A407-8A02978BE7D7}"/>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29" name="Bildplatzhalter 10" descr="Schlepper mit einfarbiger Füllung">
                <a:extLst>
                  <a:ext uri="{FF2B5EF4-FFF2-40B4-BE49-F238E27FC236}">
                    <a16:creationId xmlns:a16="http://schemas.microsoft.com/office/drawing/2014/main" id="{92CFA2AD-2FAE-4D7E-AFB3-E6FF44510DC8}"/>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sp>
        <p:nvSpPr>
          <p:cNvPr id="41" name="Textfeld 40">
            <a:extLst>
              <a:ext uri="{FF2B5EF4-FFF2-40B4-BE49-F238E27FC236}">
                <a16:creationId xmlns:a16="http://schemas.microsoft.com/office/drawing/2014/main" id="{2634672E-8DAB-4EFD-8B6A-F376CB264944}"/>
              </a:ext>
            </a:extLst>
          </p:cNvPr>
          <p:cNvSpPr txBox="1"/>
          <p:nvPr/>
        </p:nvSpPr>
        <p:spPr bwMode="auto">
          <a:xfrm>
            <a:off x="9782450" y="4047111"/>
            <a:ext cx="1952603" cy="1720407"/>
          </a:xfrm>
          <a:prstGeom prst="rect">
            <a:avLst/>
          </a:prstGeom>
          <a:noFill/>
          <a:ln w="6350">
            <a:noFill/>
            <a:prstDash val="solid"/>
            <a:miter lim="800000"/>
            <a:headEnd/>
            <a:tailEnd/>
          </a:ln>
        </p:spPr>
        <p:txBody>
          <a:bodyPr wrap="square">
            <a:spAutoFit/>
          </a:bodyPr>
          <a:lstStyle/>
          <a:p>
            <a:pPr defTabSz="447675">
              <a:lnSpc>
                <a:spcPct val="114000"/>
              </a:lnSpc>
              <a:buClr>
                <a:schemeClr val="tx2"/>
              </a:buClr>
              <a:buSzPct val="80000"/>
              <a:defRPr/>
            </a:pPr>
            <a:r>
              <a:rPr lang="de-DE" sz="1400">
                <a:solidFill>
                  <a:schemeClr val="tx1"/>
                </a:solidFill>
              </a:rPr>
              <a:t>Verschiedene Schiffstypen</a:t>
            </a:r>
          </a:p>
          <a:p>
            <a:pPr defTabSz="447675">
              <a:lnSpc>
                <a:spcPct val="114000"/>
              </a:lnSpc>
              <a:buClr>
                <a:schemeClr val="tx2"/>
              </a:buClr>
              <a:buSzPct val="80000"/>
              <a:defRPr/>
            </a:pPr>
            <a:endParaRPr lang="de-DE" sz="900"/>
          </a:p>
          <a:p>
            <a:pPr defTabSz="447675">
              <a:lnSpc>
                <a:spcPct val="114000"/>
              </a:lnSpc>
              <a:buClr>
                <a:schemeClr val="tx2"/>
              </a:buClr>
              <a:buSzPct val="80000"/>
              <a:defRPr/>
            </a:pPr>
            <a:r>
              <a:rPr lang="de-DE" sz="1400">
                <a:solidFill>
                  <a:schemeClr val="tx1"/>
                </a:solidFill>
              </a:rPr>
              <a:t>Unterscheidung in Hauptgruppe Cargo / Tanker und Gefahrgut / Kein ~ sinnvoll</a:t>
            </a:r>
          </a:p>
        </p:txBody>
      </p:sp>
      <p:grpSp>
        <p:nvGrpSpPr>
          <p:cNvPr id="53" name="Gruppieren 52">
            <a:extLst>
              <a:ext uri="{FF2B5EF4-FFF2-40B4-BE49-F238E27FC236}">
                <a16:creationId xmlns:a16="http://schemas.microsoft.com/office/drawing/2014/main" id="{69EED7F6-EC13-4E77-892A-7A94DCDFDCB6}"/>
              </a:ext>
            </a:extLst>
          </p:cNvPr>
          <p:cNvGrpSpPr/>
          <p:nvPr/>
        </p:nvGrpSpPr>
        <p:grpSpPr>
          <a:xfrm>
            <a:off x="-87962" y="1488886"/>
            <a:ext cx="4591173" cy="4404270"/>
            <a:chOff x="-119566" y="1488886"/>
            <a:chExt cx="4543332" cy="4404270"/>
          </a:xfrm>
        </p:grpSpPr>
        <p:sp>
          <p:nvSpPr>
            <p:cNvPr id="52" name="Oval 7">
              <a:extLst>
                <a:ext uri="{FF2B5EF4-FFF2-40B4-BE49-F238E27FC236}">
                  <a16:creationId xmlns:a16="http://schemas.microsoft.com/office/drawing/2014/main" id="{C3BFE531-F03E-4F49-8B67-B522B88B38B1}"/>
                </a:ext>
              </a:extLst>
            </p:cNvPr>
            <p:cNvSpPr/>
            <p:nvPr/>
          </p:nvSpPr>
          <p:spPr>
            <a:xfrm>
              <a:off x="452720" y="1488886"/>
              <a:ext cx="3525615" cy="4404270"/>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graphicFrame>
          <p:nvGraphicFramePr>
            <p:cNvPr id="51" name="Diagramm 50">
              <a:extLst>
                <a:ext uri="{FF2B5EF4-FFF2-40B4-BE49-F238E27FC236}">
                  <a16:creationId xmlns:a16="http://schemas.microsoft.com/office/drawing/2014/main" id="{E9E73BB5-425A-460C-96F9-FCCC607A6286}"/>
                </a:ext>
              </a:extLst>
            </p:cNvPr>
            <p:cNvGraphicFramePr/>
            <p:nvPr/>
          </p:nvGraphicFramePr>
          <p:xfrm>
            <a:off x="-119566" y="1497695"/>
            <a:ext cx="4543332" cy="4187488"/>
          </p:xfrm>
          <a:graphic>
            <a:graphicData uri="http://schemas.openxmlformats.org/drawingml/2006/chart">
              <c:chart xmlns:c="http://schemas.openxmlformats.org/drawingml/2006/chart" xmlns:r="http://schemas.openxmlformats.org/officeDocument/2006/relationships" r:id="rId8"/>
            </a:graphicData>
          </a:graphic>
        </p:graphicFrame>
      </p:grpSp>
      <p:sp>
        <p:nvSpPr>
          <p:cNvPr id="49" name="Oval 7">
            <a:extLst>
              <a:ext uri="{FF2B5EF4-FFF2-40B4-BE49-F238E27FC236}">
                <a16:creationId xmlns:a16="http://schemas.microsoft.com/office/drawing/2014/main" id="{05A3DE24-04E4-40E1-85F1-6EFB5652DC1D}"/>
              </a:ext>
            </a:extLst>
          </p:cNvPr>
          <p:cNvSpPr/>
          <p:nvPr/>
        </p:nvSpPr>
        <p:spPr>
          <a:xfrm>
            <a:off x="4134643" y="1469395"/>
            <a:ext cx="3467604" cy="4404271"/>
          </a:xfrm>
          <a:prstGeom prst="roundRect">
            <a:avLst/>
          </a:prstGeom>
          <a:solidFill>
            <a:srgbClr val="E0E0E0"/>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rgbClr val="FFFFFF"/>
              </a:solidFill>
              <a:ea typeface="Arial"/>
              <a:cs typeface="Arial" pitchFamily="34" charset="0"/>
            </a:endParaRPr>
          </a:p>
          <a:p>
            <a:pPr algn="ctr"/>
            <a:endParaRPr lang="de-DE" sz="1400">
              <a:solidFill>
                <a:schemeClr val="bg1"/>
              </a:solidFill>
            </a:endParaRPr>
          </a:p>
        </p:txBody>
      </p:sp>
      <p:pic>
        <p:nvPicPr>
          <p:cNvPr id="3" name="Grafik 2">
            <a:extLst>
              <a:ext uri="{FF2B5EF4-FFF2-40B4-BE49-F238E27FC236}">
                <a16:creationId xmlns:a16="http://schemas.microsoft.com/office/drawing/2014/main" id="{FA4C25B7-8D80-4246-90F6-2B8106867C39}"/>
              </a:ext>
            </a:extLst>
          </p:cNvPr>
          <p:cNvPicPr>
            <a:picLocks noChangeAspect="1"/>
          </p:cNvPicPr>
          <p:nvPr/>
        </p:nvPicPr>
        <p:blipFill rotWithShape="1">
          <a:blip r:embed="rId9">
            <a:duotone>
              <a:schemeClr val="accent3">
                <a:shade val="45000"/>
                <a:satMod val="135000"/>
              </a:schemeClr>
              <a:prstClr val="white"/>
            </a:duotone>
            <a:extLst>
              <a:ext uri="{28A0092B-C50C-407E-A947-70E740481C1C}">
                <a14:useLocalDpi xmlns:a14="http://schemas.microsoft.com/office/drawing/2010/main" val="0"/>
              </a:ext>
            </a:extLst>
          </a:blip>
          <a:srcRect l="10151" t="9120" r="17185" b="12306"/>
          <a:stretch/>
        </p:blipFill>
        <p:spPr>
          <a:xfrm>
            <a:off x="4328795" y="2548877"/>
            <a:ext cx="3218963" cy="2171450"/>
          </a:xfrm>
          <a:prstGeom prst="rect">
            <a:avLst/>
          </a:prstGeom>
        </p:spPr>
      </p:pic>
      <p:sp>
        <p:nvSpPr>
          <p:cNvPr id="50" name="Textfeld 49">
            <a:extLst>
              <a:ext uri="{FF2B5EF4-FFF2-40B4-BE49-F238E27FC236}">
                <a16:creationId xmlns:a16="http://schemas.microsoft.com/office/drawing/2014/main" id="{DE9BC47D-0E99-4CBA-97CF-A5435A1989B3}"/>
              </a:ext>
            </a:extLst>
          </p:cNvPr>
          <p:cNvSpPr txBox="1"/>
          <p:nvPr/>
        </p:nvSpPr>
        <p:spPr bwMode="auto">
          <a:xfrm>
            <a:off x="4290525" y="1823219"/>
            <a:ext cx="3104109" cy="378565"/>
          </a:xfrm>
          <a:prstGeom prst="rect">
            <a:avLst/>
          </a:prstGeom>
          <a:noFill/>
          <a:ln w="6350">
            <a:noFill/>
            <a:prstDash val="solid"/>
            <a:miter lim="800000"/>
            <a:headEnd/>
            <a:tailEnd/>
          </a:ln>
        </p:spPr>
        <p:txBody>
          <a:bodyPr wrap="square">
            <a:spAutoFit/>
          </a:bodyPr>
          <a:lstStyle/>
          <a:p>
            <a:pPr marL="0" lvl="1" algn="ctr">
              <a:lnSpc>
                <a:spcPct val="100000"/>
              </a:lnSpc>
            </a:pPr>
            <a:r>
              <a:rPr lang="en-US" sz="1860" err="1">
                <a:solidFill>
                  <a:srgbClr val="595959"/>
                </a:solidFill>
                <a:latin typeface="Helvetica Light"/>
                <a:cs typeface="Helvetica Light"/>
              </a:rPr>
              <a:t>Tripdauer</a:t>
            </a:r>
            <a:r>
              <a:rPr lang="en-US" sz="1860">
                <a:solidFill>
                  <a:srgbClr val="595959"/>
                </a:solidFill>
                <a:latin typeface="Helvetica Light"/>
                <a:cs typeface="Helvetica Light"/>
              </a:rPr>
              <a:t> (in h) je </a:t>
            </a:r>
            <a:r>
              <a:rPr lang="en-US" sz="1860" err="1">
                <a:solidFill>
                  <a:srgbClr val="595959"/>
                </a:solidFill>
                <a:latin typeface="Helvetica Light"/>
                <a:cs typeface="Helvetica Light"/>
              </a:rPr>
              <a:t>Startzeit</a:t>
            </a:r>
            <a:r>
              <a:rPr lang="en-US" sz="1860">
                <a:solidFill>
                  <a:srgbClr val="595959"/>
                </a:solidFill>
                <a:latin typeface="Helvetica Light"/>
                <a:cs typeface="Helvetica Light"/>
              </a:rPr>
              <a:t> </a:t>
            </a:r>
          </a:p>
        </p:txBody>
      </p:sp>
      <p:sp>
        <p:nvSpPr>
          <p:cNvPr id="54" name="Textfeld 53">
            <a:extLst>
              <a:ext uri="{FF2B5EF4-FFF2-40B4-BE49-F238E27FC236}">
                <a16:creationId xmlns:a16="http://schemas.microsoft.com/office/drawing/2014/main" id="{67D3C273-4A8F-4C67-B70D-68F1FDE68AF7}"/>
              </a:ext>
            </a:extLst>
          </p:cNvPr>
          <p:cNvSpPr txBox="1"/>
          <p:nvPr/>
        </p:nvSpPr>
        <p:spPr bwMode="auto">
          <a:xfrm>
            <a:off x="4105168" y="4701641"/>
            <a:ext cx="999286"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01/2019</a:t>
            </a:r>
          </a:p>
        </p:txBody>
      </p:sp>
      <p:sp>
        <p:nvSpPr>
          <p:cNvPr id="55" name="Textfeld 54">
            <a:extLst>
              <a:ext uri="{FF2B5EF4-FFF2-40B4-BE49-F238E27FC236}">
                <a16:creationId xmlns:a16="http://schemas.microsoft.com/office/drawing/2014/main" id="{663D9D1A-EFAD-4FDC-AE51-DDAE9C1A0CCC}"/>
              </a:ext>
            </a:extLst>
          </p:cNvPr>
          <p:cNvSpPr txBox="1"/>
          <p:nvPr/>
        </p:nvSpPr>
        <p:spPr bwMode="auto">
          <a:xfrm>
            <a:off x="5380396" y="4701641"/>
            <a:ext cx="999286"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06/2019</a:t>
            </a:r>
          </a:p>
        </p:txBody>
      </p:sp>
      <p:sp>
        <p:nvSpPr>
          <p:cNvPr id="56" name="Textfeld 55">
            <a:extLst>
              <a:ext uri="{FF2B5EF4-FFF2-40B4-BE49-F238E27FC236}">
                <a16:creationId xmlns:a16="http://schemas.microsoft.com/office/drawing/2014/main" id="{2C0C3765-92D0-4C68-A091-705F6B63E45F}"/>
              </a:ext>
            </a:extLst>
          </p:cNvPr>
          <p:cNvSpPr txBox="1"/>
          <p:nvPr/>
        </p:nvSpPr>
        <p:spPr bwMode="auto">
          <a:xfrm>
            <a:off x="6767418" y="4681071"/>
            <a:ext cx="999286"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12/2019</a:t>
            </a:r>
          </a:p>
        </p:txBody>
      </p:sp>
      <p:sp>
        <p:nvSpPr>
          <p:cNvPr id="57" name="Textfeld 56">
            <a:extLst>
              <a:ext uri="{FF2B5EF4-FFF2-40B4-BE49-F238E27FC236}">
                <a16:creationId xmlns:a16="http://schemas.microsoft.com/office/drawing/2014/main" id="{6C89F47B-CCAD-4FA1-9F89-30A5661679A6}"/>
              </a:ext>
            </a:extLst>
          </p:cNvPr>
          <p:cNvSpPr txBox="1"/>
          <p:nvPr/>
        </p:nvSpPr>
        <p:spPr bwMode="auto">
          <a:xfrm>
            <a:off x="3957523" y="4025483"/>
            <a:ext cx="545688"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25</a:t>
            </a:r>
          </a:p>
        </p:txBody>
      </p:sp>
      <p:sp>
        <p:nvSpPr>
          <p:cNvPr id="58" name="Textfeld 57">
            <a:extLst>
              <a:ext uri="{FF2B5EF4-FFF2-40B4-BE49-F238E27FC236}">
                <a16:creationId xmlns:a16="http://schemas.microsoft.com/office/drawing/2014/main" id="{6B684669-6DB6-4710-BA0E-6B04C9798F45}"/>
              </a:ext>
            </a:extLst>
          </p:cNvPr>
          <p:cNvSpPr txBox="1"/>
          <p:nvPr/>
        </p:nvSpPr>
        <p:spPr bwMode="auto">
          <a:xfrm>
            <a:off x="3934729" y="3464589"/>
            <a:ext cx="545688"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50</a:t>
            </a:r>
          </a:p>
        </p:txBody>
      </p:sp>
      <p:sp>
        <p:nvSpPr>
          <p:cNvPr id="59" name="Textfeld 58">
            <a:extLst>
              <a:ext uri="{FF2B5EF4-FFF2-40B4-BE49-F238E27FC236}">
                <a16:creationId xmlns:a16="http://schemas.microsoft.com/office/drawing/2014/main" id="{AF55DDDB-6DFF-4783-885F-D99CCFCB4235}"/>
              </a:ext>
            </a:extLst>
          </p:cNvPr>
          <p:cNvSpPr txBox="1"/>
          <p:nvPr/>
        </p:nvSpPr>
        <p:spPr bwMode="auto">
          <a:xfrm>
            <a:off x="3957523" y="2947963"/>
            <a:ext cx="545688" cy="276999"/>
          </a:xfrm>
          <a:prstGeom prst="rect">
            <a:avLst/>
          </a:prstGeom>
          <a:noFill/>
          <a:ln w="6350">
            <a:noFill/>
            <a:prstDash val="solid"/>
            <a:miter lim="800000"/>
            <a:headEnd/>
            <a:tailEnd/>
          </a:ln>
        </p:spPr>
        <p:txBody>
          <a:bodyPr wrap="square">
            <a:spAutoFit/>
          </a:bodyPr>
          <a:lstStyle/>
          <a:p>
            <a:pPr marL="0" lvl="1" algn="ctr">
              <a:lnSpc>
                <a:spcPct val="100000"/>
              </a:lnSpc>
            </a:pPr>
            <a:r>
              <a:rPr lang="en-US" sz="1200">
                <a:solidFill>
                  <a:srgbClr val="595959"/>
                </a:solidFill>
                <a:latin typeface="Helvetica Light"/>
                <a:cs typeface="Helvetica Light"/>
              </a:rPr>
              <a:t>75</a:t>
            </a:r>
          </a:p>
        </p:txBody>
      </p:sp>
    </p:spTree>
    <p:extLst>
      <p:ext uri="{BB962C8B-B14F-4D97-AF65-F5344CB8AC3E}">
        <p14:creationId xmlns:p14="http://schemas.microsoft.com/office/powerpoint/2010/main" val="969730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FFA1074-5B9E-4080-850D-0707BC100590}"/>
              </a:ext>
            </a:extLst>
          </p:cNvPr>
          <p:cNvSpPr>
            <a:spLocks noGrp="1"/>
          </p:cNvSpPr>
          <p:nvPr>
            <p:ph type="ftr" sz="quarter" idx="11"/>
          </p:nvPr>
        </p:nvSpPr>
        <p:spPr/>
        <p:txBody>
          <a:bodyPr/>
          <a:lstStyle/>
          <a:p>
            <a:pPr>
              <a:spcBef>
                <a:spcPct val="20000"/>
              </a:spcBef>
            </a:pPr>
            <a:r>
              <a:rPr lang="de-DE"/>
              <a:t>SCA Case Study – 28.07.2021</a:t>
            </a:r>
          </a:p>
        </p:txBody>
      </p:sp>
      <p:sp>
        <p:nvSpPr>
          <p:cNvPr id="38" name="Rechteck 37">
            <a:extLst>
              <a:ext uri="{FF2B5EF4-FFF2-40B4-BE49-F238E27FC236}">
                <a16:creationId xmlns:a16="http://schemas.microsoft.com/office/drawing/2014/main" id="{53F1ECB2-E7C8-4CC8-A94F-0B1F57580832}"/>
              </a:ext>
            </a:extLst>
          </p:cNvPr>
          <p:cNvSpPr/>
          <p:nvPr/>
        </p:nvSpPr>
        <p:spPr>
          <a:xfrm>
            <a:off x="0" y="1189316"/>
            <a:ext cx="12192000" cy="669304"/>
          </a:xfrm>
          <a:prstGeom prst="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9" name="Titel 1">
            <a:extLst>
              <a:ext uri="{FF2B5EF4-FFF2-40B4-BE49-F238E27FC236}">
                <a16:creationId xmlns:a16="http://schemas.microsoft.com/office/drawing/2014/main" id="{C221C785-4474-4A5B-9E59-9A62999DA099}"/>
              </a:ext>
            </a:extLst>
          </p:cNvPr>
          <p:cNvSpPr>
            <a:spLocks noGrp="1"/>
          </p:cNvSpPr>
          <p:nvPr>
            <p:ph type="title"/>
          </p:nvPr>
        </p:nvSpPr>
        <p:spPr>
          <a:xfrm>
            <a:off x="534000" y="332656"/>
            <a:ext cx="11124000" cy="360040"/>
          </a:xfrm>
        </p:spPr>
        <p:txBody>
          <a:bodyPr/>
          <a:lstStyle/>
          <a:p>
            <a:r>
              <a:rPr lang="de-DE"/>
              <a:t>Feature Engineering</a:t>
            </a:r>
          </a:p>
        </p:txBody>
      </p:sp>
      <p:sp>
        <p:nvSpPr>
          <p:cNvPr id="41" name="Freihandform 6">
            <a:extLst>
              <a:ext uri="{FF2B5EF4-FFF2-40B4-BE49-F238E27FC236}">
                <a16:creationId xmlns:a16="http://schemas.microsoft.com/office/drawing/2014/main" id="{BC7DB575-D972-4AA8-8703-FD1BB4D0AD36}"/>
              </a:ext>
            </a:extLst>
          </p:cNvPr>
          <p:cNvSpPr/>
          <p:nvPr/>
        </p:nvSpPr>
        <p:spPr>
          <a:xfrm>
            <a:off x="695325" y="1024938"/>
            <a:ext cx="2880000" cy="245678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p:txBody>
      </p:sp>
      <p:sp>
        <p:nvSpPr>
          <p:cNvPr id="42" name="Freihandform 21">
            <a:extLst>
              <a:ext uri="{FF2B5EF4-FFF2-40B4-BE49-F238E27FC236}">
                <a16:creationId xmlns:a16="http://schemas.microsoft.com/office/drawing/2014/main" id="{C502AB0C-1BDA-4DD1-9A30-16B31F24388B}"/>
              </a:ext>
            </a:extLst>
          </p:cNvPr>
          <p:cNvSpPr/>
          <p:nvPr/>
        </p:nvSpPr>
        <p:spPr>
          <a:xfrm>
            <a:off x="4656000" y="1019962"/>
            <a:ext cx="2880000" cy="246284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mn-ea"/>
              <a:cs typeface="+mn-cs"/>
            </a:endParaRPr>
          </a:p>
        </p:txBody>
      </p:sp>
      <p:sp>
        <p:nvSpPr>
          <p:cNvPr id="43" name="Freihandform 27">
            <a:extLst>
              <a:ext uri="{FF2B5EF4-FFF2-40B4-BE49-F238E27FC236}">
                <a16:creationId xmlns:a16="http://schemas.microsoft.com/office/drawing/2014/main" id="{4B8B4927-3C85-4FA8-9D45-753489A85CCE}"/>
              </a:ext>
            </a:extLst>
          </p:cNvPr>
          <p:cNvSpPr/>
          <p:nvPr/>
        </p:nvSpPr>
        <p:spPr>
          <a:xfrm>
            <a:off x="8616675" y="1024938"/>
            <a:ext cx="2880000" cy="245678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grpSp>
        <p:nvGrpSpPr>
          <p:cNvPr id="2" name="Gruppieren 1">
            <a:extLst>
              <a:ext uri="{FF2B5EF4-FFF2-40B4-BE49-F238E27FC236}">
                <a16:creationId xmlns:a16="http://schemas.microsoft.com/office/drawing/2014/main" id="{DBC13BED-C13F-4C40-A77A-921BA7D51457}"/>
              </a:ext>
            </a:extLst>
          </p:cNvPr>
          <p:cNvGrpSpPr/>
          <p:nvPr/>
        </p:nvGrpSpPr>
        <p:grpSpPr>
          <a:xfrm>
            <a:off x="779272" y="1060279"/>
            <a:ext cx="887588" cy="872769"/>
            <a:chOff x="1307925" y="1217969"/>
            <a:chExt cx="1584000" cy="1584000"/>
          </a:xfrm>
        </p:grpSpPr>
        <p:sp>
          <p:nvSpPr>
            <p:cNvPr id="44" name="Ellipse 43">
              <a:extLst>
                <a:ext uri="{FF2B5EF4-FFF2-40B4-BE49-F238E27FC236}">
                  <a16:creationId xmlns:a16="http://schemas.microsoft.com/office/drawing/2014/main" id="{A56AAA50-A3B1-4CE4-A509-A54388B392AD}"/>
                </a:ext>
              </a:extLst>
            </p:cNvPr>
            <p:cNvSpPr/>
            <p:nvPr/>
          </p:nvSpPr>
          <p:spPr>
            <a:xfrm>
              <a:off x="1307925" y="1217969"/>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5" name="Grafik 44" descr="Welle mit einfarbiger Füllung">
              <a:extLst>
                <a:ext uri="{FF2B5EF4-FFF2-40B4-BE49-F238E27FC236}">
                  <a16:creationId xmlns:a16="http://schemas.microsoft.com/office/drawing/2014/main" id="{B69E52D7-680D-4240-A9AE-B9FE597E08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83703" y="1453379"/>
              <a:ext cx="1023294" cy="1023294"/>
            </a:xfrm>
            <a:prstGeom prst="rect">
              <a:avLst/>
            </a:prstGeom>
          </p:spPr>
        </p:pic>
      </p:grpSp>
      <p:grpSp>
        <p:nvGrpSpPr>
          <p:cNvPr id="3" name="Gruppieren 2">
            <a:extLst>
              <a:ext uri="{FF2B5EF4-FFF2-40B4-BE49-F238E27FC236}">
                <a16:creationId xmlns:a16="http://schemas.microsoft.com/office/drawing/2014/main" id="{D0CE3184-9600-496C-9F74-4BA3F8C195E9}"/>
              </a:ext>
            </a:extLst>
          </p:cNvPr>
          <p:cNvGrpSpPr/>
          <p:nvPr/>
        </p:nvGrpSpPr>
        <p:grpSpPr>
          <a:xfrm>
            <a:off x="4775347" y="1058395"/>
            <a:ext cx="887588" cy="872769"/>
            <a:chOff x="5304000" y="1216085"/>
            <a:chExt cx="1584000" cy="1584000"/>
          </a:xfrm>
        </p:grpSpPr>
        <p:sp>
          <p:nvSpPr>
            <p:cNvPr id="46" name="Ellipse 45">
              <a:extLst>
                <a:ext uri="{FF2B5EF4-FFF2-40B4-BE49-F238E27FC236}">
                  <a16:creationId xmlns:a16="http://schemas.microsoft.com/office/drawing/2014/main" id="{9610091E-917B-4777-AB17-DDF0CF0CB2B9}"/>
                </a:ext>
              </a:extLst>
            </p:cNvPr>
            <p:cNvSpPr/>
            <p:nvPr/>
          </p:nvSpPr>
          <p:spPr>
            <a:xfrm>
              <a:off x="5304000" y="1216085"/>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48" name="Gruppieren 47">
              <a:extLst>
                <a:ext uri="{FF2B5EF4-FFF2-40B4-BE49-F238E27FC236}">
                  <a16:creationId xmlns:a16="http://schemas.microsoft.com/office/drawing/2014/main" id="{64405309-9353-41DD-813F-CB0E1E929317}"/>
                </a:ext>
              </a:extLst>
            </p:cNvPr>
            <p:cNvGrpSpPr/>
            <p:nvPr/>
          </p:nvGrpSpPr>
          <p:grpSpPr>
            <a:xfrm>
              <a:off x="5745080" y="1965727"/>
              <a:ext cx="744550" cy="443715"/>
              <a:chOff x="9316970" y="1884825"/>
              <a:chExt cx="1514374" cy="947540"/>
            </a:xfrm>
            <a:solidFill>
              <a:schemeClr val="bg1">
                <a:lumMod val="85000"/>
              </a:schemeClr>
            </a:solidFill>
          </p:grpSpPr>
          <p:sp>
            <p:nvSpPr>
              <p:cNvPr id="49" name="Bildplatzhalter 14" descr="Fracht mit einfarbiger Füllung">
                <a:extLst>
                  <a:ext uri="{FF2B5EF4-FFF2-40B4-BE49-F238E27FC236}">
                    <a16:creationId xmlns:a16="http://schemas.microsoft.com/office/drawing/2014/main" id="{9B9120AE-0ECC-4983-92E9-D29183E0DB62}"/>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0" name="Bildplatzhalter 14" descr="Fracht mit einfarbiger Füllung">
                <a:extLst>
                  <a:ext uri="{FF2B5EF4-FFF2-40B4-BE49-F238E27FC236}">
                    <a16:creationId xmlns:a16="http://schemas.microsoft.com/office/drawing/2014/main" id="{0A0F2A2B-0E05-49A7-AFC5-33762E92557D}"/>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1" name="Bildplatzhalter 14" descr="Fracht mit einfarbiger Füllung">
                <a:extLst>
                  <a:ext uri="{FF2B5EF4-FFF2-40B4-BE49-F238E27FC236}">
                    <a16:creationId xmlns:a16="http://schemas.microsoft.com/office/drawing/2014/main" id="{68373A6A-4F7E-4A1D-9A8C-BBDD6DC66CFC}"/>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2" name="Bildplatzhalter 14" descr="Fracht mit einfarbiger Füllung">
                <a:extLst>
                  <a:ext uri="{FF2B5EF4-FFF2-40B4-BE49-F238E27FC236}">
                    <a16:creationId xmlns:a16="http://schemas.microsoft.com/office/drawing/2014/main" id="{DBB8DAA8-A3A8-4B0D-A228-02F253FE3214}"/>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3" name="Bildplatzhalter 14" descr="Fracht mit einfarbiger Füllung">
                <a:extLst>
                  <a:ext uri="{FF2B5EF4-FFF2-40B4-BE49-F238E27FC236}">
                    <a16:creationId xmlns:a16="http://schemas.microsoft.com/office/drawing/2014/main" id="{FF2CEBD9-39EB-4ED5-BC38-4653E82779F7}"/>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4" name="Bildplatzhalter 14" descr="Fracht mit einfarbiger Füllung">
                <a:extLst>
                  <a:ext uri="{FF2B5EF4-FFF2-40B4-BE49-F238E27FC236}">
                    <a16:creationId xmlns:a16="http://schemas.microsoft.com/office/drawing/2014/main" id="{8DFDE718-69CB-45B6-A181-99B709863D83}"/>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5" name="Bildplatzhalter 14" descr="Fracht mit einfarbiger Füllung">
                <a:extLst>
                  <a:ext uri="{FF2B5EF4-FFF2-40B4-BE49-F238E27FC236}">
                    <a16:creationId xmlns:a16="http://schemas.microsoft.com/office/drawing/2014/main" id="{E983BF4A-7721-4CBB-A7E8-0966BE64F065}"/>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56" name="Bildplatzhalter 14" descr="Fracht mit einfarbiger Füllung">
                <a:extLst>
                  <a:ext uri="{FF2B5EF4-FFF2-40B4-BE49-F238E27FC236}">
                    <a16:creationId xmlns:a16="http://schemas.microsoft.com/office/drawing/2014/main" id="{C6F2812C-CD4C-4920-BE0F-2EE038823046}"/>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57" name="Bildplatzhalter 14" descr="Fracht mit einfarbiger Füllung">
                <a:extLst>
                  <a:ext uri="{FF2B5EF4-FFF2-40B4-BE49-F238E27FC236}">
                    <a16:creationId xmlns:a16="http://schemas.microsoft.com/office/drawing/2014/main" id="{E960F689-E63F-4927-AA96-C54485618A91}"/>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58" name="Bildplatzhalter 14" descr="Fracht mit einfarbiger Füllung">
                <a:extLst>
                  <a:ext uri="{FF2B5EF4-FFF2-40B4-BE49-F238E27FC236}">
                    <a16:creationId xmlns:a16="http://schemas.microsoft.com/office/drawing/2014/main" id="{935556D8-0DEA-4641-A7BF-0E77C854C5BA}"/>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59" name="Gruppieren 58">
              <a:extLst>
                <a:ext uri="{FF2B5EF4-FFF2-40B4-BE49-F238E27FC236}">
                  <a16:creationId xmlns:a16="http://schemas.microsoft.com/office/drawing/2014/main" id="{FBFBAE55-B4D0-4787-A261-B8D9377434CF}"/>
                </a:ext>
              </a:extLst>
            </p:cNvPr>
            <p:cNvGrpSpPr/>
            <p:nvPr/>
          </p:nvGrpSpPr>
          <p:grpSpPr>
            <a:xfrm>
              <a:off x="5896644" y="1534870"/>
              <a:ext cx="398712" cy="415448"/>
              <a:chOff x="-1463559" y="2802046"/>
              <a:chExt cx="1343912" cy="1321940"/>
            </a:xfrm>
            <a:solidFill>
              <a:schemeClr val="bg1">
                <a:lumMod val="85000"/>
              </a:schemeClr>
            </a:solidFill>
          </p:grpSpPr>
          <p:sp>
            <p:nvSpPr>
              <p:cNvPr id="60" name="Bildplatzhalter 10" descr="Schlepper mit einfarbiger Füllung">
                <a:extLst>
                  <a:ext uri="{FF2B5EF4-FFF2-40B4-BE49-F238E27FC236}">
                    <a16:creationId xmlns:a16="http://schemas.microsoft.com/office/drawing/2014/main" id="{48B968D7-469D-4C8F-A4BB-F934642EA151}"/>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61" name="Bildplatzhalter 10" descr="Schlepper mit einfarbiger Füllung">
                <a:extLst>
                  <a:ext uri="{FF2B5EF4-FFF2-40B4-BE49-F238E27FC236}">
                    <a16:creationId xmlns:a16="http://schemas.microsoft.com/office/drawing/2014/main" id="{75037C9C-F7D1-47EF-B46D-7276D0E4CF62}"/>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62" name="Bildplatzhalter 10" descr="Schlepper mit einfarbiger Füllung">
                <a:extLst>
                  <a:ext uri="{FF2B5EF4-FFF2-40B4-BE49-F238E27FC236}">
                    <a16:creationId xmlns:a16="http://schemas.microsoft.com/office/drawing/2014/main" id="{DB37EA01-ED66-4252-8F2E-E08A8A3C9323}"/>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63" name="Bildplatzhalter 10" descr="Schlepper mit einfarbiger Füllung">
                <a:extLst>
                  <a:ext uri="{FF2B5EF4-FFF2-40B4-BE49-F238E27FC236}">
                    <a16:creationId xmlns:a16="http://schemas.microsoft.com/office/drawing/2014/main" id="{CFCD559C-6C69-4737-8AA3-F81BC82CD6ED}"/>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1E15A3C6-6039-422E-A5D2-FABCD1D75D40}"/>
              </a:ext>
            </a:extLst>
          </p:cNvPr>
          <p:cNvGrpSpPr/>
          <p:nvPr/>
        </p:nvGrpSpPr>
        <p:grpSpPr>
          <a:xfrm>
            <a:off x="8771422" y="1058395"/>
            <a:ext cx="887588" cy="872769"/>
            <a:chOff x="9623925" y="1529898"/>
            <a:chExt cx="887588" cy="872769"/>
          </a:xfrm>
        </p:grpSpPr>
        <p:sp>
          <p:nvSpPr>
            <p:cNvPr id="47" name="Ellipse 46">
              <a:extLst>
                <a:ext uri="{FF2B5EF4-FFF2-40B4-BE49-F238E27FC236}">
                  <a16:creationId xmlns:a16="http://schemas.microsoft.com/office/drawing/2014/main" id="{E3FE8944-BEC5-4711-BE76-93A4994DF651}"/>
                </a:ext>
              </a:extLst>
            </p:cNvPr>
            <p:cNvSpPr/>
            <p:nvPr/>
          </p:nvSpPr>
          <p:spPr>
            <a:xfrm>
              <a:off x="9623925" y="1529898"/>
              <a:ext cx="887588" cy="872769"/>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700">
                <a:solidFill>
                  <a:schemeClr val="bg1"/>
                </a:solidFill>
              </a:endParaRPr>
            </a:p>
          </p:txBody>
        </p:sp>
        <p:grpSp>
          <p:nvGrpSpPr>
            <p:cNvPr id="64" name="Gruppieren 63">
              <a:extLst>
                <a:ext uri="{FF2B5EF4-FFF2-40B4-BE49-F238E27FC236}">
                  <a16:creationId xmlns:a16="http://schemas.microsoft.com/office/drawing/2014/main" id="{279A622C-B835-4026-8ADA-3E91AE6B3095}"/>
                </a:ext>
              </a:extLst>
            </p:cNvPr>
            <p:cNvGrpSpPr/>
            <p:nvPr/>
          </p:nvGrpSpPr>
          <p:grpSpPr>
            <a:xfrm>
              <a:off x="9816292" y="1730170"/>
              <a:ext cx="512381" cy="503826"/>
              <a:chOff x="9783202" y="1979656"/>
              <a:chExt cx="914401" cy="914400"/>
            </a:xfrm>
          </p:grpSpPr>
          <p:pic>
            <p:nvPicPr>
              <p:cNvPr id="65" name="Grafik 64" descr="Monatskalender mit einfarbiger Füllung">
                <a:extLst>
                  <a:ext uri="{FF2B5EF4-FFF2-40B4-BE49-F238E27FC236}">
                    <a16:creationId xmlns:a16="http://schemas.microsoft.com/office/drawing/2014/main" id="{10ED844A-6B9B-4121-8C85-8361106AAA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3202" y="1979656"/>
                <a:ext cx="914401" cy="914400"/>
              </a:xfrm>
              <a:prstGeom prst="rect">
                <a:avLst/>
              </a:prstGeom>
            </p:spPr>
          </p:pic>
          <p:sp>
            <p:nvSpPr>
              <p:cNvPr id="66" name="Textfeld 65">
                <a:extLst>
                  <a:ext uri="{FF2B5EF4-FFF2-40B4-BE49-F238E27FC236}">
                    <a16:creationId xmlns:a16="http://schemas.microsoft.com/office/drawing/2014/main" id="{5B3DBA87-967F-49B1-AA07-AABF5C60D77A}"/>
                  </a:ext>
                </a:extLst>
              </p:cNvPr>
              <p:cNvSpPr txBox="1"/>
              <p:nvPr/>
            </p:nvSpPr>
            <p:spPr bwMode="auto">
              <a:xfrm>
                <a:off x="9966944" y="2229962"/>
                <a:ext cx="348792" cy="307777"/>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700">
                    <a:solidFill>
                      <a:srgbClr val="E0E0E0"/>
                    </a:solidFill>
                  </a:rPr>
                  <a:t>x</a:t>
                </a:r>
              </a:p>
            </p:txBody>
          </p:sp>
          <p:sp>
            <p:nvSpPr>
              <p:cNvPr id="67" name="Textfeld 66">
                <a:extLst>
                  <a:ext uri="{FF2B5EF4-FFF2-40B4-BE49-F238E27FC236}">
                    <a16:creationId xmlns:a16="http://schemas.microsoft.com/office/drawing/2014/main" id="{C143832A-559A-4728-9D77-FB9AB4132CCC}"/>
                  </a:ext>
                </a:extLst>
              </p:cNvPr>
              <p:cNvSpPr txBox="1"/>
              <p:nvPr/>
            </p:nvSpPr>
            <p:spPr bwMode="auto">
              <a:xfrm>
                <a:off x="10080602" y="2222970"/>
                <a:ext cx="348792" cy="307777"/>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700">
                    <a:solidFill>
                      <a:srgbClr val="E0E0E0"/>
                    </a:solidFill>
                  </a:rPr>
                  <a:t>x</a:t>
                </a:r>
              </a:p>
            </p:txBody>
          </p:sp>
          <p:sp>
            <p:nvSpPr>
              <p:cNvPr id="68" name="Textfeld 67">
                <a:extLst>
                  <a:ext uri="{FF2B5EF4-FFF2-40B4-BE49-F238E27FC236}">
                    <a16:creationId xmlns:a16="http://schemas.microsoft.com/office/drawing/2014/main" id="{2F328A95-912A-4059-B64F-A228E9953E44}"/>
                  </a:ext>
                </a:extLst>
              </p:cNvPr>
              <p:cNvSpPr txBox="1"/>
              <p:nvPr/>
            </p:nvSpPr>
            <p:spPr bwMode="auto">
              <a:xfrm>
                <a:off x="10188743" y="2222970"/>
                <a:ext cx="348792" cy="307777"/>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700">
                    <a:solidFill>
                      <a:srgbClr val="E0E0E0"/>
                    </a:solidFill>
                  </a:rPr>
                  <a:t>x</a:t>
                </a:r>
              </a:p>
            </p:txBody>
          </p:sp>
          <p:sp>
            <p:nvSpPr>
              <p:cNvPr id="69" name="Textfeld 68">
                <a:extLst>
                  <a:ext uri="{FF2B5EF4-FFF2-40B4-BE49-F238E27FC236}">
                    <a16:creationId xmlns:a16="http://schemas.microsoft.com/office/drawing/2014/main" id="{18D31E1D-A3C7-40B1-AAAE-3D5D63281F42}"/>
                  </a:ext>
                </a:extLst>
              </p:cNvPr>
              <p:cNvSpPr txBox="1"/>
              <p:nvPr/>
            </p:nvSpPr>
            <p:spPr bwMode="auto">
              <a:xfrm>
                <a:off x="10303807" y="2225666"/>
                <a:ext cx="348792" cy="307777"/>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700">
                    <a:solidFill>
                      <a:srgbClr val="E0E0E0"/>
                    </a:solidFill>
                  </a:rPr>
                  <a:t>x</a:t>
                </a:r>
              </a:p>
            </p:txBody>
          </p:sp>
          <p:sp>
            <p:nvSpPr>
              <p:cNvPr id="70" name="Textfeld 69">
                <a:extLst>
                  <a:ext uri="{FF2B5EF4-FFF2-40B4-BE49-F238E27FC236}">
                    <a16:creationId xmlns:a16="http://schemas.microsoft.com/office/drawing/2014/main" id="{1636B3AF-805E-47AE-A8D7-5BB158F6DD33}"/>
                  </a:ext>
                </a:extLst>
              </p:cNvPr>
              <p:cNvSpPr txBox="1"/>
              <p:nvPr/>
            </p:nvSpPr>
            <p:spPr bwMode="auto">
              <a:xfrm>
                <a:off x="9846619" y="2343045"/>
                <a:ext cx="348792" cy="307777"/>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700">
                    <a:solidFill>
                      <a:srgbClr val="E0E0E0"/>
                    </a:solidFill>
                  </a:rPr>
                  <a:t>x</a:t>
                </a:r>
              </a:p>
            </p:txBody>
          </p:sp>
        </p:grpSp>
      </p:grpSp>
      <p:graphicFrame>
        <p:nvGraphicFramePr>
          <p:cNvPr id="72" name="Tabelle 72">
            <a:extLst>
              <a:ext uri="{FF2B5EF4-FFF2-40B4-BE49-F238E27FC236}">
                <a16:creationId xmlns:a16="http://schemas.microsoft.com/office/drawing/2014/main" id="{6FA6E251-9029-4AC3-9D85-BEC1DDEB7555}"/>
              </a:ext>
            </a:extLst>
          </p:cNvPr>
          <p:cNvGraphicFramePr>
            <a:graphicFrameLocks noGrp="1"/>
          </p:cNvGraphicFramePr>
          <p:nvPr>
            <p:extLst>
              <p:ext uri="{D42A27DB-BD31-4B8C-83A1-F6EECF244321}">
                <p14:modId xmlns:p14="http://schemas.microsoft.com/office/powerpoint/2010/main" val="2408320164"/>
              </p:ext>
            </p:extLst>
          </p:nvPr>
        </p:nvGraphicFramePr>
        <p:xfrm>
          <a:off x="732612" y="1910057"/>
          <a:ext cx="10401030" cy="155448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1142606094"/>
                    </a:ext>
                  </a:extLst>
                </a:gridCol>
                <a:gridCol w="2459132">
                  <a:extLst>
                    <a:ext uri="{9D8B030D-6E8A-4147-A177-3AD203B41FA5}">
                      <a16:colId xmlns:a16="http://schemas.microsoft.com/office/drawing/2014/main" val="2454238882"/>
                    </a:ext>
                  </a:extLst>
                </a:gridCol>
                <a:gridCol w="1170221">
                  <a:extLst>
                    <a:ext uri="{9D8B030D-6E8A-4147-A177-3AD203B41FA5}">
                      <a16:colId xmlns:a16="http://schemas.microsoft.com/office/drawing/2014/main" val="3347262779"/>
                    </a:ext>
                  </a:extLst>
                </a:gridCol>
                <a:gridCol w="208280">
                  <a:extLst>
                    <a:ext uri="{9D8B030D-6E8A-4147-A177-3AD203B41FA5}">
                      <a16:colId xmlns:a16="http://schemas.microsoft.com/office/drawing/2014/main" val="650436108"/>
                    </a:ext>
                  </a:extLst>
                </a:gridCol>
                <a:gridCol w="2487575">
                  <a:extLst>
                    <a:ext uri="{9D8B030D-6E8A-4147-A177-3AD203B41FA5}">
                      <a16:colId xmlns:a16="http://schemas.microsoft.com/office/drawing/2014/main" val="1826723229"/>
                    </a:ext>
                  </a:extLst>
                </a:gridCol>
                <a:gridCol w="1220486">
                  <a:extLst>
                    <a:ext uri="{9D8B030D-6E8A-4147-A177-3AD203B41FA5}">
                      <a16:colId xmlns:a16="http://schemas.microsoft.com/office/drawing/2014/main" val="1359968659"/>
                    </a:ext>
                  </a:extLst>
                </a:gridCol>
                <a:gridCol w="208280">
                  <a:extLst>
                    <a:ext uri="{9D8B030D-6E8A-4147-A177-3AD203B41FA5}">
                      <a16:colId xmlns:a16="http://schemas.microsoft.com/office/drawing/2014/main" val="4104566541"/>
                    </a:ext>
                  </a:extLst>
                </a:gridCol>
                <a:gridCol w="2438776">
                  <a:extLst>
                    <a:ext uri="{9D8B030D-6E8A-4147-A177-3AD203B41FA5}">
                      <a16:colId xmlns:a16="http://schemas.microsoft.com/office/drawing/2014/main" val="4061350168"/>
                    </a:ext>
                  </a:extLst>
                </a:gridCol>
              </a:tblGrid>
              <a:tr h="1503751">
                <a:tc>
                  <a:txBody>
                    <a:bodyPr/>
                    <a:lstStyle/>
                    <a:p>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de-DE" sz="1200" b="0">
                          <a:solidFill>
                            <a:schemeClr val="tx1"/>
                          </a:solidFill>
                        </a:rPr>
                        <a:t>Feature beeinflusst Geschwindigkeit bis hin zu Unterbrechung der Fahrt bei kritischem Wasserstand</a:t>
                      </a:r>
                    </a:p>
                    <a:p>
                      <a:pPr marL="171450" indent="-171450">
                        <a:buFont typeface="Arial" panose="020B0604020202020204" pitchFamily="34" charset="0"/>
                        <a:buChar char="•"/>
                      </a:pPr>
                      <a:endParaRPr lang="de-DE" sz="700" b="0">
                        <a:solidFill>
                          <a:schemeClr val="tx1"/>
                        </a:solidFill>
                      </a:endParaRPr>
                    </a:p>
                    <a:p>
                      <a:pPr marL="171450" indent="-171450">
                        <a:buFont typeface="Arial" panose="020B0604020202020204" pitchFamily="34" charset="0"/>
                        <a:buChar char="•"/>
                      </a:pPr>
                      <a:r>
                        <a:rPr lang="de-DE" sz="1200" b="0">
                          <a:solidFill>
                            <a:schemeClr val="tx1"/>
                          </a:solidFill>
                        </a:rPr>
                        <a:t>Inkludiert Einfluss von Wette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Feature beeinflusst Geschwindigkeit durch unterschiedliche technische Voraussetzungen des Schiffs, die geladene Fracht und Vorfahrtsregel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Unterscheidung in Cargo und Tanker / Gefahrgut und Kein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Werke werden zu Weihnachten / Sommer geschlossen &amp; führt zu weniger Binnenverkeh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Kombination der Feriendaten DE / N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211130"/>
                  </a:ext>
                </a:extLst>
              </a:tr>
            </a:tbl>
          </a:graphicData>
        </a:graphic>
      </p:graphicFrame>
      <p:sp>
        <p:nvSpPr>
          <p:cNvPr id="40" name="Rechteck 39">
            <a:extLst>
              <a:ext uri="{FF2B5EF4-FFF2-40B4-BE49-F238E27FC236}">
                <a16:creationId xmlns:a16="http://schemas.microsoft.com/office/drawing/2014/main" id="{55300D51-3D6C-49B5-A65A-CA25C3EEB255}"/>
              </a:ext>
            </a:extLst>
          </p:cNvPr>
          <p:cNvSpPr/>
          <p:nvPr/>
        </p:nvSpPr>
        <p:spPr>
          <a:xfrm>
            <a:off x="-16192" y="3877680"/>
            <a:ext cx="12192000" cy="669304"/>
          </a:xfrm>
          <a:prstGeom prst="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71" name="Freihandform 6">
            <a:extLst>
              <a:ext uri="{FF2B5EF4-FFF2-40B4-BE49-F238E27FC236}">
                <a16:creationId xmlns:a16="http://schemas.microsoft.com/office/drawing/2014/main" id="{0A6DF0CC-986B-4EA0-930F-A04CEA69FEB0}"/>
              </a:ext>
            </a:extLst>
          </p:cNvPr>
          <p:cNvSpPr/>
          <p:nvPr/>
        </p:nvSpPr>
        <p:spPr>
          <a:xfrm>
            <a:off x="679133" y="3724275"/>
            <a:ext cx="2880000" cy="2532362"/>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p:txBody>
      </p:sp>
      <p:sp>
        <p:nvSpPr>
          <p:cNvPr id="73" name="Freihandform 21">
            <a:extLst>
              <a:ext uri="{FF2B5EF4-FFF2-40B4-BE49-F238E27FC236}">
                <a16:creationId xmlns:a16="http://schemas.microsoft.com/office/drawing/2014/main" id="{2FEB3D59-0167-4460-8111-89F7412D0BB1}"/>
              </a:ext>
            </a:extLst>
          </p:cNvPr>
          <p:cNvSpPr/>
          <p:nvPr/>
        </p:nvSpPr>
        <p:spPr>
          <a:xfrm>
            <a:off x="4639808" y="3719326"/>
            <a:ext cx="2880000" cy="2538599"/>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mn-ea"/>
              <a:cs typeface="+mn-cs"/>
            </a:endParaRPr>
          </a:p>
        </p:txBody>
      </p:sp>
      <p:sp>
        <p:nvSpPr>
          <p:cNvPr id="74" name="Freihandform 27">
            <a:extLst>
              <a:ext uri="{FF2B5EF4-FFF2-40B4-BE49-F238E27FC236}">
                <a16:creationId xmlns:a16="http://schemas.microsoft.com/office/drawing/2014/main" id="{DA0F02D9-3C49-466A-B026-8F4CA9612C02}"/>
              </a:ext>
            </a:extLst>
          </p:cNvPr>
          <p:cNvSpPr/>
          <p:nvPr/>
        </p:nvSpPr>
        <p:spPr>
          <a:xfrm>
            <a:off x="8600483" y="3724275"/>
            <a:ext cx="2880000" cy="2532362"/>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grpSp>
        <p:nvGrpSpPr>
          <p:cNvPr id="75" name="Gruppieren 74">
            <a:extLst>
              <a:ext uri="{FF2B5EF4-FFF2-40B4-BE49-F238E27FC236}">
                <a16:creationId xmlns:a16="http://schemas.microsoft.com/office/drawing/2014/main" id="{FB7B7760-913A-4BED-B2D2-B115100188B0}"/>
              </a:ext>
            </a:extLst>
          </p:cNvPr>
          <p:cNvGrpSpPr/>
          <p:nvPr/>
        </p:nvGrpSpPr>
        <p:grpSpPr>
          <a:xfrm>
            <a:off x="4759155" y="3765610"/>
            <a:ext cx="887588" cy="872769"/>
            <a:chOff x="5304000" y="1219946"/>
            <a:chExt cx="1584000" cy="1584000"/>
          </a:xfrm>
        </p:grpSpPr>
        <p:sp>
          <p:nvSpPr>
            <p:cNvPr id="76" name="Ellipse 75">
              <a:extLst>
                <a:ext uri="{FF2B5EF4-FFF2-40B4-BE49-F238E27FC236}">
                  <a16:creationId xmlns:a16="http://schemas.microsoft.com/office/drawing/2014/main" id="{624F3BC8-E9FD-4B86-A19A-01EDDBA4B62C}"/>
                </a:ext>
              </a:extLst>
            </p:cNvPr>
            <p:cNvSpPr/>
            <p:nvPr/>
          </p:nvSpPr>
          <p:spPr>
            <a:xfrm>
              <a:off x="5304000"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77" name="Grafik 76" descr="Wasserkraft mit einfarbiger Füllung">
              <a:extLst>
                <a:ext uri="{FF2B5EF4-FFF2-40B4-BE49-F238E27FC236}">
                  <a16:creationId xmlns:a16="http://schemas.microsoft.com/office/drawing/2014/main" id="{113D4C75-EA8D-4BCC-B013-681EACB6C7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5070" y="1621016"/>
              <a:ext cx="781860" cy="781860"/>
            </a:xfrm>
            <a:prstGeom prst="rect">
              <a:avLst/>
            </a:prstGeom>
          </p:spPr>
        </p:pic>
      </p:grpSp>
      <p:grpSp>
        <p:nvGrpSpPr>
          <p:cNvPr id="78" name="Gruppieren 77">
            <a:extLst>
              <a:ext uri="{FF2B5EF4-FFF2-40B4-BE49-F238E27FC236}">
                <a16:creationId xmlns:a16="http://schemas.microsoft.com/office/drawing/2014/main" id="{77C50EC6-C2D2-45A9-ADBB-DB9D133B2035}"/>
              </a:ext>
            </a:extLst>
          </p:cNvPr>
          <p:cNvGrpSpPr/>
          <p:nvPr/>
        </p:nvGrpSpPr>
        <p:grpSpPr>
          <a:xfrm>
            <a:off x="763080" y="3767494"/>
            <a:ext cx="887588" cy="872769"/>
            <a:chOff x="1307925" y="1221830"/>
            <a:chExt cx="1584000" cy="1584000"/>
          </a:xfrm>
        </p:grpSpPr>
        <p:sp>
          <p:nvSpPr>
            <p:cNvPr id="79" name="Ellipse 78">
              <a:extLst>
                <a:ext uri="{FF2B5EF4-FFF2-40B4-BE49-F238E27FC236}">
                  <a16:creationId xmlns:a16="http://schemas.microsoft.com/office/drawing/2014/main" id="{8B802172-93B9-4CC9-A6EB-36235C126341}"/>
                </a:ext>
              </a:extLst>
            </p:cNvPr>
            <p:cNvSpPr/>
            <p:nvPr/>
          </p:nvSpPr>
          <p:spPr>
            <a:xfrm>
              <a:off x="1307925" y="1221830"/>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80" name="Grafik 79" descr="Route zwei Stecknadeln mit Weg mit einfarbiger Füllung">
              <a:extLst>
                <a:ext uri="{FF2B5EF4-FFF2-40B4-BE49-F238E27FC236}">
                  <a16:creationId xmlns:a16="http://schemas.microsoft.com/office/drawing/2014/main" id="{CAEE517D-DBBF-402D-A305-AE096593593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61665" y="1554746"/>
              <a:ext cx="914400" cy="914400"/>
            </a:xfrm>
            <a:prstGeom prst="rect">
              <a:avLst/>
            </a:prstGeom>
          </p:spPr>
        </p:pic>
      </p:grpSp>
      <p:grpSp>
        <p:nvGrpSpPr>
          <p:cNvPr id="81" name="Gruppieren 80">
            <a:extLst>
              <a:ext uri="{FF2B5EF4-FFF2-40B4-BE49-F238E27FC236}">
                <a16:creationId xmlns:a16="http://schemas.microsoft.com/office/drawing/2014/main" id="{22164109-D518-4E5C-83C9-A6D65A417458}"/>
              </a:ext>
            </a:extLst>
          </p:cNvPr>
          <p:cNvGrpSpPr/>
          <p:nvPr/>
        </p:nvGrpSpPr>
        <p:grpSpPr>
          <a:xfrm>
            <a:off x="8755230" y="3765610"/>
            <a:ext cx="887588" cy="872769"/>
            <a:chOff x="9300075" y="1219946"/>
            <a:chExt cx="1584000" cy="1584000"/>
          </a:xfrm>
        </p:grpSpPr>
        <p:sp>
          <p:nvSpPr>
            <p:cNvPr id="82" name="Ellipse 81">
              <a:extLst>
                <a:ext uri="{FF2B5EF4-FFF2-40B4-BE49-F238E27FC236}">
                  <a16:creationId xmlns:a16="http://schemas.microsoft.com/office/drawing/2014/main" id="{BBECF8F8-F3A4-424C-985E-827DF476D167}"/>
                </a:ext>
              </a:extLst>
            </p:cNvPr>
            <p:cNvSpPr/>
            <p:nvPr/>
          </p:nvSpPr>
          <p:spPr>
            <a:xfrm>
              <a:off x="9300075"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83" name="Bildplatzhalter 12" descr="Anker mit einfarbiger Füllung">
              <a:extLst>
                <a:ext uri="{FF2B5EF4-FFF2-40B4-BE49-F238E27FC236}">
                  <a16:creationId xmlns:a16="http://schemas.microsoft.com/office/drawing/2014/main" id="{5B041AD0-6E24-41EC-9C2C-EAE389E30EB1}"/>
                </a:ext>
              </a:extLst>
            </p:cNvPr>
            <p:cNvSpPr/>
            <p:nvPr/>
          </p:nvSpPr>
          <p:spPr>
            <a:xfrm>
              <a:off x="9653555" y="1554746"/>
              <a:ext cx="877039" cy="935909"/>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0E0E0"/>
            </a:solidFill>
            <a:ln w="16371" cap="flat">
              <a:noFill/>
              <a:prstDash val="solid"/>
              <a:miter/>
            </a:ln>
          </p:spPr>
          <p:txBody>
            <a:bodyPr rtlCol="0" anchor="ctr"/>
            <a:lstStyle/>
            <a:p>
              <a:endParaRPr lang="de-DE"/>
            </a:p>
          </p:txBody>
        </p:sp>
      </p:grpSp>
      <p:graphicFrame>
        <p:nvGraphicFramePr>
          <p:cNvPr id="84" name="Tabelle 72">
            <a:extLst>
              <a:ext uri="{FF2B5EF4-FFF2-40B4-BE49-F238E27FC236}">
                <a16:creationId xmlns:a16="http://schemas.microsoft.com/office/drawing/2014/main" id="{B18735E3-A1C9-4981-8DD0-8CDBBBF51ED9}"/>
              </a:ext>
            </a:extLst>
          </p:cNvPr>
          <p:cNvGraphicFramePr>
            <a:graphicFrameLocks noGrp="1"/>
          </p:cNvGraphicFramePr>
          <p:nvPr>
            <p:extLst>
              <p:ext uri="{D42A27DB-BD31-4B8C-83A1-F6EECF244321}">
                <p14:modId xmlns:p14="http://schemas.microsoft.com/office/powerpoint/2010/main" val="3148818566"/>
              </p:ext>
            </p:extLst>
          </p:nvPr>
        </p:nvGraphicFramePr>
        <p:xfrm>
          <a:off x="732612" y="4607883"/>
          <a:ext cx="10435372" cy="155448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1142606094"/>
                    </a:ext>
                  </a:extLst>
                </a:gridCol>
                <a:gridCol w="2468340">
                  <a:extLst>
                    <a:ext uri="{9D8B030D-6E8A-4147-A177-3AD203B41FA5}">
                      <a16:colId xmlns:a16="http://schemas.microsoft.com/office/drawing/2014/main" val="2454238882"/>
                    </a:ext>
                  </a:extLst>
                </a:gridCol>
                <a:gridCol w="1171213">
                  <a:extLst>
                    <a:ext uri="{9D8B030D-6E8A-4147-A177-3AD203B41FA5}">
                      <a16:colId xmlns:a16="http://schemas.microsoft.com/office/drawing/2014/main" val="3347262779"/>
                    </a:ext>
                  </a:extLst>
                </a:gridCol>
                <a:gridCol w="208280">
                  <a:extLst>
                    <a:ext uri="{9D8B030D-6E8A-4147-A177-3AD203B41FA5}">
                      <a16:colId xmlns:a16="http://schemas.microsoft.com/office/drawing/2014/main" val="650436108"/>
                    </a:ext>
                  </a:extLst>
                </a:gridCol>
                <a:gridCol w="2545525">
                  <a:extLst>
                    <a:ext uri="{9D8B030D-6E8A-4147-A177-3AD203B41FA5}">
                      <a16:colId xmlns:a16="http://schemas.microsoft.com/office/drawing/2014/main" val="1826723229"/>
                    </a:ext>
                  </a:extLst>
                </a:gridCol>
                <a:gridCol w="1070618">
                  <a:extLst>
                    <a:ext uri="{9D8B030D-6E8A-4147-A177-3AD203B41FA5}">
                      <a16:colId xmlns:a16="http://schemas.microsoft.com/office/drawing/2014/main" val="1359968659"/>
                    </a:ext>
                  </a:extLst>
                </a:gridCol>
                <a:gridCol w="208280">
                  <a:extLst>
                    <a:ext uri="{9D8B030D-6E8A-4147-A177-3AD203B41FA5}">
                      <a16:colId xmlns:a16="http://schemas.microsoft.com/office/drawing/2014/main" val="4104566541"/>
                    </a:ext>
                  </a:extLst>
                </a:gridCol>
                <a:gridCol w="2554836">
                  <a:extLst>
                    <a:ext uri="{9D8B030D-6E8A-4147-A177-3AD203B41FA5}">
                      <a16:colId xmlns:a16="http://schemas.microsoft.com/office/drawing/2014/main" val="4061350168"/>
                    </a:ext>
                  </a:extLst>
                </a:gridCol>
              </a:tblGrid>
              <a:tr h="1358758">
                <a:tc>
                  <a:txBody>
                    <a:bodyPr/>
                    <a:lstStyle/>
                    <a:p>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de-DE" sz="1200" b="0">
                          <a:solidFill>
                            <a:schemeClr val="tx1"/>
                          </a:solidFill>
                        </a:rPr>
                        <a:t>Wahl eines einheitlichen Start-/ Endpunktes</a:t>
                      </a:r>
                    </a:p>
                    <a:p>
                      <a:pPr marL="171450" indent="-171450">
                        <a:buFont typeface="Arial" panose="020B0604020202020204" pitchFamily="34" charset="0"/>
                        <a:buChar char="•"/>
                      </a:pPr>
                      <a:r>
                        <a:rPr lang="de-DE" sz="1200" b="0">
                          <a:solidFill>
                            <a:schemeClr val="tx1"/>
                          </a:solidFill>
                        </a:rPr>
                        <a:t>Flussverlauf eindimensional</a:t>
                      </a:r>
                    </a:p>
                    <a:p>
                      <a:pPr marL="171450" indent="-171450">
                        <a:buFont typeface="Arial" panose="020B0604020202020204" pitchFamily="34" charset="0"/>
                        <a:buChar char="•"/>
                      </a:pPr>
                      <a:r>
                        <a:rPr lang="de-DE" sz="1200" b="0">
                          <a:solidFill>
                            <a:schemeClr val="tx1"/>
                          </a:solidFill>
                        </a:rPr>
                        <a:t>Runden auf drei Nachkommastellen</a:t>
                      </a:r>
                    </a:p>
                    <a:p>
                      <a:pPr marL="0" indent="0">
                        <a:buFont typeface="Arial" panose="020B0604020202020204" pitchFamily="34" charset="0"/>
                        <a:buNone/>
                      </a:pPr>
                      <a:endParaRPr lang="de-DE" sz="1200" b="0">
                        <a:solidFill>
                          <a:schemeClr val="tx1"/>
                        </a:solidFill>
                      </a:endParaRPr>
                    </a:p>
                    <a:p>
                      <a:pPr marL="0" indent="0">
                        <a:buFont typeface="Arial" panose="020B0604020202020204" pitchFamily="34" charset="0"/>
                        <a:buNone/>
                      </a:pPr>
                      <a:r>
                        <a:rPr lang="de-DE" sz="1200" b="0">
                          <a:solidFill>
                            <a:schemeClr val="tx1"/>
                          </a:solidFill>
                          <a:sym typeface="Wingdings" panose="05000000000000000000" pitchFamily="2" charset="2"/>
                        </a:rPr>
                        <a:t>(!) Reduktion der Genauigkeit um +/- 85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Schleusen verursachen Wartezeiten und beeinflussen die ET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de-DE" sz="1200" b="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Anzahl der Stopps beeinflusst die E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0">
                          <a:solidFill>
                            <a:schemeClr val="tx1"/>
                          </a:solidFill>
                        </a:rPr>
                        <a:t>Es wird gestoppt, wenn </a:t>
                      </a:r>
                      <a:r>
                        <a:rPr lang="de-DE" sz="1200" b="0" err="1">
                          <a:solidFill>
                            <a:schemeClr val="tx1"/>
                          </a:solidFill>
                        </a:rPr>
                        <a:t>SpeedOverGround</a:t>
                      </a:r>
                      <a:r>
                        <a:rPr lang="de-DE" sz="1200" b="0">
                          <a:solidFill>
                            <a:schemeClr val="tx1"/>
                          </a:solidFill>
                        </a:rPr>
                        <a:t> Null entsprich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211130"/>
                  </a:ext>
                </a:extLst>
              </a:tr>
            </a:tbl>
          </a:graphicData>
        </a:graphic>
      </p:graphicFrame>
      <p:sp>
        <p:nvSpPr>
          <p:cNvPr id="85" name="Textfeld 84">
            <a:extLst>
              <a:ext uri="{FF2B5EF4-FFF2-40B4-BE49-F238E27FC236}">
                <a16:creationId xmlns:a16="http://schemas.microsoft.com/office/drawing/2014/main" id="{7A1FA9EF-D7EC-4D20-89BF-CFF2D543F190}"/>
              </a:ext>
            </a:extLst>
          </p:cNvPr>
          <p:cNvSpPr txBox="1"/>
          <p:nvPr/>
        </p:nvSpPr>
        <p:spPr bwMode="auto">
          <a:xfrm>
            <a:off x="1696073" y="1341303"/>
            <a:ext cx="1501857" cy="338554"/>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Wasserstand</a:t>
            </a:r>
            <a:endParaRPr lang="en-US" sz="1400" b="1" u="sng">
              <a:solidFill>
                <a:schemeClr val="accent3">
                  <a:lumMod val="75000"/>
                </a:schemeClr>
              </a:solidFill>
              <a:latin typeface="Helvetica Light"/>
              <a:cs typeface="Helvetica Light"/>
            </a:endParaRPr>
          </a:p>
        </p:txBody>
      </p:sp>
      <p:sp>
        <p:nvSpPr>
          <p:cNvPr id="86" name="Textfeld 85">
            <a:extLst>
              <a:ext uri="{FF2B5EF4-FFF2-40B4-BE49-F238E27FC236}">
                <a16:creationId xmlns:a16="http://schemas.microsoft.com/office/drawing/2014/main" id="{98505149-B3DF-4F61-B518-D2C97DC7A43F}"/>
              </a:ext>
            </a:extLst>
          </p:cNvPr>
          <p:cNvSpPr txBox="1"/>
          <p:nvPr/>
        </p:nvSpPr>
        <p:spPr bwMode="auto">
          <a:xfrm>
            <a:off x="5672006" y="1354617"/>
            <a:ext cx="1501857" cy="338554"/>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Schiffstyp</a:t>
            </a:r>
            <a:endParaRPr lang="en-US" sz="1400" b="1" u="sng">
              <a:solidFill>
                <a:schemeClr val="accent3">
                  <a:lumMod val="75000"/>
                </a:schemeClr>
              </a:solidFill>
              <a:latin typeface="Helvetica Light"/>
              <a:cs typeface="Helvetica Light"/>
            </a:endParaRPr>
          </a:p>
        </p:txBody>
      </p:sp>
      <p:sp>
        <p:nvSpPr>
          <p:cNvPr id="87" name="Textfeld 86">
            <a:extLst>
              <a:ext uri="{FF2B5EF4-FFF2-40B4-BE49-F238E27FC236}">
                <a16:creationId xmlns:a16="http://schemas.microsoft.com/office/drawing/2014/main" id="{6B231606-DB6A-4660-8E2D-73525ACFCAA5}"/>
              </a:ext>
            </a:extLst>
          </p:cNvPr>
          <p:cNvSpPr txBox="1"/>
          <p:nvPr/>
        </p:nvSpPr>
        <p:spPr bwMode="auto">
          <a:xfrm>
            <a:off x="9659010" y="1349502"/>
            <a:ext cx="1501857" cy="338554"/>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Ferienzeit</a:t>
            </a:r>
            <a:endParaRPr lang="en-US" sz="1400" b="1" u="sng">
              <a:solidFill>
                <a:schemeClr val="accent3">
                  <a:lumMod val="75000"/>
                </a:schemeClr>
              </a:solidFill>
              <a:latin typeface="Helvetica Light"/>
              <a:cs typeface="Helvetica Light"/>
            </a:endParaRPr>
          </a:p>
        </p:txBody>
      </p:sp>
      <p:sp>
        <p:nvSpPr>
          <p:cNvPr id="88" name="Textfeld 87">
            <a:extLst>
              <a:ext uri="{FF2B5EF4-FFF2-40B4-BE49-F238E27FC236}">
                <a16:creationId xmlns:a16="http://schemas.microsoft.com/office/drawing/2014/main" id="{7209A974-94AD-4C64-8F57-E7EC9C57AF34}"/>
              </a:ext>
            </a:extLst>
          </p:cNvPr>
          <p:cNvSpPr txBox="1"/>
          <p:nvPr/>
        </p:nvSpPr>
        <p:spPr bwMode="auto">
          <a:xfrm>
            <a:off x="1687659" y="3919944"/>
            <a:ext cx="1834483" cy="584775"/>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Verbleibende</a:t>
            </a:r>
            <a:r>
              <a:rPr lang="en-US" sz="1600" b="1" u="sng">
                <a:solidFill>
                  <a:schemeClr val="accent3">
                    <a:lumMod val="75000"/>
                  </a:schemeClr>
                </a:solidFill>
                <a:latin typeface="Helvetica Light"/>
                <a:cs typeface="Helvetica Light"/>
              </a:rPr>
              <a:t> </a:t>
            </a:r>
            <a:r>
              <a:rPr lang="en-US" sz="1600" b="1" u="sng" err="1">
                <a:solidFill>
                  <a:schemeClr val="accent3">
                    <a:lumMod val="75000"/>
                  </a:schemeClr>
                </a:solidFill>
                <a:latin typeface="Helvetica Light"/>
                <a:cs typeface="Helvetica Light"/>
              </a:rPr>
              <a:t>Strecke</a:t>
            </a:r>
            <a:endParaRPr lang="en-US" sz="1400" b="1" u="sng">
              <a:solidFill>
                <a:schemeClr val="accent3">
                  <a:lumMod val="75000"/>
                </a:schemeClr>
              </a:solidFill>
              <a:latin typeface="Helvetica Light"/>
              <a:cs typeface="Helvetica Light"/>
            </a:endParaRPr>
          </a:p>
        </p:txBody>
      </p:sp>
      <p:sp>
        <p:nvSpPr>
          <p:cNvPr id="89" name="Textfeld 88">
            <a:extLst>
              <a:ext uri="{FF2B5EF4-FFF2-40B4-BE49-F238E27FC236}">
                <a16:creationId xmlns:a16="http://schemas.microsoft.com/office/drawing/2014/main" id="{CAA5B48D-F982-4562-91EA-BA492731C93F}"/>
              </a:ext>
            </a:extLst>
          </p:cNvPr>
          <p:cNvSpPr txBox="1"/>
          <p:nvPr/>
        </p:nvSpPr>
        <p:spPr bwMode="auto">
          <a:xfrm>
            <a:off x="5662935" y="3919944"/>
            <a:ext cx="1501857" cy="584775"/>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Anzahl</a:t>
            </a:r>
            <a:r>
              <a:rPr lang="en-US" sz="1600" b="1" u="sng">
                <a:solidFill>
                  <a:schemeClr val="accent3">
                    <a:lumMod val="75000"/>
                  </a:schemeClr>
                </a:solidFill>
                <a:latin typeface="Helvetica Light"/>
                <a:cs typeface="Helvetica Light"/>
              </a:rPr>
              <a:t> der </a:t>
            </a:r>
            <a:r>
              <a:rPr lang="en-US" sz="1600" b="1" u="sng" err="1">
                <a:solidFill>
                  <a:schemeClr val="accent3">
                    <a:lumMod val="75000"/>
                  </a:schemeClr>
                </a:solidFill>
                <a:latin typeface="Helvetica Light"/>
                <a:cs typeface="Helvetica Light"/>
              </a:rPr>
              <a:t>Schleusen</a:t>
            </a:r>
            <a:endParaRPr lang="en-US" sz="1400" b="1" u="sng">
              <a:solidFill>
                <a:schemeClr val="accent3">
                  <a:lumMod val="75000"/>
                </a:schemeClr>
              </a:solidFill>
              <a:latin typeface="Helvetica Light"/>
              <a:cs typeface="Helvetica Light"/>
            </a:endParaRPr>
          </a:p>
        </p:txBody>
      </p:sp>
      <p:sp>
        <p:nvSpPr>
          <p:cNvPr id="90" name="Textfeld 89">
            <a:extLst>
              <a:ext uri="{FF2B5EF4-FFF2-40B4-BE49-F238E27FC236}">
                <a16:creationId xmlns:a16="http://schemas.microsoft.com/office/drawing/2014/main" id="{FFCD6A89-917C-4A59-8709-B6DF90A27BA4}"/>
              </a:ext>
            </a:extLst>
          </p:cNvPr>
          <p:cNvSpPr txBox="1"/>
          <p:nvPr/>
        </p:nvSpPr>
        <p:spPr bwMode="auto">
          <a:xfrm>
            <a:off x="9666252" y="4038989"/>
            <a:ext cx="1501857" cy="338554"/>
          </a:xfrm>
          <a:prstGeom prst="rect">
            <a:avLst/>
          </a:prstGeom>
          <a:noFill/>
          <a:ln w="6350">
            <a:noFill/>
            <a:prstDash val="solid"/>
            <a:miter lim="800000"/>
            <a:headEnd/>
            <a:tailEnd/>
          </a:ln>
        </p:spPr>
        <p:txBody>
          <a:bodyPr wrap="square">
            <a:spAutoFit/>
          </a:bodyPr>
          <a:lstStyle/>
          <a:p>
            <a:pPr marL="0" lvl="1">
              <a:lnSpc>
                <a:spcPct val="100000"/>
              </a:lnSpc>
            </a:pPr>
            <a:r>
              <a:rPr lang="en-US" sz="1600" b="1" u="sng" err="1">
                <a:solidFill>
                  <a:schemeClr val="accent3">
                    <a:lumMod val="75000"/>
                  </a:schemeClr>
                </a:solidFill>
                <a:latin typeface="Helvetica Light"/>
                <a:cs typeface="Helvetica Light"/>
              </a:rPr>
              <a:t>Stoppzeit</a:t>
            </a:r>
            <a:endParaRPr lang="en-US" sz="1400" b="1" u="sng">
              <a:solidFill>
                <a:schemeClr val="accent3">
                  <a:lumMod val="75000"/>
                </a:schemeClr>
              </a:solidFill>
              <a:latin typeface="Helvetica Light"/>
              <a:cs typeface="Helvetica Light"/>
            </a:endParaRPr>
          </a:p>
        </p:txBody>
      </p:sp>
      <p:sp>
        <p:nvSpPr>
          <p:cNvPr id="91" name="Freihandform 21">
            <a:extLst>
              <a:ext uri="{FF2B5EF4-FFF2-40B4-BE49-F238E27FC236}">
                <a16:creationId xmlns:a16="http://schemas.microsoft.com/office/drawing/2014/main" id="{E7413F22-0E63-4A67-A083-C34237612070}"/>
              </a:ext>
            </a:extLst>
          </p:cNvPr>
          <p:cNvSpPr/>
          <p:nvPr/>
        </p:nvSpPr>
        <p:spPr>
          <a:xfrm>
            <a:off x="-3169517" y="1910539"/>
            <a:ext cx="3042662" cy="1864737"/>
          </a:xfrm>
          <a:prstGeom prst="round2SameRect">
            <a:avLst>
              <a:gd name="adj1" fmla="val 2646"/>
              <a:gd name="adj2" fmla="val 2646"/>
            </a:avLst>
          </a:prstGeom>
          <a:solidFill>
            <a:srgbClr val="FFFF00">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R="0" lvl="0" algn="ctr" defTabSz="622300" rtl="0" eaLnBrk="1" fontAlgn="auto" latinLnBrk="0" hangingPunct="1">
              <a:lnSpc>
                <a:spcPct val="90000"/>
              </a:lnSpc>
              <a:spcBef>
                <a:spcPct val="0"/>
              </a:spcBef>
              <a:spcAft>
                <a:spcPct val="35000"/>
              </a:spcAft>
              <a:buClrTx/>
              <a:buSzTx/>
              <a:tabLst/>
              <a:defRPr/>
            </a:pPr>
            <a:r>
              <a:rPr lang="de-DE" sz="1400">
                <a:solidFill>
                  <a:prstClr val="black"/>
                </a:solidFill>
                <a:latin typeface="Helvetica Light"/>
                <a:ea typeface="Arial"/>
                <a:cs typeface="Arial" pitchFamily="34" charset="0"/>
              </a:rPr>
              <a:t>Geschwindigkeit</a:t>
            </a:r>
          </a:p>
          <a:p>
            <a:pPr marR="0" lvl="0" algn="ctr" defTabSz="622300" rtl="0" eaLnBrk="1" fontAlgn="auto" latinLnBrk="0" hangingPunct="1">
              <a:lnSpc>
                <a:spcPct val="90000"/>
              </a:lnSpc>
              <a:spcBef>
                <a:spcPct val="0"/>
              </a:spcBef>
              <a:spcAft>
                <a:spcPct val="35000"/>
              </a:spcAft>
              <a:buClrTx/>
              <a:buSzTx/>
              <a:tabLst/>
              <a:defRPr/>
            </a:pPr>
            <a:r>
              <a:rPr lang="de-DE" sz="1400">
                <a:solidFill>
                  <a:prstClr val="black"/>
                </a:solidFill>
                <a:latin typeface="Helvetica Light"/>
                <a:ea typeface="Arial"/>
                <a:cs typeface="Arial" pitchFamily="34" charset="0"/>
              </a:rPr>
              <a:t>Tiefgang </a:t>
            </a:r>
          </a:p>
          <a:p>
            <a:pPr marR="0" lvl="0" algn="ctr" defTabSz="622300" rtl="0" eaLnBrk="1" fontAlgn="auto" latinLnBrk="0" hangingPunct="1">
              <a:lnSpc>
                <a:spcPct val="90000"/>
              </a:lnSpc>
              <a:spcBef>
                <a:spcPct val="0"/>
              </a:spcBef>
              <a:spcAft>
                <a:spcPct val="35000"/>
              </a:spcAft>
              <a:buClrTx/>
              <a:buSzTx/>
              <a:tabLst/>
              <a:defRPr/>
            </a:pPr>
            <a:r>
              <a:rPr lang="de-DE" sz="1400">
                <a:solidFill>
                  <a:prstClr val="black"/>
                </a:solidFill>
                <a:latin typeface="Helvetica Light"/>
                <a:ea typeface="Arial"/>
                <a:cs typeface="Arial" pitchFamily="34" charset="0"/>
              </a:rPr>
              <a:t>ergänzen (direkt aus den Daten vom Case Study Partner gezogen </a:t>
            </a:r>
            <a:r>
              <a:rPr lang="de-DE" sz="1400">
                <a:solidFill>
                  <a:prstClr val="black"/>
                </a:solidFill>
                <a:latin typeface="Helvetica Light"/>
                <a:ea typeface="Arial"/>
                <a:cs typeface="Arial" pitchFamily="34" charset="0"/>
                <a:sym typeface="Wingdings" panose="05000000000000000000" pitchFamily="2" charset="2"/>
              </a:rPr>
              <a:t> Tonspur)</a:t>
            </a:r>
            <a:endParaRPr lang="de-DE" sz="1400">
              <a:solidFill>
                <a:prstClr val="black"/>
              </a:solidFill>
              <a:latin typeface="Helvetica Light"/>
              <a:ea typeface="Arial"/>
              <a:cs typeface="Arial" pitchFamily="34" charset="0"/>
            </a:endParaRPr>
          </a:p>
        </p:txBody>
      </p:sp>
    </p:spTree>
    <p:extLst>
      <p:ext uri="{BB962C8B-B14F-4D97-AF65-F5344CB8AC3E}">
        <p14:creationId xmlns:p14="http://schemas.microsoft.com/office/powerpoint/2010/main" val="3872513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Feature Engineering -  Deep </a:t>
            </a:r>
            <a:r>
              <a:rPr lang="de-DE" err="1"/>
              <a:t>Dive</a:t>
            </a:r>
            <a:r>
              <a:rPr lang="de-DE"/>
              <a:t> Verbleibende Strecke</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pic>
        <p:nvPicPr>
          <p:cNvPr id="1026" name="Picture 2" descr="8 Tage Rhein Tulpenkreuzfahrt ab/bis Frankfurt">
            <a:extLst>
              <a:ext uri="{FF2B5EF4-FFF2-40B4-BE49-F238E27FC236}">
                <a16:creationId xmlns:a16="http://schemas.microsoft.com/office/drawing/2014/main" id="{98C35487-33A4-4A48-9074-5C452855CA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01" t="31737" b="31268"/>
          <a:stretch/>
        </p:blipFill>
        <p:spPr bwMode="auto">
          <a:xfrm>
            <a:off x="428625" y="1120461"/>
            <a:ext cx="11455624" cy="4559121"/>
          </a:xfrm>
          <a:prstGeom prst="rect">
            <a:avLst/>
          </a:prstGeom>
          <a:noFill/>
          <a:ln>
            <a:solidFill>
              <a:schemeClr val="accent4">
                <a:lumMod val="40000"/>
                <a:lumOff val="60000"/>
              </a:schemeClr>
            </a:solidFill>
          </a:ln>
          <a:extLst>
            <a:ext uri="{909E8E84-426E-40DD-AFC4-6F175D3DCCD1}">
              <a14:hiddenFill xmlns:a14="http://schemas.microsoft.com/office/drawing/2010/main">
                <a:solidFill>
                  <a:srgbClr val="FFFFFF"/>
                </a:solidFill>
              </a14:hiddenFill>
            </a:ext>
          </a:extLst>
        </p:spPr>
      </p:pic>
      <p:sp>
        <p:nvSpPr>
          <p:cNvPr id="3" name="Freihandform 2">
            <a:extLst>
              <a:ext uri="{FF2B5EF4-FFF2-40B4-BE49-F238E27FC236}">
                <a16:creationId xmlns:a16="http://schemas.microsoft.com/office/drawing/2014/main" id="{FEC6BEAF-AF60-054B-A476-AE8DA4325CA8}"/>
              </a:ext>
            </a:extLst>
          </p:cNvPr>
          <p:cNvSpPr/>
          <p:nvPr/>
        </p:nvSpPr>
        <p:spPr>
          <a:xfrm>
            <a:off x="4778477" y="2787445"/>
            <a:ext cx="2979175" cy="2434975"/>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9175" h="2434975">
                <a:moveTo>
                  <a:pt x="0" y="0"/>
                </a:moveTo>
                <a:lnTo>
                  <a:pt x="604684" y="162233"/>
                </a:lnTo>
                <a:cubicBezTo>
                  <a:pt x="850491" y="231059"/>
                  <a:pt x="1155291" y="-2458"/>
                  <a:pt x="1356852" y="221226"/>
                </a:cubicBezTo>
                <a:cubicBezTo>
                  <a:pt x="1558413" y="444910"/>
                  <a:pt x="1654278" y="1155291"/>
                  <a:pt x="1814052" y="1504336"/>
                </a:cubicBezTo>
                <a:cubicBezTo>
                  <a:pt x="1973826" y="1853381"/>
                  <a:pt x="2121310" y="2175388"/>
                  <a:pt x="2315497" y="2315497"/>
                </a:cubicBezTo>
                <a:cubicBezTo>
                  <a:pt x="2509684" y="2455606"/>
                  <a:pt x="2751804" y="2481416"/>
                  <a:pt x="2979175" y="2344994"/>
                </a:cubicBezTo>
              </a:path>
            </a:pathLst>
          </a:custGeom>
          <a:noFill/>
          <a:ln w="57150" cap="rnd">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6" name="Gruppieren 5">
            <a:extLst>
              <a:ext uri="{FF2B5EF4-FFF2-40B4-BE49-F238E27FC236}">
                <a16:creationId xmlns:a16="http://schemas.microsoft.com/office/drawing/2014/main" id="{6C1B7015-20ED-4C9F-84C6-9C1E1BA20E03}"/>
              </a:ext>
            </a:extLst>
          </p:cNvPr>
          <p:cNvGrpSpPr/>
          <p:nvPr/>
        </p:nvGrpSpPr>
        <p:grpSpPr>
          <a:xfrm>
            <a:off x="853568" y="1218647"/>
            <a:ext cx="887588" cy="872769"/>
            <a:chOff x="1307925" y="1221830"/>
            <a:chExt cx="1584000" cy="1584000"/>
          </a:xfrm>
        </p:grpSpPr>
        <p:sp>
          <p:nvSpPr>
            <p:cNvPr id="7" name="Ellipse 6">
              <a:extLst>
                <a:ext uri="{FF2B5EF4-FFF2-40B4-BE49-F238E27FC236}">
                  <a16:creationId xmlns:a16="http://schemas.microsoft.com/office/drawing/2014/main" id="{3D3FF3FE-EF0B-418C-B873-A57FF290E2BF}"/>
                </a:ext>
              </a:extLst>
            </p:cNvPr>
            <p:cNvSpPr/>
            <p:nvPr/>
          </p:nvSpPr>
          <p:spPr>
            <a:xfrm>
              <a:off x="1307925" y="1221830"/>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8" name="Grafik 7" descr="Route zwei Stecknadeln mit Weg mit einfarbiger Füllung">
              <a:extLst>
                <a:ext uri="{FF2B5EF4-FFF2-40B4-BE49-F238E27FC236}">
                  <a16:creationId xmlns:a16="http://schemas.microsoft.com/office/drawing/2014/main" id="{011641C1-6F57-49DF-82F5-F3A0DBBF07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1665" y="1554746"/>
              <a:ext cx="914400" cy="914400"/>
            </a:xfrm>
            <a:prstGeom prst="rect">
              <a:avLst/>
            </a:prstGeom>
          </p:spPr>
        </p:pic>
      </p:grpSp>
      <mc:AlternateContent xmlns:mc="http://schemas.openxmlformats.org/markup-compatibility/2006" xmlns:p14="http://schemas.microsoft.com/office/powerpoint/2010/main">
        <mc:Choice Requires="p14">
          <p:contentPart p14:bwMode="auto" r:id="rId5">
            <p14:nvContentPartPr>
              <p14:cNvPr id="12" name="Freihand 11">
                <a:extLst>
                  <a:ext uri="{FF2B5EF4-FFF2-40B4-BE49-F238E27FC236}">
                    <a16:creationId xmlns:a16="http://schemas.microsoft.com/office/drawing/2014/main" id="{41868514-F4F3-9D4B-961D-2EF291E9D34F}"/>
                  </a:ext>
                </a:extLst>
              </p14:cNvPr>
              <p14:cNvContentPartPr/>
              <p14:nvPr/>
            </p14:nvContentPartPr>
            <p14:xfrm>
              <a:off x="4997763" y="1385447"/>
              <a:ext cx="1654920" cy="1396800"/>
            </p14:xfrm>
          </p:contentPart>
        </mc:Choice>
        <mc:Fallback xmlns="">
          <p:pic>
            <p:nvPicPr>
              <p:cNvPr id="12" name="Freihand 11">
                <a:extLst>
                  <a:ext uri="{FF2B5EF4-FFF2-40B4-BE49-F238E27FC236}">
                    <a16:creationId xmlns:a16="http://schemas.microsoft.com/office/drawing/2014/main" id="{41868514-F4F3-9D4B-961D-2EF291E9D34F}"/>
                  </a:ext>
                </a:extLst>
              </p:cNvPr>
              <p:cNvPicPr/>
              <p:nvPr/>
            </p:nvPicPr>
            <p:blipFill>
              <a:blip r:embed="rId6"/>
              <a:stretch>
                <a:fillRect/>
              </a:stretch>
            </p:blipFill>
            <p:spPr>
              <a:xfrm>
                <a:off x="4961763" y="1349438"/>
                <a:ext cx="1726560" cy="1468458"/>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Freihand 12">
                <a:extLst>
                  <a:ext uri="{FF2B5EF4-FFF2-40B4-BE49-F238E27FC236}">
                    <a16:creationId xmlns:a16="http://schemas.microsoft.com/office/drawing/2014/main" id="{9E0D15BC-C417-4D4A-887D-81ACA5A2FF08}"/>
                  </a:ext>
                </a:extLst>
              </p14:cNvPr>
              <p14:cNvContentPartPr/>
              <p14:nvPr/>
            </p14:nvContentPartPr>
            <p14:xfrm>
              <a:off x="4976163" y="2016887"/>
              <a:ext cx="140760" cy="345240"/>
            </p14:xfrm>
          </p:contentPart>
        </mc:Choice>
        <mc:Fallback xmlns="">
          <p:pic>
            <p:nvPicPr>
              <p:cNvPr id="13" name="Freihand 12">
                <a:extLst>
                  <a:ext uri="{FF2B5EF4-FFF2-40B4-BE49-F238E27FC236}">
                    <a16:creationId xmlns:a16="http://schemas.microsoft.com/office/drawing/2014/main" id="{9E0D15BC-C417-4D4A-887D-81ACA5A2FF08}"/>
                  </a:ext>
                </a:extLst>
              </p:cNvPr>
              <p:cNvPicPr/>
              <p:nvPr/>
            </p:nvPicPr>
            <p:blipFill>
              <a:blip r:embed="rId8"/>
              <a:stretch>
                <a:fillRect/>
              </a:stretch>
            </p:blipFill>
            <p:spPr>
              <a:xfrm>
                <a:off x="4940255" y="1980849"/>
                <a:ext cx="212217" cy="416955"/>
              </a:xfrm>
              <a:prstGeom prst="rect">
                <a:avLst/>
              </a:prstGeom>
            </p:spPr>
          </p:pic>
        </mc:Fallback>
      </mc:AlternateContent>
      <p:grpSp>
        <p:nvGrpSpPr>
          <p:cNvPr id="20" name="Gruppieren 19">
            <a:extLst>
              <a:ext uri="{FF2B5EF4-FFF2-40B4-BE49-F238E27FC236}">
                <a16:creationId xmlns:a16="http://schemas.microsoft.com/office/drawing/2014/main" id="{9495949F-2C68-2541-8653-CE8CD3BCD30A}"/>
              </a:ext>
            </a:extLst>
          </p:cNvPr>
          <p:cNvGrpSpPr/>
          <p:nvPr/>
        </p:nvGrpSpPr>
        <p:grpSpPr>
          <a:xfrm>
            <a:off x="3858053" y="1952920"/>
            <a:ext cx="1103760" cy="494280"/>
            <a:chOff x="3858053" y="1952920"/>
            <a:chExt cx="1103760" cy="494280"/>
          </a:xfrm>
        </p:grpSpPr>
        <mc:AlternateContent xmlns:mc="http://schemas.openxmlformats.org/markup-compatibility/2006" xmlns:p14="http://schemas.microsoft.com/office/powerpoint/2010/main">
          <mc:Choice Requires="p14">
            <p:contentPart p14:bwMode="auto" r:id="rId9">
              <p14:nvContentPartPr>
                <p14:cNvPr id="14" name="Freihand 13">
                  <a:extLst>
                    <a:ext uri="{FF2B5EF4-FFF2-40B4-BE49-F238E27FC236}">
                      <a16:creationId xmlns:a16="http://schemas.microsoft.com/office/drawing/2014/main" id="{8E3CCFC7-1884-2D44-949B-8B1512AC4848}"/>
                    </a:ext>
                  </a:extLst>
                </p14:cNvPr>
                <p14:cNvContentPartPr/>
                <p14:nvPr/>
              </p14:nvContentPartPr>
              <p14:xfrm>
                <a:off x="3858053" y="1952920"/>
                <a:ext cx="1076400" cy="494280"/>
              </p14:xfrm>
            </p:contentPart>
          </mc:Choice>
          <mc:Fallback xmlns="">
            <p:pic>
              <p:nvPicPr>
                <p:cNvPr id="14" name="Freihand 13">
                  <a:extLst>
                    <a:ext uri="{FF2B5EF4-FFF2-40B4-BE49-F238E27FC236}">
                      <a16:creationId xmlns:a16="http://schemas.microsoft.com/office/drawing/2014/main" id="{8E3CCFC7-1884-2D44-949B-8B1512AC4848}"/>
                    </a:ext>
                  </a:extLst>
                </p:cNvPr>
                <p:cNvPicPr/>
                <p:nvPr/>
              </p:nvPicPr>
              <p:blipFill>
                <a:blip r:embed="rId10"/>
                <a:stretch>
                  <a:fillRect/>
                </a:stretch>
              </p:blipFill>
              <p:spPr>
                <a:xfrm>
                  <a:off x="3822053" y="1916920"/>
                  <a:ext cx="1148040" cy="5659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Freihand 14">
                  <a:extLst>
                    <a:ext uri="{FF2B5EF4-FFF2-40B4-BE49-F238E27FC236}">
                      <a16:creationId xmlns:a16="http://schemas.microsoft.com/office/drawing/2014/main" id="{A37BAABD-758B-1644-9469-FA4DBC4E67D6}"/>
                    </a:ext>
                  </a:extLst>
                </p14:cNvPr>
                <p14:cNvContentPartPr/>
                <p14:nvPr/>
              </p14:nvContentPartPr>
              <p14:xfrm>
                <a:off x="4844813" y="2200240"/>
                <a:ext cx="42840" cy="80640"/>
              </p14:xfrm>
            </p:contentPart>
          </mc:Choice>
          <mc:Fallback xmlns="">
            <p:pic>
              <p:nvPicPr>
                <p:cNvPr id="15" name="Freihand 14">
                  <a:extLst>
                    <a:ext uri="{FF2B5EF4-FFF2-40B4-BE49-F238E27FC236}">
                      <a16:creationId xmlns:a16="http://schemas.microsoft.com/office/drawing/2014/main" id="{A37BAABD-758B-1644-9469-FA4DBC4E67D6}"/>
                    </a:ext>
                  </a:extLst>
                </p:cNvPr>
                <p:cNvPicPr/>
                <p:nvPr/>
              </p:nvPicPr>
              <p:blipFill>
                <a:blip r:embed="rId12"/>
                <a:stretch>
                  <a:fillRect/>
                </a:stretch>
              </p:blipFill>
              <p:spPr>
                <a:xfrm>
                  <a:off x="4808813" y="2164240"/>
                  <a:ext cx="11448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7" name="Freihand 16">
                  <a:extLst>
                    <a:ext uri="{FF2B5EF4-FFF2-40B4-BE49-F238E27FC236}">
                      <a16:creationId xmlns:a16="http://schemas.microsoft.com/office/drawing/2014/main" id="{8C1B78F9-0EB3-CB43-B39F-1BFB1374D621}"/>
                    </a:ext>
                  </a:extLst>
                </p14:cNvPr>
                <p14:cNvContentPartPr/>
                <p14:nvPr/>
              </p14:nvContentPartPr>
              <p14:xfrm>
                <a:off x="4943813" y="2086840"/>
                <a:ext cx="360" cy="360"/>
              </p14:xfrm>
            </p:contentPart>
          </mc:Choice>
          <mc:Fallback xmlns="">
            <p:pic>
              <p:nvPicPr>
                <p:cNvPr id="17" name="Freihand 16">
                  <a:extLst>
                    <a:ext uri="{FF2B5EF4-FFF2-40B4-BE49-F238E27FC236}">
                      <a16:creationId xmlns:a16="http://schemas.microsoft.com/office/drawing/2014/main" id="{8C1B78F9-0EB3-CB43-B39F-1BFB1374D621}"/>
                    </a:ext>
                  </a:extLst>
                </p:cNvPr>
                <p:cNvPicPr/>
                <p:nvPr/>
              </p:nvPicPr>
              <p:blipFill>
                <a:blip r:embed="rId14"/>
                <a:stretch>
                  <a:fillRect/>
                </a:stretch>
              </p:blipFill>
              <p:spPr>
                <a:xfrm>
                  <a:off x="4907813" y="205084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9" name="Freihand 18">
                  <a:extLst>
                    <a:ext uri="{FF2B5EF4-FFF2-40B4-BE49-F238E27FC236}">
                      <a16:creationId xmlns:a16="http://schemas.microsoft.com/office/drawing/2014/main" id="{96B15181-A63B-9844-9B9C-48EAEB61D2D1}"/>
                    </a:ext>
                  </a:extLst>
                </p14:cNvPr>
                <p14:cNvContentPartPr/>
                <p14:nvPr/>
              </p14:nvContentPartPr>
              <p14:xfrm>
                <a:off x="4961453" y="2045800"/>
                <a:ext cx="360" cy="360"/>
              </p14:xfrm>
            </p:contentPart>
          </mc:Choice>
          <mc:Fallback xmlns="">
            <p:pic>
              <p:nvPicPr>
                <p:cNvPr id="19" name="Freihand 18">
                  <a:extLst>
                    <a:ext uri="{FF2B5EF4-FFF2-40B4-BE49-F238E27FC236}">
                      <a16:creationId xmlns:a16="http://schemas.microsoft.com/office/drawing/2014/main" id="{96B15181-A63B-9844-9B9C-48EAEB61D2D1}"/>
                    </a:ext>
                  </a:extLst>
                </p:cNvPr>
                <p:cNvPicPr/>
                <p:nvPr/>
              </p:nvPicPr>
              <p:blipFill>
                <a:blip r:embed="rId14"/>
                <a:stretch>
                  <a:fillRect/>
                </a:stretch>
              </p:blipFill>
              <p:spPr>
                <a:xfrm>
                  <a:off x="4925453" y="2009800"/>
                  <a:ext cx="72000" cy="72000"/>
                </a:xfrm>
                <a:prstGeom prst="rect">
                  <a:avLst/>
                </a:prstGeom>
              </p:spPr>
            </p:pic>
          </mc:Fallback>
        </mc:AlternateContent>
      </p:grpSp>
      <p:grpSp>
        <p:nvGrpSpPr>
          <p:cNvPr id="34" name="Gruppieren 33">
            <a:extLst>
              <a:ext uri="{FF2B5EF4-FFF2-40B4-BE49-F238E27FC236}">
                <a16:creationId xmlns:a16="http://schemas.microsoft.com/office/drawing/2014/main" id="{D55C6E8A-62DA-E44D-9742-470FF875A897}"/>
              </a:ext>
            </a:extLst>
          </p:cNvPr>
          <p:cNvGrpSpPr/>
          <p:nvPr/>
        </p:nvGrpSpPr>
        <p:grpSpPr>
          <a:xfrm>
            <a:off x="5174500" y="3079800"/>
            <a:ext cx="977760" cy="383040"/>
            <a:chOff x="5174500" y="3079800"/>
            <a:chExt cx="977760" cy="383040"/>
          </a:xfrm>
        </p:grpSpPr>
        <mc:AlternateContent xmlns:mc="http://schemas.openxmlformats.org/markup-compatibility/2006" xmlns:p14="http://schemas.microsoft.com/office/powerpoint/2010/main">
          <mc:Choice Requires="p14">
            <p:contentPart p14:bwMode="auto" r:id="rId16">
              <p14:nvContentPartPr>
                <p14:cNvPr id="21" name="Freihand 20">
                  <a:extLst>
                    <a:ext uri="{FF2B5EF4-FFF2-40B4-BE49-F238E27FC236}">
                      <a16:creationId xmlns:a16="http://schemas.microsoft.com/office/drawing/2014/main" id="{1F05D336-C358-4743-BB9B-12FB1D60B45B}"/>
                    </a:ext>
                  </a:extLst>
                </p14:cNvPr>
                <p14:cNvContentPartPr/>
                <p14:nvPr/>
              </p14:nvContentPartPr>
              <p14:xfrm>
                <a:off x="5195740" y="3079800"/>
                <a:ext cx="681120" cy="383040"/>
              </p14:xfrm>
            </p:contentPart>
          </mc:Choice>
          <mc:Fallback xmlns="">
            <p:pic>
              <p:nvPicPr>
                <p:cNvPr id="21" name="Freihand 20">
                  <a:extLst>
                    <a:ext uri="{FF2B5EF4-FFF2-40B4-BE49-F238E27FC236}">
                      <a16:creationId xmlns:a16="http://schemas.microsoft.com/office/drawing/2014/main" id="{1F05D336-C358-4743-BB9B-12FB1D60B45B}"/>
                    </a:ext>
                  </a:extLst>
                </p:cNvPr>
                <p:cNvPicPr/>
                <p:nvPr/>
              </p:nvPicPr>
              <p:blipFill>
                <a:blip r:embed="rId17"/>
                <a:stretch>
                  <a:fillRect/>
                </a:stretch>
              </p:blipFill>
              <p:spPr>
                <a:xfrm>
                  <a:off x="5159740" y="3043834"/>
                  <a:ext cx="752760" cy="454613"/>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2" name="Freihand 21">
                  <a:extLst>
                    <a:ext uri="{FF2B5EF4-FFF2-40B4-BE49-F238E27FC236}">
                      <a16:creationId xmlns:a16="http://schemas.microsoft.com/office/drawing/2014/main" id="{87634838-265E-1A4E-82BE-D07721882BC3}"/>
                    </a:ext>
                  </a:extLst>
                </p14:cNvPr>
                <p14:cNvContentPartPr/>
                <p14:nvPr/>
              </p14:nvContentPartPr>
              <p14:xfrm>
                <a:off x="5298340" y="3386520"/>
                <a:ext cx="360" cy="360"/>
              </p14:xfrm>
            </p:contentPart>
          </mc:Choice>
          <mc:Fallback xmlns="">
            <p:pic>
              <p:nvPicPr>
                <p:cNvPr id="22" name="Freihand 21">
                  <a:extLst>
                    <a:ext uri="{FF2B5EF4-FFF2-40B4-BE49-F238E27FC236}">
                      <a16:creationId xmlns:a16="http://schemas.microsoft.com/office/drawing/2014/main" id="{87634838-265E-1A4E-82BE-D07721882BC3}"/>
                    </a:ext>
                  </a:extLst>
                </p:cNvPr>
                <p:cNvPicPr/>
                <p:nvPr/>
              </p:nvPicPr>
              <p:blipFill>
                <a:blip r:embed="rId19"/>
                <a:stretch>
                  <a:fillRect/>
                </a:stretch>
              </p:blipFill>
              <p:spPr>
                <a:xfrm>
                  <a:off x="5262340" y="335052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3" name="Freihand 22">
                  <a:extLst>
                    <a:ext uri="{FF2B5EF4-FFF2-40B4-BE49-F238E27FC236}">
                      <a16:creationId xmlns:a16="http://schemas.microsoft.com/office/drawing/2014/main" id="{EC3FE417-66F1-8242-B5C1-CD604BA7BD51}"/>
                    </a:ext>
                  </a:extLst>
                </p14:cNvPr>
                <p14:cNvContentPartPr/>
                <p14:nvPr/>
              </p14:nvContentPartPr>
              <p14:xfrm>
                <a:off x="5395900" y="3382920"/>
                <a:ext cx="360" cy="360"/>
              </p14:xfrm>
            </p:contentPart>
          </mc:Choice>
          <mc:Fallback xmlns="">
            <p:pic>
              <p:nvPicPr>
                <p:cNvPr id="23" name="Freihand 22">
                  <a:extLst>
                    <a:ext uri="{FF2B5EF4-FFF2-40B4-BE49-F238E27FC236}">
                      <a16:creationId xmlns:a16="http://schemas.microsoft.com/office/drawing/2014/main" id="{EC3FE417-66F1-8242-B5C1-CD604BA7BD51}"/>
                    </a:ext>
                  </a:extLst>
                </p:cNvPr>
                <p:cNvPicPr/>
                <p:nvPr/>
              </p:nvPicPr>
              <p:blipFill>
                <a:blip r:embed="rId19"/>
                <a:stretch>
                  <a:fillRect/>
                </a:stretch>
              </p:blipFill>
              <p:spPr>
                <a:xfrm>
                  <a:off x="5359900" y="334692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4" name="Freihand 23">
                  <a:extLst>
                    <a:ext uri="{FF2B5EF4-FFF2-40B4-BE49-F238E27FC236}">
                      <a16:creationId xmlns:a16="http://schemas.microsoft.com/office/drawing/2014/main" id="{04021178-AC40-CA40-BD80-F3108075F23C}"/>
                    </a:ext>
                  </a:extLst>
                </p14:cNvPr>
                <p14:cNvContentPartPr/>
                <p14:nvPr/>
              </p14:nvContentPartPr>
              <p14:xfrm>
                <a:off x="5427220" y="3382920"/>
                <a:ext cx="360" cy="360"/>
              </p14:xfrm>
            </p:contentPart>
          </mc:Choice>
          <mc:Fallback xmlns="">
            <p:pic>
              <p:nvPicPr>
                <p:cNvPr id="24" name="Freihand 23">
                  <a:extLst>
                    <a:ext uri="{FF2B5EF4-FFF2-40B4-BE49-F238E27FC236}">
                      <a16:creationId xmlns:a16="http://schemas.microsoft.com/office/drawing/2014/main" id="{04021178-AC40-CA40-BD80-F3108075F23C}"/>
                    </a:ext>
                  </a:extLst>
                </p:cNvPr>
                <p:cNvPicPr/>
                <p:nvPr/>
              </p:nvPicPr>
              <p:blipFill>
                <a:blip r:embed="rId19"/>
                <a:stretch>
                  <a:fillRect/>
                </a:stretch>
              </p:blipFill>
              <p:spPr>
                <a:xfrm>
                  <a:off x="5391220" y="334692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6" name="Freihand 25">
                  <a:extLst>
                    <a:ext uri="{FF2B5EF4-FFF2-40B4-BE49-F238E27FC236}">
                      <a16:creationId xmlns:a16="http://schemas.microsoft.com/office/drawing/2014/main" id="{7BC6AA83-08A9-B945-A077-6D82B94106EA}"/>
                    </a:ext>
                  </a:extLst>
                </p14:cNvPr>
                <p14:cNvContentPartPr/>
                <p14:nvPr/>
              </p14:nvContentPartPr>
              <p14:xfrm>
                <a:off x="5897740" y="3356280"/>
                <a:ext cx="1440" cy="78480"/>
              </p14:xfrm>
            </p:contentPart>
          </mc:Choice>
          <mc:Fallback xmlns="">
            <p:pic>
              <p:nvPicPr>
                <p:cNvPr id="26" name="Freihand 25">
                  <a:extLst>
                    <a:ext uri="{FF2B5EF4-FFF2-40B4-BE49-F238E27FC236}">
                      <a16:creationId xmlns:a16="http://schemas.microsoft.com/office/drawing/2014/main" id="{7BC6AA83-08A9-B945-A077-6D82B94106EA}"/>
                    </a:ext>
                  </a:extLst>
                </p:cNvPr>
                <p:cNvPicPr/>
                <p:nvPr/>
              </p:nvPicPr>
              <p:blipFill>
                <a:blip r:embed="rId23"/>
                <a:stretch>
                  <a:fillRect/>
                </a:stretch>
              </p:blipFill>
              <p:spPr>
                <a:xfrm>
                  <a:off x="5868940" y="3320280"/>
                  <a:ext cx="58752" cy="1501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7" name="Freihand 26">
                  <a:extLst>
                    <a:ext uri="{FF2B5EF4-FFF2-40B4-BE49-F238E27FC236}">
                      <a16:creationId xmlns:a16="http://schemas.microsoft.com/office/drawing/2014/main" id="{2851A233-DC0E-FF45-B75A-3A010BCD4866}"/>
                    </a:ext>
                  </a:extLst>
                </p14:cNvPr>
                <p14:cNvContentPartPr/>
                <p14:nvPr/>
              </p14:nvContentPartPr>
              <p14:xfrm>
                <a:off x="5970460" y="3346200"/>
                <a:ext cx="15480" cy="65520"/>
              </p14:xfrm>
            </p:contentPart>
          </mc:Choice>
          <mc:Fallback xmlns="">
            <p:pic>
              <p:nvPicPr>
                <p:cNvPr id="27" name="Freihand 26">
                  <a:extLst>
                    <a:ext uri="{FF2B5EF4-FFF2-40B4-BE49-F238E27FC236}">
                      <a16:creationId xmlns:a16="http://schemas.microsoft.com/office/drawing/2014/main" id="{2851A233-DC0E-FF45-B75A-3A010BCD4866}"/>
                    </a:ext>
                  </a:extLst>
                </p:cNvPr>
                <p:cNvPicPr/>
                <p:nvPr/>
              </p:nvPicPr>
              <p:blipFill>
                <a:blip r:embed="rId25"/>
                <a:stretch>
                  <a:fillRect/>
                </a:stretch>
              </p:blipFill>
              <p:spPr>
                <a:xfrm>
                  <a:off x="5934460" y="3310200"/>
                  <a:ext cx="87120" cy="137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9" name="Freihand 28">
                  <a:extLst>
                    <a:ext uri="{FF2B5EF4-FFF2-40B4-BE49-F238E27FC236}">
                      <a16:creationId xmlns:a16="http://schemas.microsoft.com/office/drawing/2014/main" id="{229AACD0-3BD3-2F43-9427-78702F793782}"/>
                    </a:ext>
                  </a:extLst>
                </p14:cNvPr>
                <p14:cNvContentPartPr/>
                <p14:nvPr/>
              </p14:nvContentPartPr>
              <p14:xfrm>
                <a:off x="6060100" y="3198240"/>
                <a:ext cx="92160" cy="209880"/>
              </p14:xfrm>
            </p:contentPart>
          </mc:Choice>
          <mc:Fallback xmlns="">
            <p:pic>
              <p:nvPicPr>
                <p:cNvPr id="29" name="Freihand 28">
                  <a:extLst>
                    <a:ext uri="{FF2B5EF4-FFF2-40B4-BE49-F238E27FC236}">
                      <a16:creationId xmlns:a16="http://schemas.microsoft.com/office/drawing/2014/main" id="{229AACD0-3BD3-2F43-9427-78702F793782}"/>
                    </a:ext>
                  </a:extLst>
                </p:cNvPr>
                <p:cNvPicPr/>
                <p:nvPr/>
              </p:nvPicPr>
              <p:blipFill>
                <a:blip r:embed="rId27"/>
                <a:stretch>
                  <a:fillRect/>
                </a:stretch>
              </p:blipFill>
              <p:spPr>
                <a:xfrm>
                  <a:off x="6024100" y="3162240"/>
                  <a:ext cx="163800" cy="2815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1" name="Freihand 30">
                  <a:extLst>
                    <a:ext uri="{FF2B5EF4-FFF2-40B4-BE49-F238E27FC236}">
                      <a16:creationId xmlns:a16="http://schemas.microsoft.com/office/drawing/2014/main" id="{B25E24E8-15BC-1C47-BA8B-236FD702F866}"/>
                    </a:ext>
                  </a:extLst>
                </p14:cNvPr>
                <p14:cNvContentPartPr/>
                <p14:nvPr/>
              </p14:nvContentPartPr>
              <p14:xfrm>
                <a:off x="5215540" y="3320280"/>
                <a:ext cx="360" cy="360"/>
              </p14:xfrm>
            </p:contentPart>
          </mc:Choice>
          <mc:Fallback xmlns="">
            <p:pic>
              <p:nvPicPr>
                <p:cNvPr id="31" name="Freihand 30">
                  <a:extLst>
                    <a:ext uri="{FF2B5EF4-FFF2-40B4-BE49-F238E27FC236}">
                      <a16:creationId xmlns:a16="http://schemas.microsoft.com/office/drawing/2014/main" id="{B25E24E8-15BC-1C47-BA8B-236FD702F866}"/>
                    </a:ext>
                  </a:extLst>
                </p:cNvPr>
                <p:cNvPicPr/>
                <p:nvPr/>
              </p:nvPicPr>
              <p:blipFill>
                <a:blip r:embed="rId19"/>
                <a:stretch>
                  <a:fillRect/>
                </a:stretch>
              </p:blipFill>
              <p:spPr>
                <a:xfrm>
                  <a:off x="5179540" y="328428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3" name="Freihand 32">
                  <a:extLst>
                    <a:ext uri="{FF2B5EF4-FFF2-40B4-BE49-F238E27FC236}">
                      <a16:creationId xmlns:a16="http://schemas.microsoft.com/office/drawing/2014/main" id="{A9D3ACE4-F26E-764F-8DCA-48C81AC558F8}"/>
                    </a:ext>
                  </a:extLst>
                </p14:cNvPr>
                <p14:cNvContentPartPr/>
                <p14:nvPr/>
              </p14:nvContentPartPr>
              <p14:xfrm>
                <a:off x="5174500" y="3411360"/>
                <a:ext cx="360" cy="360"/>
              </p14:xfrm>
            </p:contentPart>
          </mc:Choice>
          <mc:Fallback xmlns="">
            <p:pic>
              <p:nvPicPr>
                <p:cNvPr id="33" name="Freihand 32">
                  <a:extLst>
                    <a:ext uri="{FF2B5EF4-FFF2-40B4-BE49-F238E27FC236}">
                      <a16:creationId xmlns:a16="http://schemas.microsoft.com/office/drawing/2014/main" id="{A9D3ACE4-F26E-764F-8DCA-48C81AC558F8}"/>
                    </a:ext>
                  </a:extLst>
                </p:cNvPr>
                <p:cNvPicPr/>
                <p:nvPr/>
              </p:nvPicPr>
              <p:blipFill>
                <a:blip r:embed="rId19"/>
                <a:stretch>
                  <a:fillRect/>
                </a:stretch>
              </p:blipFill>
              <p:spPr>
                <a:xfrm>
                  <a:off x="5138500" y="3375360"/>
                  <a:ext cx="72000" cy="7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0">
            <p14:nvContentPartPr>
              <p14:cNvPr id="35" name="Freihand 34">
                <a:extLst>
                  <a:ext uri="{FF2B5EF4-FFF2-40B4-BE49-F238E27FC236}">
                    <a16:creationId xmlns:a16="http://schemas.microsoft.com/office/drawing/2014/main" id="{0B1652DC-BE3B-9A49-9629-6FEFC484EF3B}"/>
                  </a:ext>
                </a:extLst>
              </p14:cNvPr>
              <p14:cNvContentPartPr/>
              <p14:nvPr/>
            </p14:nvContentPartPr>
            <p14:xfrm>
              <a:off x="6539533" y="3578760"/>
              <a:ext cx="1047240" cy="165960"/>
            </p14:xfrm>
          </p:contentPart>
        </mc:Choice>
        <mc:Fallback xmlns="">
          <p:pic>
            <p:nvPicPr>
              <p:cNvPr id="35" name="Freihand 34">
                <a:extLst>
                  <a:ext uri="{FF2B5EF4-FFF2-40B4-BE49-F238E27FC236}">
                    <a16:creationId xmlns:a16="http://schemas.microsoft.com/office/drawing/2014/main" id="{0B1652DC-BE3B-9A49-9629-6FEFC484EF3B}"/>
                  </a:ext>
                </a:extLst>
              </p:cNvPr>
              <p:cNvPicPr/>
              <p:nvPr/>
            </p:nvPicPr>
            <p:blipFill>
              <a:blip r:embed="rId31"/>
              <a:stretch>
                <a:fillRect/>
              </a:stretch>
            </p:blipFill>
            <p:spPr>
              <a:xfrm>
                <a:off x="6503533" y="3542760"/>
                <a:ext cx="1118880" cy="237600"/>
              </a:xfrm>
              <a:prstGeom prst="rect">
                <a:avLst/>
              </a:prstGeom>
            </p:spPr>
          </p:pic>
        </mc:Fallback>
      </mc:AlternateContent>
      <p:grpSp>
        <p:nvGrpSpPr>
          <p:cNvPr id="38" name="Gruppieren 37">
            <a:extLst>
              <a:ext uri="{FF2B5EF4-FFF2-40B4-BE49-F238E27FC236}">
                <a16:creationId xmlns:a16="http://schemas.microsoft.com/office/drawing/2014/main" id="{2B89DE4D-4604-0748-AF6B-C5B84E76EE3E}"/>
              </a:ext>
            </a:extLst>
          </p:cNvPr>
          <p:cNvGrpSpPr/>
          <p:nvPr/>
        </p:nvGrpSpPr>
        <p:grpSpPr>
          <a:xfrm>
            <a:off x="6050653" y="4258387"/>
            <a:ext cx="414360" cy="136800"/>
            <a:chOff x="6050653" y="4258387"/>
            <a:chExt cx="414360" cy="136800"/>
          </a:xfrm>
        </p:grpSpPr>
        <mc:AlternateContent xmlns:mc="http://schemas.openxmlformats.org/markup-compatibility/2006" xmlns:p14="http://schemas.microsoft.com/office/powerpoint/2010/main">
          <mc:Choice Requires="p14">
            <p:contentPart p14:bwMode="auto" r:id="rId32">
              <p14:nvContentPartPr>
                <p14:cNvPr id="36" name="Freihand 35">
                  <a:extLst>
                    <a:ext uri="{FF2B5EF4-FFF2-40B4-BE49-F238E27FC236}">
                      <a16:creationId xmlns:a16="http://schemas.microsoft.com/office/drawing/2014/main" id="{32830487-98A9-CC41-8276-32593218163A}"/>
                    </a:ext>
                  </a:extLst>
                </p14:cNvPr>
                <p14:cNvContentPartPr/>
                <p14:nvPr/>
              </p14:nvContentPartPr>
              <p14:xfrm>
                <a:off x="6050653" y="4258387"/>
                <a:ext cx="414360" cy="103320"/>
              </p14:xfrm>
            </p:contentPart>
          </mc:Choice>
          <mc:Fallback xmlns="">
            <p:pic>
              <p:nvPicPr>
                <p:cNvPr id="36" name="Freihand 35">
                  <a:extLst>
                    <a:ext uri="{FF2B5EF4-FFF2-40B4-BE49-F238E27FC236}">
                      <a16:creationId xmlns:a16="http://schemas.microsoft.com/office/drawing/2014/main" id="{32830487-98A9-CC41-8276-32593218163A}"/>
                    </a:ext>
                  </a:extLst>
                </p:cNvPr>
                <p:cNvPicPr/>
                <p:nvPr/>
              </p:nvPicPr>
              <p:blipFill>
                <a:blip r:embed="rId33"/>
                <a:stretch>
                  <a:fillRect/>
                </a:stretch>
              </p:blipFill>
              <p:spPr>
                <a:xfrm>
                  <a:off x="6014653" y="4222261"/>
                  <a:ext cx="486000" cy="17521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37" name="Freihand 36">
                  <a:extLst>
                    <a:ext uri="{FF2B5EF4-FFF2-40B4-BE49-F238E27FC236}">
                      <a16:creationId xmlns:a16="http://schemas.microsoft.com/office/drawing/2014/main" id="{9BB740AB-188D-DF47-9E11-10D0ABC439E8}"/>
                    </a:ext>
                  </a:extLst>
                </p14:cNvPr>
                <p14:cNvContentPartPr/>
                <p14:nvPr/>
              </p14:nvContentPartPr>
              <p14:xfrm>
                <a:off x="6066853" y="4394827"/>
                <a:ext cx="360" cy="360"/>
              </p14:xfrm>
            </p:contentPart>
          </mc:Choice>
          <mc:Fallback xmlns="">
            <p:pic>
              <p:nvPicPr>
                <p:cNvPr id="37" name="Freihand 36">
                  <a:extLst>
                    <a:ext uri="{FF2B5EF4-FFF2-40B4-BE49-F238E27FC236}">
                      <a16:creationId xmlns:a16="http://schemas.microsoft.com/office/drawing/2014/main" id="{9BB740AB-188D-DF47-9E11-10D0ABC439E8}"/>
                    </a:ext>
                  </a:extLst>
                </p:cNvPr>
                <p:cNvPicPr/>
                <p:nvPr/>
              </p:nvPicPr>
              <p:blipFill>
                <a:blip r:embed="rId19"/>
                <a:stretch>
                  <a:fillRect/>
                </a:stretch>
              </p:blipFill>
              <p:spPr>
                <a:xfrm>
                  <a:off x="6030853" y="4358827"/>
                  <a:ext cx="72000" cy="7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9" name="Freihand 38">
                <a:extLst>
                  <a:ext uri="{FF2B5EF4-FFF2-40B4-BE49-F238E27FC236}">
                    <a16:creationId xmlns:a16="http://schemas.microsoft.com/office/drawing/2014/main" id="{36689371-082A-5D47-A003-450FC9638E4D}"/>
                  </a:ext>
                </a:extLst>
              </p14:cNvPr>
              <p14:cNvContentPartPr/>
              <p14:nvPr/>
            </p14:nvContentPartPr>
            <p14:xfrm>
              <a:off x="7543933" y="5283873"/>
              <a:ext cx="420120" cy="127080"/>
            </p14:xfrm>
          </p:contentPart>
        </mc:Choice>
        <mc:Fallback xmlns="">
          <p:pic>
            <p:nvPicPr>
              <p:cNvPr id="39" name="Freihand 38">
                <a:extLst>
                  <a:ext uri="{FF2B5EF4-FFF2-40B4-BE49-F238E27FC236}">
                    <a16:creationId xmlns:a16="http://schemas.microsoft.com/office/drawing/2014/main" id="{36689371-082A-5D47-A003-450FC9638E4D}"/>
                  </a:ext>
                </a:extLst>
              </p:cNvPr>
              <p:cNvPicPr/>
              <p:nvPr/>
            </p:nvPicPr>
            <p:blipFill>
              <a:blip r:embed="rId36"/>
              <a:stretch>
                <a:fillRect/>
              </a:stretch>
            </p:blipFill>
            <p:spPr>
              <a:xfrm>
                <a:off x="7507902" y="5247873"/>
                <a:ext cx="491821" cy="19872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0" name="Freihand 39">
                <a:extLst>
                  <a:ext uri="{FF2B5EF4-FFF2-40B4-BE49-F238E27FC236}">
                    <a16:creationId xmlns:a16="http://schemas.microsoft.com/office/drawing/2014/main" id="{CB1790C0-C50B-B64F-98CD-3BC08172DC1A}"/>
                  </a:ext>
                </a:extLst>
              </p14:cNvPr>
              <p14:cNvContentPartPr/>
              <p14:nvPr/>
            </p14:nvContentPartPr>
            <p14:xfrm>
              <a:off x="6440935" y="3136462"/>
              <a:ext cx="489600" cy="136440"/>
            </p14:xfrm>
          </p:contentPart>
        </mc:Choice>
        <mc:Fallback xmlns="">
          <p:pic>
            <p:nvPicPr>
              <p:cNvPr id="40" name="Freihand 39">
                <a:extLst>
                  <a:ext uri="{FF2B5EF4-FFF2-40B4-BE49-F238E27FC236}">
                    <a16:creationId xmlns:a16="http://schemas.microsoft.com/office/drawing/2014/main" id="{CB1790C0-C50B-B64F-98CD-3BC08172DC1A}"/>
                  </a:ext>
                </a:extLst>
              </p:cNvPr>
              <p:cNvPicPr/>
              <p:nvPr/>
            </p:nvPicPr>
            <p:blipFill>
              <a:blip r:embed="rId38"/>
              <a:stretch>
                <a:fillRect/>
              </a:stretch>
            </p:blipFill>
            <p:spPr>
              <a:xfrm>
                <a:off x="6404935" y="3100462"/>
                <a:ext cx="561240" cy="20808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1" name="Freihand 40">
                <a:extLst>
                  <a:ext uri="{FF2B5EF4-FFF2-40B4-BE49-F238E27FC236}">
                    <a16:creationId xmlns:a16="http://schemas.microsoft.com/office/drawing/2014/main" id="{745681C2-D37F-8046-83AA-AB62916E6CA8}"/>
                  </a:ext>
                </a:extLst>
              </p14:cNvPr>
              <p14:cNvContentPartPr/>
              <p14:nvPr/>
            </p14:nvContentPartPr>
            <p14:xfrm>
              <a:off x="5703493" y="2964404"/>
              <a:ext cx="110520" cy="52560"/>
            </p14:xfrm>
          </p:contentPart>
        </mc:Choice>
        <mc:Fallback xmlns="">
          <p:pic>
            <p:nvPicPr>
              <p:cNvPr id="41" name="Freihand 40">
                <a:extLst>
                  <a:ext uri="{FF2B5EF4-FFF2-40B4-BE49-F238E27FC236}">
                    <a16:creationId xmlns:a16="http://schemas.microsoft.com/office/drawing/2014/main" id="{745681C2-D37F-8046-83AA-AB62916E6CA8}"/>
                  </a:ext>
                </a:extLst>
              </p:cNvPr>
              <p:cNvPicPr/>
              <p:nvPr/>
            </p:nvPicPr>
            <p:blipFill>
              <a:blip r:embed="rId40"/>
              <a:stretch>
                <a:fillRect/>
              </a:stretch>
            </p:blipFill>
            <p:spPr>
              <a:xfrm>
                <a:off x="5667493" y="2928404"/>
                <a:ext cx="182160" cy="12420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42" name="Freihand 41">
                <a:extLst>
                  <a:ext uri="{FF2B5EF4-FFF2-40B4-BE49-F238E27FC236}">
                    <a16:creationId xmlns:a16="http://schemas.microsoft.com/office/drawing/2014/main" id="{A9624580-FCD4-A442-9DF1-FFA392EA867F}"/>
                  </a:ext>
                </a:extLst>
              </p14:cNvPr>
              <p14:cNvContentPartPr/>
              <p14:nvPr/>
            </p14:nvContentPartPr>
            <p14:xfrm>
              <a:off x="6310453" y="3659924"/>
              <a:ext cx="5760" cy="74520"/>
            </p14:xfrm>
          </p:contentPart>
        </mc:Choice>
        <mc:Fallback xmlns="">
          <p:pic>
            <p:nvPicPr>
              <p:cNvPr id="42" name="Freihand 41">
                <a:extLst>
                  <a:ext uri="{FF2B5EF4-FFF2-40B4-BE49-F238E27FC236}">
                    <a16:creationId xmlns:a16="http://schemas.microsoft.com/office/drawing/2014/main" id="{A9624580-FCD4-A442-9DF1-FFA392EA867F}"/>
                  </a:ext>
                </a:extLst>
              </p:cNvPr>
              <p:cNvPicPr/>
              <p:nvPr/>
            </p:nvPicPr>
            <p:blipFill>
              <a:blip r:embed="rId42"/>
              <a:stretch>
                <a:fillRect/>
              </a:stretch>
            </p:blipFill>
            <p:spPr>
              <a:xfrm>
                <a:off x="6272053" y="3623924"/>
                <a:ext cx="82176" cy="146160"/>
              </a:xfrm>
              <a:prstGeom prst="rect">
                <a:avLst/>
              </a:prstGeom>
            </p:spPr>
          </p:pic>
        </mc:Fallback>
      </mc:AlternateContent>
      <p:grpSp>
        <p:nvGrpSpPr>
          <p:cNvPr id="45" name="Gruppieren 44">
            <a:extLst>
              <a:ext uri="{FF2B5EF4-FFF2-40B4-BE49-F238E27FC236}">
                <a16:creationId xmlns:a16="http://schemas.microsoft.com/office/drawing/2014/main" id="{A07CE2D5-720A-3345-A2B6-D3A4BA877247}"/>
              </a:ext>
            </a:extLst>
          </p:cNvPr>
          <p:cNvGrpSpPr/>
          <p:nvPr/>
        </p:nvGrpSpPr>
        <p:grpSpPr>
          <a:xfrm>
            <a:off x="6516373" y="4241836"/>
            <a:ext cx="173160" cy="144360"/>
            <a:chOff x="6516373" y="4241836"/>
            <a:chExt cx="173160" cy="144360"/>
          </a:xfrm>
        </p:grpSpPr>
        <mc:AlternateContent xmlns:mc="http://schemas.openxmlformats.org/markup-compatibility/2006" xmlns:p14="http://schemas.microsoft.com/office/powerpoint/2010/main">
          <mc:Choice Requires="p14">
            <p:contentPart p14:bwMode="auto" r:id="rId43">
              <p14:nvContentPartPr>
                <p14:cNvPr id="43" name="Freihand 42">
                  <a:extLst>
                    <a:ext uri="{FF2B5EF4-FFF2-40B4-BE49-F238E27FC236}">
                      <a16:creationId xmlns:a16="http://schemas.microsoft.com/office/drawing/2014/main" id="{46C8D966-2C76-9645-9BA4-5D16BE649819}"/>
                    </a:ext>
                  </a:extLst>
                </p14:cNvPr>
                <p14:cNvContentPartPr/>
                <p14:nvPr/>
              </p14:nvContentPartPr>
              <p14:xfrm>
                <a:off x="6516373" y="4327156"/>
                <a:ext cx="50760" cy="59040"/>
              </p14:xfrm>
            </p:contentPart>
          </mc:Choice>
          <mc:Fallback xmlns="">
            <p:pic>
              <p:nvPicPr>
                <p:cNvPr id="43" name="Freihand 42">
                  <a:extLst>
                    <a:ext uri="{FF2B5EF4-FFF2-40B4-BE49-F238E27FC236}">
                      <a16:creationId xmlns:a16="http://schemas.microsoft.com/office/drawing/2014/main" id="{46C8D966-2C76-9645-9BA4-5D16BE649819}"/>
                    </a:ext>
                  </a:extLst>
                </p:cNvPr>
                <p:cNvPicPr/>
                <p:nvPr/>
              </p:nvPicPr>
              <p:blipFill>
                <a:blip r:embed="rId44"/>
                <a:stretch>
                  <a:fillRect/>
                </a:stretch>
              </p:blipFill>
              <p:spPr>
                <a:xfrm>
                  <a:off x="6480373" y="4291156"/>
                  <a:ext cx="122400" cy="13068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44" name="Freihand 43">
                  <a:extLst>
                    <a:ext uri="{FF2B5EF4-FFF2-40B4-BE49-F238E27FC236}">
                      <a16:creationId xmlns:a16="http://schemas.microsoft.com/office/drawing/2014/main" id="{D9231A78-ADE9-E947-9D4F-8A9E01F50706}"/>
                    </a:ext>
                  </a:extLst>
                </p14:cNvPr>
                <p14:cNvContentPartPr/>
                <p14:nvPr/>
              </p14:nvContentPartPr>
              <p14:xfrm>
                <a:off x="6641293" y="4241836"/>
                <a:ext cx="48240" cy="37440"/>
              </p14:xfrm>
            </p:contentPart>
          </mc:Choice>
          <mc:Fallback xmlns="">
            <p:pic>
              <p:nvPicPr>
                <p:cNvPr id="44" name="Freihand 43">
                  <a:extLst>
                    <a:ext uri="{FF2B5EF4-FFF2-40B4-BE49-F238E27FC236}">
                      <a16:creationId xmlns:a16="http://schemas.microsoft.com/office/drawing/2014/main" id="{D9231A78-ADE9-E947-9D4F-8A9E01F50706}"/>
                    </a:ext>
                  </a:extLst>
                </p:cNvPr>
                <p:cNvPicPr/>
                <p:nvPr/>
              </p:nvPicPr>
              <p:blipFill>
                <a:blip r:embed="rId46"/>
                <a:stretch>
                  <a:fillRect/>
                </a:stretch>
              </p:blipFill>
              <p:spPr>
                <a:xfrm>
                  <a:off x="6605293" y="4205836"/>
                  <a:ext cx="119880" cy="1090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47">
            <p14:nvContentPartPr>
              <p14:cNvPr id="46" name="Freihand 45">
                <a:extLst>
                  <a:ext uri="{FF2B5EF4-FFF2-40B4-BE49-F238E27FC236}">
                    <a16:creationId xmlns:a16="http://schemas.microsoft.com/office/drawing/2014/main" id="{70B6810B-C32F-FE43-A25D-E8367DC05C21}"/>
                  </a:ext>
                </a:extLst>
              </p14:cNvPr>
              <p14:cNvContentPartPr/>
              <p14:nvPr/>
            </p14:nvContentPartPr>
            <p14:xfrm>
              <a:off x="5732320" y="2880400"/>
              <a:ext cx="109440" cy="63360"/>
            </p14:xfrm>
          </p:contentPart>
        </mc:Choice>
        <mc:Fallback xmlns="">
          <p:pic>
            <p:nvPicPr>
              <p:cNvPr id="46" name="Freihand 45">
                <a:extLst>
                  <a:ext uri="{FF2B5EF4-FFF2-40B4-BE49-F238E27FC236}">
                    <a16:creationId xmlns:a16="http://schemas.microsoft.com/office/drawing/2014/main" id="{70B6810B-C32F-FE43-A25D-E8367DC05C21}"/>
                  </a:ext>
                </a:extLst>
              </p:cNvPr>
              <p:cNvPicPr/>
              <p:nvPr/>
            </p:nvPicPr>
            <p:blipFill>
              <a:blip r:embed="rId48"/>
              <a:stretch>
                <a:fillRect/>
              </a:stretch>
            </p:blipFill>
            <p:spPr>
              <a:xfrm>
                <a:off x="5723320" y="2871400"/>
                <a:ext cx="127080" cy="8100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47" name="Freihand 46">
                <a:extLst>
                  <a:ext uri="{FF2B5EF4-FFF2-40B4-BE49-F238E27FC236}">
                    <a16:creationId xmlns:a16="http://schemas.microsoft.com/office/drawing/2014/main" id="{D6C0E191-F599-384B-BDA8-4D13746DA8E5}"/>
                  </a:ext>
                </a:extLst>
              </p14:cNvPr>
              <p14:cNvContentPartPr/>
              <p14:nvPr/>
            </p14:nvContentPartPr>
            <p14:xfrm>
              <a:off x="6366650" y="3584430"/>
              <a:ext cx="67680" cy="154440"/>
            </p14:xfrm>
          </p:contentPart>
        </mc:Choice>
        <mc:Fallback xmlns="">
          <p:pic>
            <p:nvPicPr>
              <p:cNvPr id="47" name="Freihand 46">
                <a:extLst>
                  <a:ext uri="{FF2B5EF4-FFF2-40B4-BE49-F238E27FC236}">
                    <a16:creationId xmlns:a16="http://schemas.microsoft.com/office/drawing/2014/main" id="{D6C0E191-F599-384B-BDA8-4D13746DA8E5}"/>
                  </a:ext>
                </a:extLst>
              </p:cNvPr>
              <p:cNvPicPr/>
              <p:nvPr/>
            </p:nvPicPr>
            <p:blipFill>
              <a:blip r:embed="rId50"/>
              <a:stretch>
                <a:fillRect/>
              </a:stretch>
            </p:blipFill>
            <p:spPr>
              <a:xfrm>
                <a:off x="6357650" y="3575430"/>
                <a:ext cx="85320" cy="17208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48" name="Freihand 47">
                <a:extLst>
                  <a:ext uri="{FF2B5EF4-FFF2-40B4-BE49-F238E27FC236}">
                    <a16:creationId xmlns:a16="http://schemas.microsoft.com/office/drawing/2014/main" id="{E93627A0-3944-7442-A0A9-A78546E598FE}"/>
                  </a:ext>
                </a:extLst>
              </p14:cNvPr>
              <p14:cNvContentPartPr/>
              <p14:nvPr/>
            </p14:nvContentPartPr>
            <p14:xfrm>
              <a:off x="6361970" y="3646710"/>
              <a:ext cx="39960" cy="111240"/>
            </p14:xfrm>
          </p:contentPart>
        </mc:Choice>
        <mc:Fallback xmlns="">
          <p:pic>
            <p:nvPicPr>
              <p:cNvPr id="48" name="Freihand 47">
                <a:extLst>
                  <a:ext uri="{FF2B5EF4-FFF2-40B4-BE49-F238E27FC236}">
                    <a16:creationId xmlns:a16="http://schemas.microsoft.com/office/drawing/2014/main" id="{E93627A0-3944-7442-A0A9-A78546E598FE}"/>
                  </a:ext>
                </a:extLst>
              </p:cNvPr>
              <p:cNvPicPr/>
              <p:nvPr/>
            </p:nvPicPr>
            <p:blipFill>
              <a:blip r:embed="rId52"/>
              <a:stretch>
                <a:fillRect/>
              </a:stretch>
            </p:blipFill>
            <p:spPr>
              <a:xfrm>
                <a:off x="6352970" y="3637681"/>
                <a:ext cx="57600" cy="128937"/>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49" name="Freihand 48">
                <a:extLst>
                  <a:ext uri="{FF2B5EF4-FFF2-40B4-BE49-F238E27FC236}">
                    <a16:creationId xmlns:a16="http://schemas.microsoft.com/office/drawing/2014/main" id="{61266278-93D0-D94B-9A09-78612F834FCB}"/>
                  </a:ext>
                </a:extLst>
              </p14:cNvPr>
              <p14:cNvContentPartPr/>
              <p14:nvPr/>
            </p14:nvContentPartPr>
            <p14:xfrm>
              <a:off x="6548090" y="4226450"/>
              <a:ext cx="104760" cy="117000"/>
            </p14:xfrm>
          </p:contentPart>
        </mc:Choice>
        <mc:Fallback xmlns="">
          <p:pic>
            <p:nvPicPr>
              <p:cNvPr id="49" name="Freihand 48">
                <a:extLst>
                  <a:ext uri="{FF2B5EF4-FFF2-40B4-BE49-F238E27FC236}">
                    <a16:creationId xmlns:a16="http://schemas.microsoft.com/office/drawing/2014/main" id="{61266278-93D0-D94B-9A09-78612F834FCB}"/>
                  </a:ext>
                </a:extLst>
              </p:cNvPr>
              <p:cNvPicPr/>
              <p:nvPr/>
            </p:nvPicPr>
            <p:blipFill>
              <a:blip r:embed="rId54"/>
              <a:stretch>
                <a:fillRect/>
              </a:stretch>
            </p:blipFill>
            <p:spPr>
              <a:xfrm>
                <a:off x="6539121" y="4217450"/>
                <a:ext cx="122340" cy="134640"/>
              </a:xfrm>
              <a:prstGeom prst="rect">
                <a:avLst/>
              </a:prstGeom>
            </p:spPr>
          </p:pic>
        </mc:Fallback>
      </mc:AlternateContent>
    </p:spTree>
    <p:extLst>
      <p:ext uri="{BB962C8B-B14F-4D97-AF65-F5344CB8AC3E}">
        <p14:creationId xmlns:p14="http://schemas.microsoft.com/office/powerpoint/2010/main" val="3354757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ihandform 27">
            <a:extLst>
              <a:ext uri="{FF2B5EF4-FFF2-40B4-BE49-F238E27FC236}">
                <a16:creationId xmlns:a16="http://schemas.microsoft.com/office/drawing/2014/main" id="{4DCD2743-5E6E-45ED-866F-19C5BCAE9584}"/>
              </a:ext>
            </a:extLst>
          </p:cNvPr>
          <p:cNvSpPr/>
          <p:nvPr/>
        </p:nvSpPr>
        <p:spPr>
          <a:xfrm>
            <a:off x="735303" y="1118509"/>
            <a:ext cx="10799472" cy="462720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Feature Engineering -  Deep </a:t>
            </a:r>
            <a:r>
              <a:rPr lang="de-DE" err="1"/>
              <a:t>Dive</a:t>
            </a:r>
            <a:r>
              <a:rPr lang="de-DE"/>
              <a:t> Verbleibende Strecke</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3" name="Freihandform 2">
            <a:extLst>
              <a:ext uri="{FF2B5EF4-FFF2-40B4-BE49-F238E27FC236}">
                <a16:creationId xmlns:a16="http://schemas.microsoft.com/office/drawing/2014/main" id="{FEC6BEAF-AF60-054B-A476-AE8DA4325CA8}"/>
              </a:ext>
            </a:extLst>
          </p:cNvPr>
          <p:cNvSpPr/>
          <p:nvPr/>
        </p:nvSpPr>
        <p:spPr>
          <a:xfrm>
            <a:off x="2109019" y="4406646"/>
            <a:ext cx="8051979" cy="6160"/>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 name="connsiteX0" fmla="*/ 0 w 5648633"/>
              <a:gd name="connsiteY0" fmla="*/ 822125 h 2313204"/>
              <a:gd name="connsiteX1" fmla="*/ 3274142 w 5648633"/>
              <a:gd name="connsiteY1" fmla="*/ 40462 h 2313204"/>
              <a:gd name="connsiteX2" fmla="*/ 4026310 w 5648633"/>
              <a:gd name="connsiteY2" fmla="*/ 99455 h 2313204"/>
              <a:gd name="connsiteX3" fmla="*/ 4483510 w 5648633"/>
              <a:gd name="connsiteY3" fmla="*/ 1382565 h 2313204"/>
              <a:gd name="connsiteX4" fmla="*/ 4984955 w 5648633"/>
              <a:gd name="connsiteY4" fmla="*/ 2193726 h 2313204"/>
              <a:gd name="connsiteX5" fmla="*/ 5648633 w 5648633"/>
              <a:gd name="connsiteY5" fmla="*/ 2223223 h 2313204"/>
              <a:gd name="connsiteX0" fmla="*/ 0 w 5648633"/>
              <a:gd name="connsiteY0" fmla="*/ 729153 h 2220232"/>
              <a:gd name="connsiteX1" fmla="*/ 2344994 w 5648633"/>
              <a:gd name="connsiteY1" fmla="*/ 743903 h 2220232"/>
              <a:gd name="connsiteX2" fmla="*/ 4026310 w 5648633"/>
              <a:gd name="connsiteY2" fmla="*/ 6483 h 2220232"/>
              <a:gd name="connsiteX3" fmla="*/ 4483510 w 5648633"/>
              <a:gd name="connsiteY3" fmla="*/ 1289593 h 2220232"/>
              <a:gd name="connsiteX4" fmla="*/ 4984955 w 5648633"/>
              <a:gd name="connsiteY4" fmla="*/ 2100754 h 2220232"/>
              <a:gd name="connsiteX5" fmla="*/ 5648633 w 5648633"/>
              <a:gd name="connsiteY5" fmla="*/ 2130251 h 2220232"/>
              <a:gd name="connsiteX0" fmla="*/ 0 w 5648633"/>
              <a:gd name="connsiteY0" fmla="*/ 26904 h 1517983"/>
              <a:gd name="connsiteX1" fmla="*/ 2344994 w 5648633"/>
              <a:gd name="connsiteY1" fmla="*/ 41654 h 1517983"/>
              <a:gd name="connsiteX2" fmla="*/ 3613355 w 5648633"/>
              <a:gd name="connsiteY2" fmla="*/ 26905 h 1517983"/>
              <a:gd name="connsiteX3" fmla="*/ 4483510 w 5648633"/>
              <a:gd name="connsiteY3" fmla="*/ 587344 h 1517983"/>
              <a:gd name="connsiteX4" fmla="*/ 4984955 w 5648633"/>
              <a:gd name="connsiteY4" fmla="*/ 1398505 h 1517983"/>
              <a:gd name="connsiteX5" fmla="*/ 5648633 w 5648633"/>
              <a:gd name="connsiteY5" fmla="*/ 1428002 h 1517983"/>
              <a:gd name="connsiteX0" fmla="*/ 0 w 5648633"/>
              <a:gd name="connsiteY0" fmla="*/ 68922 h 1560001"/>
              <a:gd name="connsiteX1" fmla="*/ 2344994 w 5648633"/>
              <a:gd name="connsiteY1" fmla="*/ 83672 h 1560001"/>
              <a:gd name="connsiteX2" fmla="*/ 3613355 w 5648633"/>
              <a:gd name="connsiteY2" fmla="*/ 68923 h 1560001"/>
              <a:gd name="connsiteX3" fmla="*/ 5102942 w 5648633"/>
              <a:gd name="connsiteY3" fmla="*/ 113168 h 1560001"/>
              <a:gd name="connsiteX4" fmla="*/ 4984955 w 5648633"/>
              <a:gd name="connsiteY4" fmla="*/ 1440523 h 1560001"/>
              <a:gd name="connsiteX5" fmla="*/ 5648633 w 5648633"/>
              <a:gd name="connsiteY5" fmla="*/ 1470020 h 1560001"/>
              <a:gd name="connsiteX0" fmla="*/ 0 w 6335702"/>
              <a:gd name="connsiteY0" fmla="*/ 40255 h 1450808"/>
              <a:gd name="connsiteX1" fmla="*/ 2344994 w 6335702"/>
              <a:gd name="connsiteY1" fmla="*/ 55005 h 1450808"/>
              <a:gd name="connsiteX2" fmla="*/ 3613355 w 6335702"/>
              <a:gd name="connsiteY2" fmla="*/ 40256 h 1450808"/>
              <a:gd name="connsiteX3" fmla="*/ 5102942 w 6335702"/>
              <a:gd name="connsiteY3" fmla="*/ 84501 h 1450808"/>
              <a:gd name="connsiteX4" fmla="*/ 6312310 w 6335702"/>
              <a:gd name="connsiteY4" fmla="*/ 55004 h 1450808"/>
              <a:gd name="connsiteX5" fmla="*/ 5648633 w 6335702"/>
              <a:gd name="connsiteY5" fmla="*/ 1441353 h 1450808"/>
              <a:gd name="connsiteX0" fmla="*/ 0 w 7323554"/>
              <a:gd name="connsiteY0" fmla="*/ 71647 h 1472745"/>
              <a:gd name="connsiteX1" fmla="*/ 2344994 w 7323554"/>
              <a:gd name="connsiteY1" fmla="*/ 86397 h 1472745"/>
              <a:gd name="connsiteX2" fmla="*/ 3613355 w 7323554"/>
              <a:gd name="connsiteY2" fmla="*/ 71648 h 1472745"/>
              <a:gd name="connsiteX3" fmla="*/ 5102942 w 7323554"/>
              <a:gd name="connsiteY3" fmla="*/ 115893 h 1472745"/>
              <a:gd name="connsiteX4" fmla="*/ 6312310 w 7323554"/>
              <a:gd name="connsiteY4" fmla="*/ 86396 h 1472745"/>
              <a:gd name="connsiteX5" fmla="*/ 7315199 w 7323554"/>
              <a:gd name="connsiteY5" fmla="*/ 115891 h 1472745"/>
              <a:gd name="connsiteX6" fmla="*/ 5648633 w 7323554"/>
              <a:gd name="connsiteY6" fmla="*/ 1472745 h 1472745"/>
              <a:gd name="connsiteX0" fmla="*/ 0 w 8509820"/>
              <a:gd name="connsiteY0" fmla="*/ 71647 h 208632"/>
              <a:gd name="connsiteX1" fmla="*/ 2344994 w 8509820"/>
              <a:gd name="connsiteY1" fmla="*/ 86397 h 208632"/>
              <a:gd name="connsiteX2" fmla="*/ 3613355 w 8509820"/>
              <a:gd name="connsiteY2" fmla="*/ 71648 h 208632"/>
              <a:gd name="connsiteX3" fmla="*/ 5102942 w 8509820"/>
              <a:gd name="connsiteY3" fmla="*/ 115893 h 208632"/>
              <a:gd name="connsiteX4" fmla="*/ 6312310 w 8509820"/>
              <a:gd name="connsiteY4" fmla="*/ 86396 h 208632"/>
              <a:gd name="connsiteX5" fmla="*/ 7315199 w 8509820"/>
              <a:gd name="connsiteY5" fmla="*/ 115891 h 208632"/>
              <a:gd name="connsiteX6" fmla="*/ 8509820 w 8509820"/>
              <a:gd name="connsiteY6" fmla="*/ 86397 h 208632"/>
              <a:gd name="connsiteX0" fmla="*/ 0 w 8509820"/>
              <a:gd name="connsiteY0" fmla="*/ 28421 h 165406"/>
              <a:gd name="connsiteX1" fmla="*/ 2344994 w 8509820"/>
              <a:gd name="connsiteY1" fmla="*/ 43171 h 165406"/>
              <a:gd name="connsiteX2" fmla="*/ 3613355 w 8509820"/>
              <a:gd name="connsiteY2" fmla="*/ 28422 h 165406"/>
              <a:gd name="connsiteX3" fmla="*/ 5102942 w 8509820"/>
              <a:gd name="connsiteY3" fmla="*/ 72667 h 165406"/>
              <a:gd name="connsiteX4" fmla="*/ 6312310 w 8509820"/>
              <a:gd name="connsiteY4" fmla="*/ 43170 h 165406"/>
              <a:gd name="connsiteX5" fmla="*/ 7315199 w 8509820"/>
              <a:gd name="connsiteY5" fmla="*/ 72665 h 165406"/>
              <a:gd name="connsiteX6" fmla="*/ 8509820 w 8509820"/>
              <a:gd name="connsiteY6" fmla="*/ 43171 h 165406"/>
              <a:gd name="connsiteX0" fmla="*/ 0 w 8509820"/>
              <a:gd name="connsiteY0" fmla="*/ 61873 h 198858"/>
              <a:gd name="connsiteX1" fmla="*/ 2344994 w 8509820"/>
              <a:gd name="connsiteY1" fmla="*/ 76623 h 198858"/>
              <a:gd name="connsiteX2" fmla="*/ 3613355 w 8509820"/>
              <a:gd name="connsiteY2" fmla="*/ 61874 h 198858"/>
              <a:gd name="connsiteX3" fmla="*/ 5102942 w 8509820"/>
              <a:gd name="connsiteY3" fmla="*/ 106119 h 198858"/>
              <a:gd name="connsiteX4" fmla="*/ 6312310 w 8509820"/>
              <a:gd name="connsiteY4" fmla="*/ 76622 h 198858"/>
              <a:gd name="connsiteX5" fmla="*/ 7315199 w 8509820"/>
              <a:gd name="connsiteY5" fmla="*/ 106117 h 198858"/>
              <a:gd name="connsiteX6" fmla="*/ 8509820 w 8509820"/>
              <a:gd name="connsiteY6" fmla="*/ 76623 h 198858"/>
              <a:gd name="connsiteX0" fmla="*/ 0 w 8509820"/>
              <a:gd name="connsiteY0" fmla="*/ 2780 h 139765"/>
              <a:gd name="connsiteX1" fmla="*/ 2344994 w 8509820"/>
              <a:gd name="connsiteY1" fmla="*/ 17530 h 139765"/>
              <a:gd name="connsiteX2" fmla="*/ 3613355 w 8509820"/>
              <a:gd name="connsiteY2" fmla="*/ 2781 h 139765"/>
              <a:gd name="connsiteX3" fmla="*/ 5102942 w 8509820"/>
              <a:gd name="connsiteY3" fmla="*/ 47026 h 139765"/>
              <a:gd name="connsiteX4" fmla="*/ 6312310 w 8509820"/>
              <a:gd name="connsiteY4" fmla="*/ 17529 h 139765"/>
              <a:gd name="connsiteX5" fmla="*/ 7315199 w 8509820"/>
              <a:gd name="connsiteY5" fmla="*/ 47024 h 139765"/>
              <a:gd name="connsiteX6" fmla="*/ 8509820 w 8509820"/>
              <a:gd name="connsiteY6" fmla="*/ 17530 h 139765"/>
              <a:gd name="connsiteX0" fmla="*/ 0 w 8509820"/>
              <a:gd name="connsiteY0" fmla="*/ 2780 h 47143"/>
              <a:gd name="connsiteX1" fmla="*/ 2344994 w 8509820"/>
              <a:gd name="connsiteY1" fmla="*/ 17530 h 47143"/>
              <a:gd name="connsiteX2" fmla="*/ 3613355 w 8509820"/>
              <a:gd name="connsiteY2" fmla="*/ 2781 h 47143"/>
              <a:gd name="connsiteX3" fmla="*/ 5102942 w 8509820"/>
              <a:gd name="connsiteY3" fmla="*/ 47026 h 47143"/>
              <a:gd name="connsiteX4" fmla="*/ 6312310 w 8509820"/>
              <a:gd name="connsiteY4" fmla="*/ 17529 h 47143"/>
              <a:gd name="connsiteX5" fmla="*/ 7315199 w 8509820"/>
              <a:gd name="connsiteY5" fmla="*/ 47024 h 47143"/>
              <a:gd name="connsiteX6" fmla="*/ 8509820 w 8509820"/>
              <a:gd name="connsiteY6" fmla="*/ 17530 h 47143"/>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582 h 101406"/>
              <a:gd name="connsiteX1" fmla="*/ 2344994 w 8058558"/>
              <a:gd name="connsiteY1" fmla="*/ 101406 h 101406"/>
              <a:gd name="connsiteX2" fmla="*/ 3613355 w 8058558"/>
              <a:gd name="connsiteY2" fmla="*/ 1137 h 101406"/>
              <a:gd name="connsiteX3" fmla="*/ 5102942 w 8058558"/>
              <a:gd name="connsiteY3" fmla="*/ 45382 h 101406"/>
              <a:gd name="connsiteX4" fmla="*/ 6312310 w 8058558"/>
              <a:gd name="connsiteY4" fmla="*/ 15885 h 101406"/>
              <a:gd name="connsiteX5" fmla="*/ 7315199 w 8058558"/>
              <a:gd name="connsiteY5" fmla="*/ 45380 h 101406"/>
              <a:gd name="connsiteX6" fmla="*/ 8058558 w 8058558"/>
              <a:gd name="connsiteY6" fmla="*/ 51512 h 101406"/>
              <a:gd name="connsiteX0" fmla="*/ 0 w 8058558"/>
              <a:gd name="connsiteY0" fmla="*/ 17686 h 51616"/>
              <a:gd name="connsiteX1" fmla="*/ 2331837 w 8058558"/>
              <a:gd name="connsiteY1" fmla="*/ 12701 h 51616"/>
              <a:gd name="connsiteX2" fmla="*/ 3613355 w 8058558"/>
              <a:gd name="connsiteY2" fmla="*/ 1241 h 51616"/>
              <a:gd name="connsiteX3" fmla="*/ 5102942 w 8058558"/>
              <a:gd name="connsiteY3" fmla="*/ 45486 h 51616"/>
              <a:gd name="connsiteX4" fmla="*/ 6312310 w 8058558"/>
              <a:gd name="connsiteY4" fmla="*/ 15989 h 51616"/>
              <a:gd name="connsiteX5" fmla="*/ 7315199 w 8058558"/>
              <a:gd name="connsiteY5" fmla="*/ 45484 h 51616"/>
              <a:gd name="connsiteX6" fmla="*/ 8058558 w 8058558"/>
              <a:gd name="connsiteY6" fmla="*/ 51616 h 51616"/>
              <a:gd name="connsiteX0" fmla="*/ 0 w 8058558"/>
              <a:gd name="connsiteY0" fmla="*/ 4985 h 38915"/>
              <a:gd name="connsiteX1" fmla="*/ 2331837 w 8058558"/>
              <a:gd name="connsiteY1" fmla="*/ 0 h 38915"/>
              <a:gd name="connsiteX2" fmla="*/ 3610066 w 8058558"/>
              <a:gd name="connsiteY2" fmla="*/ 1696 h 38915"/>
              <a:gd name="connsiteX3" fmla="*/ 5102942 w 8058558"/>
              <a:gd name="connsiteY3" fmla="*/ 32785 h 38915"/>
              <a:gd name="connsiteX4" fmla="*/ 6312310 w 8058558"/>
              <a:gd name="connsiteY4" fmla="*/ 3288 h 38915"/>
              <a:gd name="connsiteX5" fmla="*/ 7315199 w 8058558"/>
              <a:gd name="connsiteY5" fmla="*/ 32783 h 38915"/>
              <a:gd name="connsiteX6" fmla="*/ 8058558 w 8058558"/>
              <a:gd name="connsiteY6" fmla="*/ 38915 h 38915"/>
              <a:gd name="connsiteX0" fmla="*/ 0 w 8058558"/>
              <a:gd name="connsiteY0" fmla="*/ 5092 h 39022"/>
              <a:gd name="connsiteX1" fmla="*/ 2331837 w 8058558"/>
              <a:gd name="connsiteY1" fmla="*/ 107 h 39022"/>
              <a:gd name="connsiteX2" fmla="*/ 3610066 w 8058558"/>
              <a:gd name="connsiteY2" fmla="*/ 1803 h 39022"/>
              <a:gd name="connsiteX3" fmla="*/ 5076628 w 8058558"/>
              <a:gd name="connsiteY3" fmla="*/ 0 h 39022"/>
              <a:gd name="connsiteX4" fmla="*/ 6312310 w 8058558"/>
              <a:gd name="connsiteY4" fmla="*/ 3395 h 39022"/>
              <a:gd name="connsiteX5" fmla="*/ 7315199 w 8058558"/>
              <a:gd name="connsiteY5" fmla="*/ 32890 h 39022"/>
              <a:gd name="connsiteX6" fmla="*/ 8058558 w 8058558"/>
              <a:gd name="connsiteY6" fmla="*/ 39022 h 39022"/>
              <a:gd name="connsiteX0" fmla="*/ 0 w 8058558"/>
              <a:gd name="connsiteY0" fmla="*/ 15826 h 49756"/>
              <a:gd name="connsiteX1" fmla="*/ 2331837 w 8058558"/>
              <a:gd name="connsiteY1" fmla="*/ 10841 h 49756"/>
              <a:gd name="connsiteX2" fmla="*/ 3610066 w 8058558"/>
              <a:gd name="connsiteY2" fmla="*/ 12537 h 49756"/>
              <a:gd name="connsiteX3" fmla="*/ 5076628 w 8058558"/>
              <a:gd name="connsiteY3" fmla="*/ 10734 h 49756"/>
              <a:gd name="connsiteX4" fmla="*/ 6312310 w 8058558"/>
              <a:gd name="connsiteY4" fmla="*/ 14129 h 49756"/>
              <a:gd name="connsiteX5" fmla="*/ 7308620 w 8058558"/>
              <a:gd name="connsiteY5" fmla="*/ 10732 h 49756"/>
              <a:gd name="connsiteX6" fmla="*/ 8058558 w 8058558"/>
              <a:gd name="connsiteY6" fmla="*/ 49756 h 49756"/>
              <a:gd name="connsiteX0" fmla="*/ 0 w 8058558"/>
              <a:gd name="connsiteY0" fmla="*/ 5433 h 39363"/>
              <a:gd name="connsiteX1" fmla="*/ 2331837 w 8058558"/>
              <a:gd name="connsiteY1" fmla="*/ 448 h 39363"/>
              <a:gd name="connsiteX2" fmla="*/ 3610066 w 8058558"/>
              <a:gd name="connsiteY2" fmla="*/ 2144 h 39363"/>
              <a:gd name="connsiteX3" fmla="*/ 5076628 w 8058558"/>
              <a:gd name="connsiteY3" fmla="*/ 341 h 39363"/>
              <a:gd name="connsiteX4" fmla="*/ 6312310 w 8058558"/>
              <a:gd name="connsiteY4" fmla="*/ 3736 h 39363"/>
              <a:gd name="connsiteX5" fmla="*/ 7308620 w 8058558"/>
              <a:gd name="connsiteY5" fmla="*/ 339 h 39363"/>
              <a:gd name="connsiteX6" fmla="*/ 8058558 w 8058558"/>
              <a:gd name="connsiteY6" fmla="*/ 39363 h 39363"/>
              <a:gd name="connsiteX0" fmla="*/ 0 w 8051979"/>
              <a:gd name="connsiteY0" fmla="*/ 5541 h 11150"/>
              <a:gd name="connsiteX1" fmla="*/ 2331837 w 8051979"/>
              <a:gd name="connsiteY1" fmla="*/ 556 h 11150"/>
              <a:gd name="connsiteX2" fmla="*/ 3610066 w 8051979"/>
              <a:gd name="connsiteY2" fmla="*/ 2252 h 11150"/>
              <a:gd name="connsiteX3" fmla="*/ 5076628 w 8051979"/>
              <a:gd name="connsiteY3" fmla="*/ 449 h 11150"/>
              <a:gd name="connsiteX4" fmla="*/ 6312310 w 8051979"/>
              <a:gd name="connsiteY4" fmla="*/ 3844 h 11150"/>
              <a:gd name="connsiteX5" fmla="*/ 7308620 w 8051979"/>
              <a:gd name="connsiteY5" fmla="*/ 447 h 11150"/>
              <a:gd name="connsiteX6" fmla="*/ 8051979 w 8051979"/>
              <a:gd name="connsiteY6" fmla="*/ 0 h 11150"/>
              <a:gd name="connsiteX0" fmla="*/ 0 w 8051979"/>
              <a:gd name="connsiteY0" fmla="*/ 8276 h 8767"/>
              <a:gd name="connsiteX1" fmla="*/ 2331837 w 8051979"/>
              <a:gd name="connsiteY1" fmla="*/ 3291 h 8767"/>
              <a:gd name="connsiteX2" fmla="*/ 3610066 w 8051979"/>
              <a:gd name="connsiteY2" fmla="*/ 4987 h 8767"/>
              <a:gd name="connsiteX3" fmla="*/ 5076628 w 8051979"/>
              <a:gd name="connsiteY3" fmla="*/ 3184 h 8767"/>
              <a:gd name="connsiteX4" fmla="*/ 6256394 w 8051979"/>
              <a:gd name="connsiteY4" fmla="*/ 0 h 8767"/>
              <a:gd name="connsiteX5" fmla="*/ 7308620 w 8051979"/>
              <a:gd name="connsiteY5" fmla="*/ 3182 h 8767"/>
              <a:gd name="connsiteX6" fmla="*/ 8051979 w 8051979"/>
              <a:gd name="connsiteY6" fmla="*/ 2735 h 8767"/>
              <a:gd name="connsiteX0" fmla="*/ 0 w 10000"/>
              <a:gd name="connsiteY0" fmla="*/ 6320 h 9723"/>
              <a:gd name="connsiteX1" fmla="*/ 2896 w 10000"/>
              <a:gd name="connsiteY1" fmla="*/ 634 h 9723"/>
              <a:gd name="connsiteX2" fmla="*/ 4483 w 10000"/>
              <a:gd name="connsiteY2" fmla="*/ 2568 h 9723"/>
              <a:gd name="connsiteX3" fmla="*/ 6305 w 10000"/>
              <a:gd name="connsiteY3" fmla="*/ 512 h 9723"/>
              <a:gd name="connsiteX4" fmla="*/ 7762 w 10000"/>
              <a:gd name="connsiteY4" fmla="*/ 632 h 9723"/>
              <a:gd name="connsiteX5" fmla="*/ 9077 w 10000"/>
              <a:gd name="connsiteY5" fmla="*/ 510 h 9723"/>
              <a:gd name="connsiteX6" fmla="*/ 10000 w 10000"/>
              <a:gd name="connsiteY6" fmla="*/ 0 h 9723"/>
              <a:gd name="connsiteX0" fmla="*/ 0 w 10000"/>
              <a:gd name="connsiteY0" fmla="*/ 7226 h 7227"/>
              <a:gd name="connsiteX1" fmla="*/ 2896 w 10000"/>
              <a:gd name="connsiteY1" fmla="*/ 1378 h 7227"/>
              <a:gd name="connsiteX2" fmla="*/ 4483 w 10000"/>
              <a:gd name="connsiteY2" fmla="*/ 3367 h 7227"/>
              <a:gd name="connsiteX3" fmla="*/ 6305 w 10000"/>
              <a:gd name="connsiteY3" fmla="*/ 1253 h 7227"/>
              <a:gd name="connsiteX4" fmla="*/ 7762 w 10000"/>
              <a:gd name="connsiteY4" fmla="*/ 1376 h 7227"/>
              <a:gd name="connsiteX5" fmla="*/ 9077 w 10000"/>
              <a:gd name="connsiteY5" fmla="*/ 1251 h 7227"/>
              <a:gd name="connsiteX6" fmla="*/ 10000 w 10000"/>
              <a:gd name="connsiteY6" fmla="*/ 726 h 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227">
                <a:moveTo>
                  <a:pt x="0" y="7226"/>
                </a:moveTo>
                <a:lnTo>
                  <a:pt x="2896" y="1378"/>
                </a:lnTo>
                <a:lnTo>
                  <a:pt x="4483" y="3367"/>
                </a:lnTo>
                <a:cubicBezTo>
                  <a:pt x="5090" y="2663"/>
                  <a:pt x="5759" y="1585"/>
                  <a:pt x="6305" y="1253"/>
                </a:cubicBezTo>
                <a:cubicBezTo>
                  <a:pt x="6851" y="920"/>
                  <a:pt x="7276" y="1335"/>
                  <a:pt x="7762" y="1376"/>
                </a:cubicBezTo>
                <a:cubicBezTo>
                  <a:pt x="8307" y="5151"/>
                  <a:pt x="8541" y="-2969"/>
                  <a:pt x="9077" y="1251"/>
                </a:cubicBezTo>
                <a:lnTo>
                  <a:pt x="10000" y="726"/>
                </a:lnTo>
              </a:path>
            </a:pathLst>
          </a:custGeom>
          <a:noFill/>
          <a:ln w="57150" cap="rnd">
            <a:solidFill>
              <a:srgbClr val="1E467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1D939580-E03A-BC43-971D-79E4EC95F372}"/>
              </a:ext>
            </a:extLst>
          </p:cNvPr>
          <p:cNvSpPr txBox="1"/>
          <p:nvPr/>
        </p:nvSpPr>
        <p:spPr bwMode="auto">
          <a:xfrm rot="19149454">
            <a:off x="1446835" y="4537276"/>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Frankfurt</a:t>
            </a:r>
          </a:p>
        </p:txBody>
      </p:sp>
      <p:sp>
        <p:nvSpPr>
          <p:cNvPr id="7" name="Textfeld 6">
            <a:extLst>
              <a:ext uri="{FF2B5EF4-FFF2-40B4-BE49-F238E27FC236}">
                <a16:creationId xmlns:a16="http://schemas.microsoft.com/office/drawing/2014/main" id="{62C64860-4779-6545-BCAF-356107D6ADB1}"/>
              </a:ext>
            </a:extLst>
          </p:cNvPr>
          <p:cNvSpPr txBox="1"/>
          <p:nvPr/>
        </p:nvSpPr>
        <p:spPr bwMode="auto">
          <a:xfrm rot="19149454">
            <a:off x="9643656" y="4643640"/>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Rotterdam</a:t>
            </a:r>
          </a:p>
        </p:txBody>
      </p:sp>
      <p:grpSp>
        <p:nvGrpSpPr>
          <p:cNvPr id="9" name="Gruppieren 8">
            <a:extLst>
              <a:ext uri="{FF2B5EF4-FFF2-40B4-BE49-F238E27FC236}">
                <a16:creationId xmlns:a16="http://schemas.microsoft.com/office/drawing/2014/main" id="{25DB40D1-74F1-458F-8411-A7C1928D17E3}"/>
              </a:ext>
            </a:extLst>
          </p:cNvPr>
          <p:cNvGrpSpPr/>
          <p:nvPr/>
        </p:nvGrpSpPr>
        <p:grpSpPr>
          <a:xfrm>
            <a:off x="853568" y="1218647"/>
            <a:ext cx="887588" cy="872769"/>
            <a:chOff x="1307925" y="1221830"/>
            <a:chExt cx="1584000" cy="1584000"/>
          </a:xfrm>
        </p:grpSpPr>
        <p:sp>
          <p:nvSpPr>
            <p:cNvPr id="10" name="Ellipse 9">
              <a:extLst>
                <a:ext uri="{FF2B5EF4-FFF2-40B4-BE49-F238E27FC236}">
                  <a16:creationId xmlns:a16="http://schemas.microsoft.com/office/drawing/2014/main" id="{BF48640E-2762-4E2E-ABD2-171D033BD3A3}"/>
                </a:ext>
              </a:extLst>
            </p:cNvPr>
            <p:cNvSpPr/>
            <p:nvPr/>
          </p:nvSpPr>
          <p:spPr>
            <a:xfrm>
              <a:off x="1307925" y="1221830"/>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1" name="Grafik 10" descr="Route zwei Stecknadeln mit Weg mit einfarbiger Füllung">
              <a:extLst>
                <a:ext uri="{FF2B5EF4-FFF2-40B4-BE49-F238E27FC236}">
                  <a16:creationId xmlns:a16="http://schemas.microsoft.com/office/drawing/2014/main" id="{85A45297-8A30-4E36-AEF7-3AFC2BF26DF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61665" y="1554746"/>
              <a:ext cx="914400" cy="914400"/>
            </a:xfrm>
            <a:prstGeom prst="rect">
              <a:avLst/>
            </a:prstGeom>
          </p:spPr>
        </p:pic>
      </p:grpSp>
    </p:spTree>
    <p:extLst>
      <p:ext uri="{BB962C8B-B14F-4D97-AF65-F5344CB8AC3E}">
        <p14:creationId xmlns:p14="http://schemas.microsoft.com/office/powerpoint/2010/main" val="41064958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ihandform 27">
            <a:extLst>
              <a:ext uri="{FF2B5EF4-FFF2-40B4-BE49-F238E27FC236}">
                <a16:creationId xmlns:a16="http://schemas.microsoft.com/office/drawing/2014/main" id="{B40DE4AE-5108-4CC2-AA90-AE932574A2B1}"/>
              </a:ext>
            </a:extLst>
          </p:cNvPr>
          <p:cNvSpPr/>
          <p:nvPr/>
        </p:nvSpPr>
        <p:spPr>
          <a:xfrm>
            <a:off x="735303" y="1118509"/>
            <a:ext cx="10799472" cy="462720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Feature Engineering -  Deep </a:t>
            </a:r>
            <a:r>
              <a:rPr lang="de-DE" err="1"/>
              <a:t>Dive</a:t>
            </a:r>
            <a:r>
              <a:rPr lang="de-DE"/>
              <a:t> Verbleibende Strecke</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5" name="Textfeld 4">
            <a:extLst>
              <a:ext uri="{FF2B5EF4-FFF2-40B4-BE49-F238E27FC236}">
                <a16:creationId xmlns:a16="http://schemas.microsoft.com/office/drawing/2014/main" id="{46E6E62C-89CA-3343-BEA8-C144A9B68A2B}"/>
              </a:ext>
            </a:extLst>
          </p:cNvPr>
          <p:cNvSpPr txBox="1"/>
          <p:nvPr/>
        </p:nvSpPr>
        <p:spPr bwMode="auto">
          <a:xfrm rot="19149454">
            <a:off x="1446835" y="4537276"/>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Frankfurt</a:t>
            </a:r>
          </a:p>
        </p:txBody>
      </p:sp>
      <p:sp>
        <p:nvSpPr>
          <p:cNvPr id="8" name="Textfeld 7">
            <a:extLst>
              <a:ext uri="{FF2B5EF4-FFF2-40B4-BE49-F238E27FC236}">
                <a16:creationId xmlns:a16="http://schemas.microsoft.com/office/drawing/2014/main" id="{645D7647-D865-6843-884D-635A529C482C}"/>
              </a:ext>
            </a:extLst>
          </p:cNvPr>
          <p:cNvSpPr txBox="1"/>
          <p:nvPr/>
        </p:nvSpPr>
        <p:spPr bwMode="auto">
          <a:xfrm rot="19149454">
            <a:off x="9643656" y="4643640"/>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Rotterdam</a:t>
            </a:r>
          </a:p>
        </p:txBody>
      </p:sp>
      <p:pic>
        <p:nvPicPr>
          <p:cNvPr id="9" name="Grafik 8" descr="Fracht mit einfarbiger Füllung">
            <a:extLst>
              <a:ext uri="{FF2B5EF4-FFF2-40B4-BE49-F238E27FC236}">
                <a16:creationId xmlns:a16="http://schemas.microsoft.com/office/drawing/2014/main" id="{C3265EC8-4787-AF41-AB7D-079B279627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0800" y="3882385"/>
            <a:ext cx="634537" cy="634537"/>
          </a:xfrm>
          <a:prstGeom prst="rect">
            <a:avLst/>
          </a:prstGeom>
        </p:spPr>
      </p:pic>
      <p:cxnSp>
        <p:nvCxnSpPr>
          <p:cNvPr id="11" name="Gerade Verbindung mit Pfeil 10">
            <a:extLst>
              <a:ext uri="{FF2B5EF4-FFF2-40B4-BE49-F238E27FC236}">
                <a16:creationId xmlns:a16="http://schemas.microsoft.com/office/drawing/2014/main" id="{8109FDEA-1FC4-2B4C-8449-55E5B732C9EF}"/>
              </a:ext>
            </a:extLst>
          </p:cNvPr>
          <p:cNvCxnSpPr>
            <a:cxnSpLocks/>
          </p:cNvCxnSpPr>
          <p:nvPr/>
        </p:nvCxnSpPr>
        <p:spPr>
          <a:xfrm>
            <a:off x="3517900" y="3683000"/>
            <a:ext cx="6582955" cy="0"/>
          </a:xfrm>
          <a:prstGeom prst="straightConnector1">
            <a:avLst/>
          </a:prstGeom>
          <a:ln w="15875">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feld 13">
            <a:extLst>
              <a:ext uri="{FF2B5EF4-FFF2-40B4-BE49-F238E27FC236}">
                <a16:creationId xmlns:a16="http://schemas.microsoft.com/office/drawing/2014/main" id="{859B2A38-5A0F-3141-ADCC-A87DB6F5A80E}"/>
              </a:ext>
            </a:extLst>
          </p:cNvPr>
          <p:cNvSpPr txBox="1"/>
          <p:nvPr/>
        </p:nvSpPr>
        <p:spPr bwMode="auto">
          <a:xfrm>
            <a:off x="6095999" y="3344554"/>
            <a:ext cx="1930400" cy="278123"/>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Verbleibende Strecke</a:t>
            </a:r>
          </a:p>
        </p:txBody>
      </p:sp>
      <p:grpSp>
        <p:nvGrpSpPr>
          <p:cNvPr id="12" name="Gruppieren 11">
            <a:extLst>
              <a:ext uri="{FF2B5EF4-FFF2-40B4-BE49-F238E27FC236}">
                <a16:creationId xmlns:a16="http://schemas.microsoft.com/office/drawing/2014/main" id="{0A92EC95-6F50-4459-9E67-CA50D3D8DD6C}"/>
              </a:ext>
            </a:extLst>
          </p:cNvPr>
          <p:cNvGrpSpPr/>
          <p:nvPr/>
        </p:nvGrpSpPr>
        <p:grpSpPr>
          <a:xfrm>
            <a:off x="853568" y="1218647"/>
            <a:ext cx="887588" cy="872769"/>
            <a:chOff x="1307925" y="1221830"/>
            <a:chExt cx="1584000" cy="1584000"/>
          </a:xfrm>
        </p:grpSpPr>
        <p:sp>
          <p:nvSpPr>
            <p:cNvPr id="13" name="Ellipse 12">
              <a:extLst>
                <a:ext uri="{FF2B5EF4-FFF2-40B4-BE49-F238E27FC236}">
                  <a16:creationId xmlns:a16="http://schemas.microsoft.com/office/drawing/2014/main" id="{3856E5CB-B6AF-420F-B127-9E5014B426B9}"/>
                </a:ext>
              </a:extLst>
            </p:cNvPr>
            <p:cNvSpPr/>
            <p:nvPr/>
          </p:nvSpPr>
          <p:spPr>
            <a:xfrm>
              <a:off x="1307925" y="1221830"/>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5" name="Grafik 14" descr="Route zwei Stecknadeln mit Weg mit einfarbiger Füllung">
              <a:extLst>
                <a:ext uri="{FF2B5EF4-FFF2-40B4-BE49-F238E27FC236}">
                  <a16:creationId xmlns:a16="http://schemas.microsoft.com/office/drawing/2014/main" id="{CDEB9D18-8925-47DB-950E-20A4576550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61665" y="1554746"/>
              <a:ext cx="914400" cy="914400"/>
            </a:xfrm>
            <a:prstGeom prst="rect">
              <a:avLst/>
            </a:prstGeom>
          </p:spPr>
        </p:pic>
      </p:grpSp>
      <p:sp>
        <p:nvSpPr>
          <p:cNvPr id="16" name="Freihandform 15">
            <a:extLst>
              <a:ext uri="{FF2B5EF4-FFF2-40B4-BE49-F238E27FC236}">
                <a16:creationId xmlns:a16="http://schemas.microsoft.com/office/drawing/2014/main" id="{B962BDD0-5E1C-254B-AB80-D01FF6410003}"/>
              </a:ext>
            </a:extLst>
          </p:cNvPr>
          <p:cNvSpPr/>
          <p:nvPr/>
        </p:nvSpPr>
        <p:spPr>
          <a:xfrm>
            <a:off x="2109019" y="4406646"/>
            <a:ext cx="8051979" cy="6160"/>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 name="connsiteX0" fmla="*/ 0 w 5648633"/>
              <a:gd name="connsiteY0" fmla="*/ 822125 h 2313204"/>
              <a:gd name="connsiteX1" fmla="*/ 3274142 w 5648633"/>
              <a:gd name="connsiteY1" fmla="*/ 40462 h 2313204"/>
              <a:gd name="connsiteX2" fmla="*/ 4026310 w 5648633"/>
              <a:gd name="connsiteY2" fmla="*/ 99455 h 2313204"/>
              <a:gd name="connsiteX3" fmla="*/ 4483510 w 5648633"/>
              <a:gd name="connsiteY3" fmla="*/ 1382565 h 2313204"/>
              <a:gd name="connsiteX4" fmla="*/ 4984955 w 5648633"/>
              <a:gd name="connsiteY4" fmla="*/ 2193726 h 2313204"/>
              <a:gd name="connsiteX5" fmla="*/ 5648633 w 5648633"/>
              <a:gd name="connsiteY5" fmla="*/ 2223223 h 2313204"/>
              <a:gd name="connsiteX0" fmla="*/ 0 w 5648633"/>
              <a:gd name="connsiteY0" fmla="*/ 729153 h 2220232"/>
              <a:gd name="connsiteX1" fmla="*/ 2344994 w 5648633"/>
              <a:gd name="connsiteY1" fmla="*/ 743903 h 2220232"/>
              <a:gd name="connsiteX2" fmla="*/ 4026310 w 5648633"/>
              <a:gd name="connsiteY2" fmla="*/ 6483 h 2220232"/>
              <a:gd name="connsiteX3" fmla="*/ 4483510 w 5648633"/>
              <a:gd name="connsiteY3" fmla="*/ 1289593 h 2220232"/>
              <a:gd name="connsiteX4" fmla="*/ 4984955 w 5648633"/>
              <a:gd name="connsiteY4" fmla="*/ 2100754 h 2220232"/>
              <a:gd name="connsiteX5" fmla="*/ 5648633 w 5648633"/>
              <a:gd name="connsiteY5" fmla="*/ 2130251 h 2220232"/>
              <a:gd name="connsiteX0" fmla="*/ 0 w 5648633"/>
              <a:gd name="connsiteY0" fmla="*/ 26904 h 1517983"/>
              <a:gd name="connsiteX1" fmla="*/ 2344994 w 5648633"/>
              <a:gd name="connsiteY1" fmla="*/ 41654 h 1517983"/>
              <a:gd name="connsiteX2" fmla="*/ 3613355 w 5648633"/>
              <a:gd name="connsiteY2" fmla="*/ 26905 h 1517983"/>
              <a:gd name="connsiteX3" fmla="*/ 4483510 w 5648633"/>
              <a:gd name="connsiteY3" fmla="*/ 587344 h 1517983"/>
              <a:gd name="connsiteX4" fmla="*/ 4984955 w 5648633"/>
              <a:gd name="connsiteY4" fmla="*/ 1398505 h 1517983"/>
              <a:gd name="connsiteX5" fmla="*/ 5648633 w 5648633"/>
              <a:gd name="connsiteY5" fmla="*/ 1428002 h 1517983"/>
              <a:gd name="connsiteX0" fmla="*/ 0 w 5648633"/>
              <a:gd name="connsiteY0" fmla="*/ 68922 h 1560001"/>
              <a:gd name="connsiteX1" fmla="*/ 2344994 w 5648633"/>
              <a:gd name="connsiteY1" fmla="*/ 83672 h 1560001"/>
              <a:gd name="connsiteX2" fmla="*/ 3613355 w 5648633"/>
              <a:gd name="connsiteY2" fmla="*/ 68923 h 1560001"/>
              <a:gd name="connsiteX3" fmla="*/ 5102942 w 5648633"/>
              <a:gd name="connsiteY3" fmla="*/ 113168 h 1560001"/>
              <a:gd name="connsiteX4" fmla="*/ 4984955 w 5648633"/>
              <a:gd name="connsiteY4" fmla="*/ 1440523 h 1560001"/>
              <a:gd name="connsiteX5" fmla="*/ 5648633 w 5648633"/>
              <a:gd name="connsiteY5" fmla="*/ 1470020 h 1560001"/>
              <a:gd name="connsiteX0" fmla="*/ 0 w 6335702"/>
              <a:gd name="connsiteY0" fmla="*/ 40255 h 1450808"/>
              <a:gd name="connsiteX1" fmla="*/ 2344994 w 6335702"/>
              <a:gd name="connsiteY1" fmla="*/ 55005 h 1450808"/>
              <a:gd name="connsiteX2" fmla="*/ 3613355 w 6335702"/>
              <a:gd name="connsiteY2" fmla="*/ 40256 h 1450808"/>
              <a:gd name="connsiteX3" fmla="*/ 5102942 w 6335702"/>
              <a:gd name="connsiteY3" fmla="*/ 84501 h 1450808"/>
              <a:gd name="connsiteX4" fmla="*/ 6312310 w 6335702"/>
              <a:gd name="connsiteY4" fmla="*/ 55004 h 1450808"/>
              <a:gd name="connsiteX5" fmla="*/ 5648633 w 6335702"/>
              <a:gd name="connsiteY5" fmla="*/ 1441353 h 1450808"/>
              <a:gd name="connsiteX0" fmla="*/ 0 w 7323554"/>
              <a:gd name="connsiteY0" fmla="*/ 71647 h 1472745"/>
              <a:gd name="connsiteX1" fmla="*/ 2344994 w 7323554"/>
              <a:gd name="connsiteY1" fmla="*/ 86397 h 1472745"/>
              <a:gd name="connsiteX2" fmla="*/ 3613355 w 7323554"/>
              <a:gd name="connsiteY2" fmla="*/ 71648 h 1472745"/>
              <a:gd name="connsiteX3" fmla="*/ 5102942 w 7323554"/>
              <a:gd name="connsiteY3" fmla="*/ 115893 h 1472745"/>
              <a:gd name="connsiteX4" fmla="*/ 6312310 w 7323554"/>
              <a:gd name="connsiteY4" fmla="*/ 86396 h 1472745"/>
              <a:gd name="connsiteX5" fmla="*/ 7315199 w 7323554"/>
              <a:gd name="connsiteY5" fmla="*/ 115891 h 1472745"/>
              <a:gd name="connsiteX6" fmla="*/ 5648633 w 7323554"/>
              <a:gd name="connsiteY6" fmla="*/ 1472745 h 1472745"/>
              <a:gd name="connsiteX0" fmla="*/ 0 w 8509820"/>
              <a:gd name="connsiteY0" fmla="*/ 71647 h 208632"/>
              <a:gd name="connsiteX1" fmla="*/ 2344994 w 8509820"/>
              <a:gd name="connsiteY1" fmla="*/ 86397 h 208632"/>
              <a:gd name="connsiteX2" fmla="*/ 3613355 w 8509820"/>
              <a:gd name="connsiteY2" fmla="*/ 71648 h 208632"/>
              <a:gd name="connsiteX3" fmla="*/ 5102942 w 8509820"/>
              <a:gd name="connsiteY3" fmla="*/ 115893 h 208632"/>
              <a:gd name="connsiteX4" fmla="*/ 6312310 w 8509820"/>
              <a:gd name="connsiteY4" fmla="*/ 86396 h 208632"/>
              <a:gd name="connsiteX5" fmla="*/ 7315199 w 8509820"/>
              <a:gd name="connsiteY5" fmla="*/ 115891 h 208632"/>
              <a:gd name="connsiteX6" fmla="*/ 8509820 w 8509820"/>
              <a:gd name="connsiteY6" fmla="*/ 86397 h 208632"/>
              <a:gd name="connsiteX0" fmla="*/ 0 w 8509820"/>
              <a:gd name="connsiteY0" fmla="*/ 28421 h 165406"/>
              <a:gd name="connsiteX1" fmla="*/ 2344994 w 8509820"/>
              <a:gd name="connsiteY1" fmla="*/ 43171 h 165406"/>
              <a:gd name="connsiteX2" fmla="*/ 3613355 w 8509820"/>
              <a:gd name="connsiteY2" fmla="*/ 28422 h 165406"/>
              <a:gd name="connsiteX3" fmla="*/ 5102942 w 8509820"/>
              <a:gd name="connsiteY3" fmla="*/ 72667 h 165406"/>
              <a:gd name="connsiteX4" fmla="*/ 6312310 w 8509820"/>
              <a:gd name="connsiteY4" fmla="*/ 43170 h 165406"/>
              <a:gd name="connsiteX5" fmla="*/ 7315199 w 8509820"/>
              <a:gd name="connsiteY5" fmla="*/ 72665 h 165406"/>
              <a:gd name="connsiteX6" fmla="*/ 8509820 w 8509820"/>
              <a:gd name="connsiteY6" fmla="*/ 43171 h 165406"/>
              <a:gd name="connsiteX0" fmla="*/ 0 w 8509820"/>
              <a:gd name="connsiteY0" fmla="*/ 61873 h 198858"/>
              <a:gd name="connsiteX1" fmla="*/ 2344994 w 8509820"/>
              <a:gd name="connsiteY1" fmla="*/ 76623 h 198858"/>
              <a:gd name="connsiteX2" fmla="*/ 3613355 w 8509820"/>
              <a:gd name="connsiteY2" fmla="*/ 61874 h 198858"/>
              <a:gd name="connsiteX3" fmla="*/ 5102942 w 8509820"/>
              <a:gd name="connsiteY3" fmla="*/ 106119 h 198858"/>
              <a:gd name="connsiteX4" fmla="*/ 6312310 w 8509820"/>
              <a:gd name="connsiteY4" fmla="*/ 76622 h 198858"/>
              <a:gd name="connsiteX5" fmla="*/ 7315199 w 8509820"/>
              <a:gd name="connsiteY5" fmla="*/ 106117 h 198858"/>
              <a:gd name="connsiteX6" fmla="*/ 8509820 w 8509820"/>
              <a:gd name="connsiteY6" fmla="*/ 76623 h 198858"/>
              <a:gd name="connsiteX0" fmla="*/ 0 w 8509820"/>
              <a:gd name="connsiteY0" fmla="*/ 2780 h 139765"/>
              <a:gd name="connsiteX1" fmla="*/ 2344994 w 8509820"/>
              <a:gd name="connsiteY1" fmla="*/ 17530 h 139765"/>
              <a:gd name="connsiteX2" fmla="*/ 3613355 w 8509820"/>
              <a:gd name="connsiteY2" fmla="*/ 2781 h 139765"/>
              <a:gd name="connsiteX3" fmla="*/ 5102942 w 8509820"/>
              <a:gd name="connsiteY3" fmla="*/ 47026 h 139765"/>
              <a:gd name="connsiteX4" fmla="*/ 6312310 w 8509820"/>
              <a:gd name="connsiteY4" fmla="*/ 17529 h 139765"/>
              <a:gd name="connsiteX5" fmla="*/ 7315199 w 8509820"/>
              <a:gd name="connsiteY5" fmla="*/ 47024 h 139765"/>
              <a:gd name="connsiteX6" fmla="*/ 8509820 w 8509820"/>
              <a:gd name="connsiteY6" fmla="*/ 17530 h 139765"/>
              <a:gd name="connsiteX0" fmla="*/ 0 w 8509820"/>
              <a:gd name="connsiteY0" fmla="*/ 2780 h 47143"/>
              <a:gd name="connsiteX1" fmla="*/ 2344994 w 8509820"/>
              <a:gd name="connsiteY1" fmla="*/ 17530 h 47143"/>
              <a:gd name="connsiteX2" fmla="*/ 3613355 w 8509820"/>
              <a:gd name="connsiteY2" fmla="*/ 2781 h 47143"/>
              <a:gd name="connsiteX3" fmla="*/ 5102942 w 8509820"/>
              <a:gd name="connsiteY3" fmla="*/ 47026 h 47143"/>
              <a:gd name="connsiteX4" fmla="*/ 6312310 w 8509820"/>
              <a:gd name="connsiteY4" fmla="*/ 17529 h 47143"/>
              <a:gd name="connsiteX5" fmla="*/ 7315199 w 8509820"/>
              <a:gd name="connsiteY5" fmla="*/ 47024 h 47143"/>
              <a:gd name="connsiteX6" fmla="*/ 8509820 w 8509820"/>
              <a:gd name="connsiteY6" fmla="*/ 17530 h 47143"/>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582 h 101406"/>
              <a:gd name="connsiteX1" fmla="*/ 2344994 w 8058558"/>
              <a:gd name="connsiteY1" fmla="*/ 101406 h 101406"/>
              <a:gd name="connsiteX2" fmla="*/ 3613355 w 8058558"/>
              <a:gd name="connsiteY2" fmla="*/ 1137 h 101406"/>
              <a:gd name="connsiteX3" fmla="*/ 5102942 w 8058558"/>
              <a:gd name="connsiteY3" fmla="*/ 45382 h 101406"/>
              <a:gd name="connsiteX4" fmla="*/ 6312310 w 8058558"/>
              <a:gd name="connsiteY4" fmla="*/ 15885 h 101406"/>
              <a:gd name="connsiteX5" fmla="*/ 7315199 w 8058558"/>
              <a:gd name="connsiteY5" fmla="*/ 45380 h 101406"/>
              <a:gd name="connsiteX6" fmla="*/ 8058558 w 8058558"/>
              <a:gd name="connsiteY6" fmla="*/ 51512 h 101406"/>
              <a:gd name="connsiteX0" fmla="*/ 0 w 8058558"/>
              <a:gd name="connsiteY0" fmla="*/ 17686 h 51616"/>
              <a:gd name="connsiteX1" fmla="*/ 2331837 w 8058558"/>
              <a:gd name="connsiteY1" fmla="*/ 12701 h 51616"/>
              <a:gd name="connsiteX2" fmla="*/ 3613355 w 8058558"/>
              <a:gd name="connsiteY2" fmla="*/ 1241 h 51616"/>
              <a:gd name="connsiteX3" fmla="*/ 5102942 w 8058558"/>
              <a:gd name="connsiteY3" fmla="*/ 45486 h 51616"/>
              <a:gd name="connsiteX4" fmla="*/ 6312310 w 8058558"/>
              <a:gd name="connsiteY4" fmla="*/ 15989 h 51616"/>
              <a:gd name="connsiteX5" fmla="*/ 7315199 w 8058558"/>
              <a:gd name="connsiteY5" fmla="*/ 45484 h 51616"/>
              <a:gd name="connsiteX6" fmla="*/ 8058558 w 8058558"/>
              <a:gd name="connsiteY6" fmla="*/ 51616 h 51616"/>
              <a:gd name="connsiteX0" fmla="*/ 0 w 8058558"/>
              <a:gd name="connsiteY0" fmla="*/ 4985 h 38915"/>
              <a:gd name="connsiteX1" fmla="*/ 2331837 w 8058558"/>
              <a:gd name="connsiteY1" fmla="*/ 0 h 38915"/>
              <a:gd name="connsiteX2" fmla="*/ 3610066 w 8058558"/>
              <a:gd name="connsiteY2" fmla="*/ 1696 h 38915"/>
              <a:gd name="connsiteX3" fmla="*/ 5102942 w 8058558"/>
              <a:gd name="connsiteY3" fmla="*/ 32785 h 38915"/>
              <a:gd name="connsiteX4" fmla="*/ 6312310 w 8058558"/>
              <a:gd name="connsiteY4" fmla="*/ 3288 h 38915"/>
              <a:gd name="connsiteX5" fmla="*/ 7315199 w 8058558"/>
              <a:gd name="connsiteY5" fmla="*/ 32783 h 38915"/>
              <a:gd name="connsiteX6" fmla="*/ 8058558 w 8058558"/>
              <a:gd name="connsiteY6" fmla="*/ 38915 h 38915"/>
              <a:gd name="connsiteX0" fmla="*/ 0 w 8058558"/>
              <a:gd name="connsiteY0" fmla="*/ 5092 h 39022"/>
              <a:gd name="connsiteX1" fmla="*/ 2331837 w 8058558"/>
              <a:gd name="connsiteY1" fmla="*/ 107 h 39022"/>
              <a:gd name="connsiteX2" fmla="*/ 3610066 w 8058558"/>
              <a:gd name="connsiteY2" fmla="*/ 1803 h 39022"/>
              <a:gd name="connsiteX3" fmla="*/ 5076628 w 8058558"/>
              <a:gd name="connsiteY3" fmla="*/ 0 h 39022"/>
              <a:gd name="connsiteX4" fmla="*/ 6312310 w 8058558"/>
              <a:gd name="connsiteY4" fmla="*/ 3395 h 39022"/>
              <a:gd name="connsiteX5" fmla="*/ 7315199 w 8058558"/>
              <a:gd name="connsiteY5" fmla="*/ 32890 h 39022"/>
              <a:gd name="connsiteX6" fmla="*/ 8058558 w 8058558"/>
              <a:gd name="connsiteY6" fmla="*/ 39022 h 39022"/>
              <a:gd name="connsiteX0" fmla="*/ 0 w 8058558"/>
              <a:gd name="connsiteY0" fmla="*/ 15826 h 49756"/>
              <a:gd name="connsiteX1" fmla="*/ 2331837 w 8058558"/>
              <a:gd name="connsiteY1" fmla="*/ 10841 h 49756"/>
              <a:gd name="connsiteX2" fmla="*/ 3610066 w 8058558"/>
              <a:gd name="connsiteY2" fmla="*/ 12537 h 49756"/>
              <a:gd name="connsiteX3" fmla="*/ 5076628 w 8058558"/>
              <a:gd name="connsiteY3" fmla="*/ 10734 h 49756"/>
              <a:gd name="connsiteX4" fmla="*/ 6312310 w 8058558"/>
              <a:gd name="connsiteY4" fmla="*/ 14129 h 49756"/>
              <a:gd name="connsiteX5" fmla="*/ 7308620 w 8058558"/>
              <a:gd name="connsiteY5" fmla="*/ 10732 h 49756"/>
              <a:gd name="connsiteX6" fmla="*/ 8058558 w 8058558"/>
              <a:gd name="connsiteY6" fmla="*/ 49756 h 49756"/>
              <a:gd name="connsiteX0" fmla="*/ 0 w 8058558"/>
              <a:gd name="connsiteY0" fmla="*/ 5433 h 39363"/>
              <a:gd name="connsiteX1" fmla="*/ 2331837 w 8058558"/>
              <a:gd name="connsiteY1" fmla="*/ 448 h 39363"/>
              <a:gd name="connsiteX2" fmla="*/ 3610066 w 8058558"/>
              <a:gd name="connsiteY2" fmla="*/ 2144 h 39363"/>
              <a:gd name="connsiteX3" fmla="*/ 5076628 w 8058558"/>
              <a:gd name="connsiteY3" fmla="*/ 341 h 39363"/>
              <a:gd name="connsiteX4" fmla="*/ 6312310 w 8058558"/>
              <a:gd name="connsiteY4" fmla="*/ 3736 h 39363"/>
              <a:gd name="connsiteX5" fmla="*/ 7308620 w 8058558"/>
              <a:gd name="connsiteY5" fmla="*/ 339 h 39363"/>
              <a:gd name="connsiteX6" fmla="*/ 8058558 w 8058558"/>
              <a:gd name="connsiteY6" fmla="*/ 39363 h 39363"/>
              <a:gd name="connsiteX0" fmla="*/ 0 w 8051979"/>
              <a:gd name="connsiteY0" fmla="*/ 5541 h 11150"/>
              <a:gd name="connsiteX1" fmla="*/ 2331837 w 8051979"/>
              <a:gd name="connsiteY1" fmla="*/ 556 h 11150"/>
              <a:gd name="connsiteX2" fmla="*/ 3610066 w 8051979"/>
              <a:gd name="connsiteY2" fmla="*/ 2252 h 11150"/>
              <a:gd name="connsiteX3" fmla="*/ 5076628 w 8051979"/>
              <a:gd name="connsiteY3" fmla="*/ 449 h 11150"/>
              <a:gd name="connsiteX4" fmla="*/ 6312310 w 8051979"/>
              <a:gd name="connsiteY4" fmla="*/ 3844 h 11150"/>
              <a:gd name="connsiteX5" fmla="*/ 7308620 w 8051979"/>
              <a:gd name="connsiteY5" fmla="*/ 447 h 11150"/>
              <a:gd name="connsiteX6" fmla="*/ 8051979 w 8051979"/>
              <a:gd name="connsiteY6" fmla="*/ 0 h 11150"/>
              <a:gd name="connsiteX0" fmla="*/ 0 w 8051979"/>
              <a:gd name="connsiteY0" fmla="*/ 8276 h 8767"/>
              <a:gd name="connsiteX1" fmla="*/ 2331837 w 8051979"/>
              <a:gd name="connsiteY1" fmla="*/ 3291 h 8767"/>
              <a:gd name="connsiteX2" fmla="*/ 3610066 w 8051979"/>
              <a:gd name="connsiteY2" fmla="*/ 4987 h 8767"/>
              <a:gd name="connsiteX3" fmla="*/ 5076628 w 8051979"/>
              <a:gd name="connsiteY3" fmla="*/ 3184 h 8767"/>
              <a:gd name="connsiteX4" fmla="*/ 6256394 w 8051979"/>
              <a:gd name="connsiteY4" fmla="*/ 0 h 8767"/>
              <a:gd name="connsiteX5" fmla="*/ 7308620 w 8051979"/>
              <a:gd name="connsiteY5" fmla="*/ 3182 h 8767"/>
              <a:gd name="connsiteX6" fmla="*/ 8051979 w 8051979"/>
              <a:gd name="connsiteY6" fmla="*/ 2735 h 8767"/>
              <a:gd name="connsiteX0" fmla="*/ 0 w 10000"/>
              <a:gd name="connsiteY0" fmla="*/ 6320 h 9723"/>
              <a:gd name="connsiteX1" fmla="*/ 2896 w 10000"/>
              <a:gd name="connsiteY1" fmla="*/ 634 h 9723"/>
              <a:gd name="connsiteX2" fmla="*/ 4483 w 10000"/>
              <a:gd name="connsiteY2" fmla="*/ 2568 h 9723"/>
              <a:gd name="connsiteX3" fmla="*/ 6305 w 10000"/>
              <a:gd name="connsiteY3" fmla="*/ 512 h 9723"/>
              <a:gd name="connsiteX4" fmla="*/ 7762 w 10000"/>
              <a:gd name="connsiteY4" fmla="*/ 632 h 9723"/>
              <a:gd name="connsiteX5" fmla="*/ 9077 w 10000"/>
              <a:gd name="connsiteY5" fmla="*/ 510 h 9723"/>
              <a:gd name="connsiteX6" fmla="*/ 10000 w 10000"/>
              <a:gd name="connsiteY6" fmla="*/ 0 h 9723"/>
              <a:gd name="connsiteX0" fmla="*/ 0 w 10000"/>
              <a:gd name="connsiteY0" fmla="*/ 7226 h 7227"/>
              <a:gd name="connsiteX1" fmla="*/ 2896 w 10000"/>
              <a:gd name="connsiteY1" fmla="*/ 1378 h 7227"/>
              <a:gd name="connsiteX2" fmla="*/ 4483 w 10000"/>
              <a:gd name="connsiteY2" fmla="*/ 3367 h 7227"/>
              <a:gd name="connsiteX3" fmla="*/ 6305 w 10000"/>
              <a:gd name="connsiteY3" fmla="*/ 1253 h 7227"/>
              <a:gd name="connsiteX4" fmla="*/ 7762 w 10000"/>
              <a:gd name="connsiteY4" fmla="*/ 1376 h 7227"/>
              <a:gd name="connsiteX5" fmla="*/ 9077 w 10000"/>
              <a:gd name="connsiteY5" fmla="*/ 1251 h 7227"/>
              <a:gd name="connsiteX6" fmla="*/ 10000 w 10000"/>
              <a:gd name="connsiteY6" fmla="*/ 726 h 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227">
                <a:moveTo>
                  <a:pt x="0" y="7226"/>
                </a:moveTo>
                <a:lnTo>
                  <a:pt x="2896" y="1378"/>
                </a:lnTo>
                <a:lnTo>
                  <a:pt x="4483" y="3367"/>
                </a:lnTo>
                <a:cubicBezTo>
                  <a:pt x="5090" y="2663"/>
                  <a:pt x="5759" y="1585"/>
                  <a:pt x="6305" y="1253"/>
                </a:cubicBezTo>
                <a:cubicBezTo>
                  <a:pt x="6851" y="920"/>
                  <a:pt x="7276" y="1335"/>
                  <a:pt x="7762" y="1376"/>
                </a:cubicBezTo>
                <a:cubicBezTo>
                  <a:pt x="8307" y="5151"/>
                  <a:pt x="8541" y="-2969"/>
                  <a:pt x="9077" y="1251"/>
                </a:cubicBezTo>
                <a:lnTo>
                  <a:pt x="10000" y="726"/>
                </a:lnTo>
              </a:path>
            </a:pathLst>
          </a:custGeom>
          <a:noFill/>
          <a:ln w="57150" cap="rnd">
            <a:solidFill>
              <a:srgbClr val="1E467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04769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ihandform 27">
            <a:extLst>
              <a:ext uri="{FF2B5EF4-FFF2-40B4-BE49-F238E27FC236}">
                <a16:creationId xmlns:a16="http://schemas.microsoft.com/office/drawing/2014/main" id="{56038028-EF18-4203-9D36-94E9E8FD4513}"/>
              </a:ext>
            </a:extLst>
          </p:cNvPr>
          <p:cNvSpPr/>
          <p:nvPr/>
        </p:nvSpPr>
        <p:spPr>
          <a:xfrm>
            <a:off x="735303" y="1118509"/>
            <a:ext cx="10799472" cy="462720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pic>
        <p:nvPicPr>
          <p:cNvPr id="6" name="Grafik 5">
            <a:extLst>
              <a:ext uri="{FF2B5EF4-FFF2-40B4-BE49-F238E27FC236}">
                <a16:creationId xmlns:a16="http://schemas.microsoft.com/office/drawing/2014/main" id="{8C174F48-57E6-8849-9D43-6DC101D4F15B}"/>
              </a:ext>
            </a:extLst>
          </p:cNvPr>
          <p:cNvPicPr>
            <a:picLocks noChangeAspect="1"/>
          </p:cNvPicPr>
          <p:nvPr/>
        </p:nvPicPr>
        <p:blipFill rotWithShape="1">
          <a:blip r:embed="rId2"/>
          <a:srcRect l="8359" t="7349" r="17505" b="13366"/>
          <a:stretch/>
        </p:blipFill>
        <p:spPr>
          <a:xfrm>
            <a:off x="1989700" y="2310581"/>
            <a:ext cx="8140338" cy="2072693"/>
          </a:xfrm>
          <a:prstGeom prst="rect">
            <a:avLst/>
          </a:prstGeom>
        </p:spPr>
      </p:pic>
      <p:sp>
        <p:nvSpPr>
          <p:cNvPr id="9" name="Textfeld 8">
            <a:extLst>
              <a:ext uri="{FF2B5EF4-FFF2-40B4-BE49-F238E27FC236}">
                <a16:creationId xmlns:a16="http://schemas.microsoft.com/office/drawing/2014/main" id="{A470433F-629A-F64F-ACD2-4F65AB29C7A4}"/>
              </a:ext>
            </a:extLst>
          </p:cNvPr>
          <p:cNvSpPr txBox="1"/>
          <p:nvPr/>
        </p:nvSpPr>
        <p:spPr bwMode="auto">
          <a:xfrm rot="19149454">
            <a:off x="1446835" y="4537276"/>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Frankfurt</a:t>
            </a:r>
          </a:p>
        </p:txBody>
      </p:sp>
      <p:sp>
        <p:nvSpPr>
          <p:cNvPr id="10" name="Textfeld 9">
            <a:extLst>
              <a:ext uri="{FF2B5EF4-FFF2-40B4-BE49-F238E27FC236}">
                <a16:creationId xmlns:a16="http://schemas.microsoft.com/office/drawing/2014/main" id="{BE6C6093-C7EC-604B-B35C-5BC2E4F93897}"/>
              </a:ext>
            </a:extLst>
          </p:cNvPr>
          <p:cNvSpPr txBox="1"/>
          <p:nvPr/>
        </p:nvSpPr>
        <p:spPr bwMode="auto">
          <a:xfrm rot="19149454">
            <a:off x="9643656" y="4643640"/>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Rotterdam</a:t>
            </a:r>
          </a:p>
        </p:txBody>
      </p:sp>
      <p:sp>
        <p:nvSpPr>
          <p:cNvPr id="13" name="Titel 1">
            <a:extLst>
              <a:ext uri="{FF2B5EF4-FFF2-40B4-BE49-F238E27FC236}">
                <a16:creationId xmlns:a16="http://schemas.microsoft.com/office/drawing/2014/main" id="{0D02974D-1502-2442-94FF-D0CF24AE1EFB}"/>
              </a:ext>
            </a:extLst>
          </p:cNvPr>
          <p:cNvSpPr>
            <a:spLocks noGrp="1"/>
          </p:cNvSpPr>
          <p:nvPr>
            <p:ph type="title"/>
          </p:nvPr>
        </p:nvSpPr>
        <p:spPr/>
        <p:txBody>
          <a:bodyPr/>
          <a:lstStyle/>
          <a:p>
            <a:r>
              <a:rPr lang="de-DE"/>
              <a:t>Feature Engineering -  Deep </a:t>
            </a:r>
            <a:r>
              <a:rPr lang="de-DE" err="1"/>
              <a:t>Dive</a:t>
            </a:r>
            <a:r>
              <a:rPr lang="de-DE"/>
              <a:t> Stopps</a:t>
            </a:r>
          </a:p>
        </p:txBody>
      </p:sp>
      <p:sp>
        <p:nvSpPr>
          <p:cNvPr id="16" name="Textfeld 15">
            <a:extLst>
              <a:ext uri="{FF2B5EF4-FFF2-40B4-BE49-F238E27FC236}">
                <a16:creationId xmlns:a16="http://schemas.microsoft.com/office/drawing/2014/main" id="{2CEBBA23-C997-D341-AF20-518FA598C24A}"/>
              </a:ext>
            </a:extLst>
          </p:cNvPr>
          <p:cNvSpPr txBox="1"/>
          <p:nvPr/>
        </p:nvSpPr>
        <p:spPr bwMode="auto">
          <a:xfrm>
            <a:off x="10430516" y="3046101"/>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rgbClr val="C00000"/>
                </a:solidFill>
              </a:rPr>
              <a:t>Cargo</a:t>
            </a:r>
          </a:p>
        </p:txBody>
      </p:sp>
      <p:sp>
        <p:nvSpPr>
          <p:cNvPr id="17" name="Textfeld 16">
            <a:extLst>
              <a:ext uri="{FF2B5EF4-FFF2-40B4-BE49-F238E27FC236}">
                <a16:creationId xmlns:a16="http://schemas.microsoft.com/office/drawing/2014/main" id="{76AAB2F8-E6A9-AF48-AF6D-BA219069E5C3}"/>
              </a:ext>
            </a:extLst>
          </p:cNvPr>
          <p:cNvSpPr txBox="1"/>
          <p:nvPr/>
        </p:nvSpPr>
        <p:spPr bwMode="auto">
          <a:xfrm>
            <a:off x="10430516" y="3429000"/>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chemeClr val="tx2"/>
                </a:solidFill>
              </a:rPr>
              <a:t>Tanker</a:t>
            </a:r>
          </a:p>
        </p:txBody>
      </p:sp>
      <p:sp>
        <p:nvSpPr>
          <p:cNvPr id="18" name="Rechteck 17">
            <a:extLst>
              <a:ext uri="{FF2B5EF4-FFF2-40B4-BE49-F238E27FC236}">
                <a16:creationId xmlns:a16="http://schemas.microsoft.com/office/drawing/2014/main" id="{CD398EB4-E982-014F-925A-912CCBDEF14A}"/>
              </a:ext>
            </a:extLst>
          </p:cNvPr>
          <p:cNvSpPr/>
          <p:nvPr/>
        </p:nvSpPr>
        <p:spPr>
          <a:xfrm>
            <a:off x="10384797" y="3496204"/>
            <a:ext cx="45719" cy="225631"/>
          </a:xfrm>
          <a:prstGeom prst="rect">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9" name="Rechteck 18">
            <a:extLst>
              <a:ext uri="{FF2B5EF4-FFF2-40B4-BE49-F238E27FC236}">
                <a16:creationId xmlns:a16="http://schemas.microsoft.com/office/drawing/2014/main" id="{F02B4C53-2F8B-5348-9F61-671C4399BB14}"/>
              </a:ext>
            </a:extLst>
          </p:cNvPr>
          <p:cNvSpPr/>
          <p:nvPr/>
        </p:nvSpPr>
        <p:spPr>
          <a:xfrm>
            <a:off x="10386454" y="3114696"/>
            <a:ext cx="45719" cy="225631"/>
          </a:xfrm>
          <a:prstGeom prst="rect">
            <a:avLst/>
          </a:prstGeom>
          <a:solidFill>
            <a:srgbClr val="C0000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0" name="Textfeld 19">
            <a:extLst>
              <a:ext uri="{FF2B5EF4-FFF2-40B4-BE49-F238E27FC236}">
                <a16:creationId xmlns:a16="http://schemas.microsoft.com/office/drawing/2014/main" id="{F9D09132-3571-594D-B227-E87DD105B4F7}"/>
              </a:ext>
            </a:extLst>
          </p:cNvPr>
          <p:cNvSpPr txBox="1"/>
          <p:nvPr/>
        </p:nvSpPr>
        <p:spPr bwMode="auto">
          <a:xfrm>
            <a:off x="2002971" y="1830330"/>
            <a:ext cx="3514010" cy="378242"/>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t>Normalisierte Häufigkeit in % </a:t>
            </a:r>
          </a:p>
        </p:txBody>
      </p:sp>
      <p:sp>
        <p:nvSpPr>
          <p:cNvPr id="21" name="Textfeld 20">
            <a:extLst>
              <a:ext uri="{FF2B5EF4-FFF2-40B4-BE49-F238E27FC236}">
                <a16:creationId xmlns:a16="http://schemas.microsoft.com/office/drawing/2014/main" id="{62ADDF1C-86C5-AF40-BACB-B8A29D65C394}"/>
              </a:ext>
            </a:extLst>
          </p:cNvPr>
          <p:cNvSpPr txBox="1"/>
          <p:nvPr/>
        </p:nvSpPr>
        <p:spPr bwMode="auto">
          <a:xfrm>
            <a:off x="1747207" y="4180296"/>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0</a:t>
            </a:r>
          </a:p>
        </p:txBody>
      </p:sp>
      <p:sp>
        <p:nvSpPr>
          <p:cNvPr id="22" name="Textfeld 21">
            <a:extLst>
              <a:ext uri="{FF2B5EF4-FFF2-40B4-BE49-F238E27FC236}">
                <a16:creationId xmlns:a16="http://schemas.microsoft.com/office/drawing/2014/main" id="{5F3A93E3-89EF-A74F-B13C-A6756803E240}"/>
              </a:ext>
            </a:extLst>
          </p:cNvPr>
          <p:cNvSpPr txBox="1"/>
          <p:nvPr/>
        </p:nvSpPr>
        <p:spPr bwMode="auto">
          <a:xfrm>
            <a:off x="1747207" y="3702568"/>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2</a:t>
            </a:r>
          </a:p>
        </p:txBody>
      </p:sp>
      <p:sp>
        <p:nvSpPr>
          <p:cNvPr id="23" name="Textfeld 22">
            <a:extLst>
              <a:ext uri="{FF2B5EF4-FFF2-40B4-BE49-F238E27FC236}">
                <a16:creationId xmlns:a16="http://schemas.microsoft.com/office/drawing/2014/main" id="{1E9D9585-534A-094E-8856-206C2F74DAB1}"/>
              </a:ext>
            </a:extLst>
          </p:cNvPr>
          <p:cNvSpPr txBox="1"/>
          <p:nvPr/>
        </p:nvSpPr>
        <p:spPr bwMode="auto">
          <a:xfrm>
            <a:off x="1747207" y="3224839"/>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4</a:t>
            </a:r>
          </a:p>
        </p:txBody>
      </p:sp>
      <p:sp>
        <p:nvSpPr>
          <p:cNvPr id="24" name="Textfeld 23">
            <a:extLst>
              <a:ext uri="{FF2B5EF4-FFF2-40B4-BE49-F238E27FC236}">
                <a16:creationId xmlns:a16="http://schemas.microsoft.com/office/drawing/2014/main" id="{CF45FD40-1779-774F-8E3A-FC687BF0D194}"/>
              </a:ext>
            </a:extLst>
          </p:cNvPr>
          <p:cNvSpPr txBox="1"/>
          <p:nvPr/>
        </p:nvSpPr>
        <p:spPr bwMode="auto">
          <a:xfrm>
            <a:off x="1747207" y="2747110"/>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6</a:t>
            </a:r>
          </a:p>
        </p:txBody>
      </p:sp>
      <p:grpSp>
        <p:nvGrpSpPr>
          <p:cNvPr id="26" name="Gruppieren 25">
            <a:extLst>
              <a:ext uri="{FF2B5EF4-FFF2-40B4-BE49-F238E27FC236}">
                <a16:creationId xmlns:a16="http://schemas.microsoft.com/office/drawing/2014/main" id="{A48FFCC2-1F3E-4847-AA08-FF6E9B4EE79B}"/>
              </a:ext>
            </a:extLst>
          </p:cNvPr>
          <p:cNvGrpSpPr/>
          <p:nvPr/>
        </p:nvGrpSpPr>
        <p:grpSpPr>
          <a:xfrm>
            <a:off x="856712" y="1218647"/>
            <a:ext cx="887588" cy="872769"/>
            <a:chOff x="9300075" y="1219946"/>
            <a:chExt cx="1584000" cy="1584000"/>
          </a:xfrm>
        </p:grpSpPr>
        <p:sp>
          <p:nvSpPr>
            <p:cNvPr id="27" name="Ellipse 26">
              <a:extLst>
                <a:ext uri="{FF2B5EF4-FFF2-40B4-BE49-F238E27FC236}">
                  <a16:creationId xmlns:a16="http://schemas.microsoft.com/office/drawing/2014/main" id="{C2ECE388-AD3C-49D0-BDA8-F282A70F1508}"/>
                </a:ext>
              </a:extLst>
            </p:cNvPr>
            <p:cNvSpPr/>
            <p:nvPr/>
          </p:nvSpPr>
          <p:spPr>
            <a:xfrm>
              <a:off x="9300075"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8" name="Bildplatzhalter 12" descr="Anker mit einfarbiger Füllung">
              <a:extLst>
                <a:ext uri="{FF2B5EF4-FFF2-40B4-BE49-F238E27FC236}">
                  <a16:creationId xmlns:a16="http://schemas.microsoft.com/office/drawing/2014/main" id="{6AB94108-FAA3-4CC7-8248-518F36EE8B23}"/>
                </a:ext>
              </a:extLst>
            </p:cNvPr>
            <p:cNvSpPr/>
            <p:nvPr/>
          </p:nvSpPr>
          <p:spPr>
            <a:xfrm>
              <a:off x="9653555" y="1554746"/>
              <a:ext cx="877039" cy="935909"/>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0E0E0"/>
            </a:solidFill>
            <a:ln w="16371" cap="flat">
              <a:noFill/>
              <a:prstDash val="solid"/>
              <a:miter/>
            </a:ln>
          </p:spPr>
          <p:txBody>
            <a:bodyPr rtlCol="0" anchor="ctr"/>
            <a:lstStyle/>
            <a:p>
              <a:endParaRPr lang="de-DE"/>
            </a:p>
          </p:txBody>
        </p:sp>
      </p:grpSp>
      <p:sp>
        <p:nvSpPr>
          <p:cNvPr id="30" name="Freihandform 29">
            <a:extLst>
              <a:ext uri="{FF2B5EF4-FFF2-40B4-BE49-F238E27FC236}">
                <a16:creationId xmlns:a16="http://schemas.microsoft.com/office/drawing/2014/main" id="{C2DE1711-B624-8941-95D9-8E14E22D7B0E}"/>
              </a:ext>
            </a:extLst>
          </p:cNvPr>
          <p:cNvSpPr/>
          <p:nvPr/>
        </p:nvSpPr>
        <p:spPr>
          <a:xfrm>
            <a:off x="2048056" y="4424064"/>
            <a:ext cx="8051979" cy="6160"/>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 name="connsiteX0" fmla="*/ 0 w 5648633"/>
              <a:gd name="connsiteY0" fmla="*/ 822125 h 2313204"/>
              <a:gd name="connsiteX1" fmla="*/ 3274142 w 5648633"/>
              <a:gd name="connsiteY1" fmla="*/ 40462 h 2313204"/>
              <a:gd name="connsiteX2" fmla="*/ 4026310 w 5648633"/>
              <a:gd name="connsiteY2" fmla="*/ 99455 h 2313204"/>
              <a:gd name="connsiteX3" fmla="*/ 4483510 w 5648633"/>
              <a:gd name="connsiteY3" fmla="*/ 1382565 h 2313204"/>
              <a:gd name="connsiteX4" fmla="*/ 4984955 w 5648633"/>
              <a:gd name="connsiteY4" fmla="*/ 2193726 h 2313204"/>
              <a:gd name="connsiteX5" fmla="*/ 5648633 w 5648633"/>
              <a:gd name="connsiteY5" fmla="*/ 2223223 h 2313204"/>
              <a:gd name="connsiteX0" fmla="*/ 0 w 5648633"/>
              <a:gd name="connsiteY0" fmla="*/ 729153 h 2220232"/>
              <a:gd name="connsiteX1" fmla="*/ 2344994 w 5648633"/>
              <a:gd name="connsiteY1" fmla="*/ 743903 h 2220232"/>
              <a:gd name="connsiteX2" fmla="*/ 4026310 w 5648633"/>
              <a:gd name="connsiteY2" fmla="*/ 6483 h 2220232"/>
              <a:gd name="connsiteX3" fmla="*/ 4483510 w 5648633"/>
              <a:gd name="connsiteY3" fmla="*/ 1289593 h 2220232"/>
              <a:gd name="connsiteX4" fmla="*/ 4984955 w 5648633"/>
              <a:gd name="connsiteY4" fmla="*/ 2100754 h 2220232"/>
              <a:gd name="connsiteX5" fmla="*/ 5648633 w 5648633"/>
              <a:gd name="connsiteY5" fmla="*/ 2130251 h 2220232"/>
              <a:gd name="connsiteX0" fmla="*/ 0 w 5648633"/>
              <a:gd name="connsiteY0" fmla="*/ 26904 h 1517983"/>
              <a:gd name="connsiteX1" fmla="*/ 2344994 w 5648633"/>
              <a:gd name="connsiteY1" fmla="*/ 41654 h 1517983"/>
              <a:gd name="connsiteX2" fmla="*/ 3613355 w 5648633"/>
              <a:gd name="connsiteY2" fmla="*/ 26905 h 1517983"/>
              <a:gd name="connsiteX3" fmla="*/ 4483510 w 5648633"/>
              <a:gd name="connsiteY3" fmla="*/ 587344 h 1517983"/>
              <a:gd name="connsiteX4" fmla="*/ 4984955 w 5648633"/>
              <a:gd name="connsiteY4" fmla="*/ 1398505 h 1517983"/>
              <a:gd name="connsiteX5" fmla="*/ 5648633 w 5648633"/>
              <a:gd name="connsiteY5" fmla="*/ 1428002 h 1517983"/>
              <a:gd name="connsiteX0" fmla="*/ 0 w 5648633"/>
              <a:gd name="connsiteY0" fmla="*/ 68922 h 1560001"/>
              <a:gd name="connsiteX1" fmla="*/ 2344994 w 5648633"/>
              <a:gd name="connsiteY1" fmla="*/ 83672 h 1560001"/>
              <a:gd name="connsiteX2" fmla="*/ 3613355 w 5648633"/>
              <a:gd name="connsiteY2" fmla="*/ 68923 h 1560001"/>
              <a:gd name="connsiteX3" fmla="*/ 5102942 w 5648633"/>
              <a:gd name="connsiteY3" fmla="*/ 113168 h 1560001"/>
              <a:gd name="connsiteX4" fmla="*/ 4984955 w 5648633"/>
              <a:gd name="connsiteY4" fmla="*/ 1440523 h 1560001"/>
              <a:gd name="connsiteX5" fmla="*/ 5648633 w 5648633"/>
              <a:gd name="connsiteY5" fmla="*/ 1470020 h 1560001"/>
              <a:gd name="connsiteX0" fmla="*/ 0 w 6335702"/>
              <a:gd name="connsiteY0" fmla="*/ 40255 h 1450808"/>
              <a:gd name="connsiteX1" fmla="*/ 2344994 w 6335702"/>
              <a:gd name="connsiteY1" fmla="*/ 55005 h 1450808"/>
              <a:gd name="connsiteX2" fmla="*/ 3613355 w 6335702"/>
              <a:gd name="connsiteY2" fmla="*/ 40256 h 1450808"/>
              <a:gd name="connsiteX3" fmla="*/ 5102942 w 6335702"/>
              <a:gd name="connsiteY3" fmla="*/ 84501 h 1450808"/>
              <a:gd name="connsiteX4" fmla="*/ 6312310 w 6335702"/>
              <a:gd name="connsiteY4" fmla="*/ 55004 h 1450808"/>
              <a:gd name="connsiteX5" fmla="*/ 5648633 w 6335702"/>
              <a:gd name="connsiteY5" fmla="*/ 1441353 h 1450808"/>
              <a:gd name="connsiteX0" fmla="*/ 0 w 7323554"/>
              <a:gd name="connsiteY0" fmla="*/ 71647 h 1472745"/>
              <a:gd name="connsiteX1" fmla="*/ 2344994 w 7323554"/>
              <a:gd name="connsiteY1" fmla="*/ 86397 h 1472745"/>
              <a:gd name="connsiteX2" fmla="*/ 3613355 w 7323554"/>
              <a:gd name="connsiteY2" fmla="*/ 71648 h 1472745"/>
              <a:gd name="connsiteX3" fmla="*/ 5102942 w 7323554"/>
              <a:gd name="connsiteY3" fmla="*/ 115893 h 1472745"/>
              <a:gd name="connsiteX4" fmla="*/ 6312310 w 7323554"/>
              <a:gd name="connsiteY4" fmla="*/ 86396 h 1472745"/>
              <a:gd name="connsiteX5" fmla="*/ 7315199 w 7323554"/>
              <a:gd name="connsiteY5" fmla="*/ 115891 h 1472745"/>
              <a:gd name="connsiteX6" fmla="*/ 5648633 w 7323554"/>
              <a:gd name="connsiteY6" fmla="*/ 1472745 h 1472745"/>
              <a:gd name="connsiteX0" fmla="*/ 0 w 8509820"/>
              <a:gd name="connsiteY0" fmla="*/ 71647 h 208632"/>
              <a:gd name="connsiteX1" fmla="*/ 2344994 w 8509820"/>
              <a:gd name="connsiteY1" fmla="*/ 86397 h 208632"/>
              <a:gd name="connsiteX2" fmla="*/ 3613355 w 8509820"/>
              <a:gd name="connsiteY2" fmla="*/ 71648 h 208632"/>
              <a:gd name="connsiteX3" fmla="*/ 5102942 w 8509820"/>
              <a:gd name="connsiteY3" fmla="*/ 115893 h 208632"/>
              <a:gd name="connsiteX4" fmla="*/ 6312310 w 8509820"/>
              <a:gd name="connsiteY4" fmla="*/ 86396 h 208632"/>
              <a:gd name="connsiteX5" fmla="*/ 7315199 w 8509820"/>
              <a:gd name="connsiteY5" fmla="*/ 115891 h 208632"/>
              <a:gd name="connsiteX6" fmla="*/ 8509820 w 8509820"/>
              <a:gd name="connsiteY6" fmla="*/ 86397 h 208632"/>
              <a:gd name="connsiteX0" fmla="*/ 0 w 8509820"/>
              <a:gd name="connsiteY0" fmla="*/ 28421 h 165406"/>
              <a:gd name="connsiteX1" fmla="*/ 2344994 w 8509820"/>
              <a:gd name="connsiteY1" fmla="*/ 43171 h 165406"/>
              <a:gd name="connsiteX2" fmla="*/ 3613355 w 8509820"/>
              <a:gd name="connsiteY2" fmla="*/ 28422 h 165406"/>
              <a:gd name="connsiteX3" fmla="*/ 5102942 w 8509820"/>
              <a:gd name="connsiteY3" fmla="*/ 72667 h 165406"/>
              <a:gd name="connsiteX4" fmla="*/ 6312310 w 8509820"/>
              <a:gd name="connsiteY4" fmla="*/ 43170 h 165406"/>
              <a:gd name="connsiteX5" fmla="*/ 7315199 w 8509820"/>
              <a:gd name="connsiteY5" fmla="*/ 72665 h 165406"/>
              <a:gd name="connsiteX6" fmla="*/ 8509820 w 8509820"/>
              <a:gd name="connsiteY6" fmla="*/ 43171 h 165406"/>
              <a:gd name="connsiteX0" fmla="*/ 0 w 8509820"/>
              <a:gd name="connsiteY0" fmla="*/ 61873 h 198858"/>
              <a:gd name="connsiteX1" fmla="*/ 2344994 w 8509820"/>
              <a:gd name="connsiteY1" fmla="*/ 76623 h 198858"/>
              <a:gd name="connsiteX2" fmla="*/ 3613355 w 8509820"/>
              <a:gd name="connsiteY2" fmla="*/ 61874 h 198858"/>
              <a:gd name="connsiteX3" fmla="*/ 5102942 w 8509820"/>
              <a:gd name="connsiteY3" fmla="*/ 106119 h 198858"/>
              <a:gd name="connsiteX4" fmla="*/ 6312310 w 8509820"/>
              <a:gd name="connsiteY4" fmla="*/ 76622 h 198858"/>
              <a:gd name="connsiteX5" fmla="*/ 7315199 w 8509820"/>
              <a:gd name="connsiteY5" fmla="*/ 106117 h 198858"/>
              <a:gd name="connsiteX6" fmla="*/ 8509820 w 8509820"/>
              <a:gd name="connsiteY6" fmla="*/ 76623 h 198858"/>
              <a:gd name="connsiteX0" fmla="*/ 0 w 8509820"/>
              <a:gd name="connsiteY0" fmla="*/ 2780 h 139765"/>
              <a:gd name="connsiteX1" fmla="*/ 2344994 w 8509820"/>
              <a:gd name="connsiteY1" fmla="*/ 17530 h 139765"/>
              <a:gd name="connsiteX2" fmla="*/ 3613355 w 8509820"/>
              <a:gd name="connsiteY2" fmla="*/ 2781 h 139765"/>
              <a:gd name="connsiteX3" fmla="*/ 5102942 w 8509820"/>
              <a:gd name="connsiteY3" fmla="*/ 47026 h 139765"/>
              <a:gd name="connsiteX4" fmla="*/ 6312310 w 8509820"/>
              <a:gd name="connsiteY4" fmla="*/ 17529 h 139765"/>
              <a:gd name="connsiteX5" fmla="*/ 7315199 w 8509820"/>
              <a:gd name="connsiteY5" fmla="*/ 47024 h 139765"/>
              <a:gd name="connsiteX6" fmla="*/ 8509820 w 8509820"/>
              <a:gd name="connsiteY6" fmla="*/ 17530 h 139765"/>
              <a:gd name="connsiteX0" fmla="*/ 0 w 8509820"/>
              <a:gd name="connsiteY0" fmla="*/ 2780 h 47143"/>
              <a:gd name="connsiteX1" fmla="*/ 2344994 w 8509820"/>
              <a:gd name="connsiteY1" fmla="*/ 17530 h 47143"/>
              <a:gd name="connsiteX2" fmla="*/ 3613355 w 8509820"/>
              <a:gd name="connsiteY2" fmla="*/ 2781 h 47143"/>
              <a:gd name="connsiteX3" fmla="*/ 5102942 w 8509820"/>
              <a:gd name="connsiteY3" fmla="*/ 47026 h 47143"/>
              <a:gd name="connsiteX4" fmla="*/ 6312310 w 8509820"/>
              <a:gd name="connsiteY4" fmla="*/ 17529 h 47143"/>
              <a:gd name="connsiteX5" fmla="*/ 7315199 w 8509820"/>
              <a:gd name="connsiteY5" fmla="*/ 47024 h 47143"/>
              <a:gd name="connsiteX6" fmla="*/ 8509820 w 8509820"/>
              <a:gd name="connsiteY6" fmla="*/ 17530 h 47143"/>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582 h 101406"/>
              <a:gd name="connsiteX1" fmla="*/ 2344994 w 8058558"/>
              <a:gd name="connsiteY1" fmla="*/ 101406 h 101406"/>
              <a:gd name="connsiteX2" fmla="*/ 3613355 w 8058558"/>
              <a:gd name="connsiteY2" fmla="*/ 1137 h 101406"/>
              <a:gd name="connsiteX3" fmla="*/ 5102942 w 8058558"/>
              <a:gd name="connsiteY3" fmla="*/ 45382 h 101406"/>
              <a:gd name="connsiteX4" fmla="*/ 6312310 w 8058558"/>
              <a:gd name="connsiteY4" fmla="*/ 15885 h 101406"/>
              <a:gd name="connsiteX5" fmla="*/ 7315199 w 8058558"/>
              <a:gd name="connsiteY5" fmla="*/ 45380 h 101406"/>
              <a:gd name="connsiteX6" fmla="*/ 8058558 w 8058558"/>
              <a:gd name="connsiteY6" fmla="*/ 51512 h 101406"/>
              <a:gd name="connsiteX0" fmla="*/ 0 w 8058558"/>
              <a:gd name="connsiteY0" fmla="*/ 17686 h 51616"/>
              <a:gd name="connsiteX1" fmla="*/ 2331837 w 8058558"/>
              <a:gd name="connsiteY1" fmla="*/ 12701 h 51616"/>
              <a:gd name="connsiteX2" fmla="*/ 3613355 w 8058558"/>
              <a:gd name="connsiteY2" fmla="*/ 1241 h 51616"/>
              <a:gd name="connsiteX3" fmla="*/ 5102942 w 8058558"/>
              <a:gd name="connsiteY3" fmla="*/ 45486 h 51616"/>
              <a:gd name="connsiteX4" fmla="*/ 6312310 w 8058558"/>
              <a:gd name="connsiteY4" fmla="*/ 15989 h 51616"/>
              <a:gd name="connsiteX5" fmla="*/ 7315199 w 8058558"/>
              <a:gd name="connsiteY5" fmla="*/ 45484 h 51616"/>
              <a:gd name="connsiteX6" fmla="*/ 8058558 w 8058558"/>
              <a:gd name="connsiteY6" fmla="*/ 51616 h 51616"/>
              <a:gd name="connsiteX0" fmla="*/ 0 w 8058558"/>
              <a:gd name="connsiteY0" fmla="*/ 4985 h 38915"/>
              <a:gd name="connsiteX1" fmla="*/ 2331837 w 8058558"/>
              <a:gd name="connsiteY1" fmla="*/ 0 h 38915"/>
              <a:gd name="connsiteX2" fmla="*/ 3610066 w 8058558"/>
              <a:gd name="connsiteY2" fmla="*/ 1696 h 38915"/>
              <a:gd name="connsiteX3" fmla="*/ 5102942 w 8058558"/>
              <a:gd name="connsiteY3" fmla="*/ 32785 h 38915"/>
              <a:gd name="connsiteX4" fmla="*/ 6312310 w 8058558"/>
              <a:gd name="connsiteY4" fmla="*/ 3288 h 38915"/>
              <a:gd name="connsiteX5" fmla="*/ 7315199 w 8058558"/>
              <a:gd name="connsiteY5" fmla="*/ 32783 h 38915"/>
              <a:gd name="connsiteX6" fmla="*/ 8058558 w 8058558"/>
              <a:gd name="connsiteY6" fmla="*/ 38915 h 38915"/>
              <a:gd name="connsiteX0" fmla="*/ 0 w 8058558"/>
              <a:gd name="connsiteY0" fmla="*/ 5092 h 39022"/>
              <a:gd name="connsiteX1" fmla="*/ 2331837 w 8058558"/>
              <a:gd name="connsiteY1" fmla="*/ 107 h 39022"/>
              <a:gd name="connsiteX2" fmla="*/ 3610066 w 8058558"/>
              <a:gd name="connsiteY2" fmla="*/ 1803 h 39022"/>
              <a:gd name="connsiteX3" fmla="*/ 5076628 w 8058558"/>
              <a:gd name="connsiteY3" fmla="*/ 0 h 39022"/>
              <a:gd name="connsiteX4" fmla="*/ 6312310 w 8058558"/>
              <a:gd name="connsiteY4" fmla="*/ 3395 h 39022"/>
              <a:gd name="connsiteX5" fmla="*/ 7315199 w 8058558"/>
              <a:gd name="connsiteY5" fmla="*/ 32890 h 39022"/>
              <a:gd name="connsiteX6" fmla="*/ 8058558 w 8058558"/>
              <a:gd name="connsiteY6" fmla="*/ 39022 h 39022"/>
              <a:gd name="connsiteX0" fmla="*/ 0 w 8058558"/>
              <a:gd name="connsiteY0" fmla="*/ 15826 h 49756"/>
              <a:gd name="connsiteX1" fmla="*/ 2331837 w 8058558"/>
              <a:gd name="connsiteY1" fmla="*/ 10841 h 49756"/>
              <a:gd name="connsiteX2" fmla="*/ 3610066 w 8058558"/>
              <a:gd name="connsiteY2" fmla="*/ 12537 h 49756"/>
              <a:gd name="connsiteX3" fmla="*/ 5076628 w 8058558"/>
              <a:gd name="connsiteY3" fmla="*/ 10734 h 49756"/>
              <a:gd name="connsiteX4" fmla="*/ 6312310 w 8058558"/>
              <a:gd name="connsiteY4" fmla="*/ 14129 h 49756"/>
              <a:gd name="connsiteX5" fmla="*/ 7308620 w 8058558"/>
              <a:gd name="connsiteY5" fmla="*/ 10732 h 49756"/>
              <a:gd name="connsiteX6" fmla="*/ 8058558 w 8058558"/>
              <a:gd name="connsiteY6" fmla="*/ 49756 h 49756"/>
              <a:gd name="connsiteX0" fmla="*/ 0 w 8058558"/>
              <a:gd name="connsiteY0" fmla="*/ 5433 h 39363"/>
              <a:gd name="connsiteX1" fmla="*/ 2331837 w 8058558"/>
              <a:gd name="connsiteY1" fmla="*/ 448 h 39363"/>
              <a:gd name="connsiteX2" fmla="*/ 3610066 w 8058558"/>
              <a:gd name="connsiteY2" fmla="*/ 2144 h 39363"/>
              <a:gd name="connsiteX3" fmla="*/ 5076628 w 8058558"/>
              <a:gd name="connsiteY3" fmla="*/ 341 h 39363"/>
              <a:gd name="connsiteX4" fmla="*/ 6312310 w 8058558"/>
              <a:gd name="connsiteY4" fmla="*/ 3736 h 39363"/>
              <a:gd name="connsiteX5" fmla="*/ 7308620 w 8058558"/>
              <a:gd name="connsiteY5" fmla="*/ 339 h 39363"/>
              <a:gd name="connsiteX6" fmla="*/ 8058558 w 8058558"/>
              <a:gd name="connsiteY6" fmla="*/ 39363 h 39363"/>
              <a:gd name="connsiteX0" fmla="*/ 0 w 8051979"/>
              <a:gd name="connsiteY0" fmla="*/ 5541 h 11150"/>
              <a:gd name="connsiteX1" fmla="*/ 2331837 w 8051979"/>
              <a:gd name="connsiteY1" fmla="*/ 556 h 11150"/>
              <a:gd name="connsiteX2" fmla="*/ 3610066 w 8051979"/>
              <a:gd name="connsiteY2" fmla="*/ 2252 h 11150"/>
              <a:gd name="connsiteX3" fmla="*/ 5076628 w 8051979"/>
              <a:gd name="connsiteY3" fmla="*/ 449 h 11150"/>
              <a:gd name="connsiteX4" fmla="*/ 6312310 w 8051979"/>
              <a:gd name="connsiteY4" fmla="*/ 3844 h 11150"/>
              <a:gd name="connsiteX5" fmla="*/ 7308620 w 8051979"/>
              <a:gd name="connsiteY5" fmla="*/ 447 h 11150"/>
              <a:gd name="connsiteX6" fmla="*/ 8051979 w 8051979"/>
              <a:gd name="connsiteY6" fmla="*/ 0 h 11150"/>
              <a:gd name="connsiteX0" fmla="*/ 0 w 8051979"/>
              <a:gd name="connsiteY0" fmla="*/ 8276 h 8767"/>
              <a:gd name="connsiteX1" fmla="*/ 2331837 w 8051979"/>
              <a:gd name="connsiteY1" fmla="*/ 3291 h 8767"/>
              <a:gd name="connsiteX2" fmla="*/ 3610066 w 8051979"/>
              <a:gd name="connsiteY2" fmla="*/ 4987 h 8767"/>
              <a:gd name="connsiteX3" fmla="*/ 5076628 w 8051979"/>
              <a:gd name="connsiteY3" fmla="*/ 3184 h 8767"/>
              <a:gd name="connsiteX4" fmla="*/ 6256394 w 8051979"/>
              <a:gd name="connsiteY4" fmla="*/ 0 h 8767"/>
              <a:gd name="connsiteX5" fmla="*/ 7308620 w 8051979"/>
              <a:gd name="connsiteY5" fmla="*/ 3182 h 8767"/>
              <a:gd name="connsiteX6" fmla="*/ 8051979 w 8051979"/>
              <a:gd name="connsiteY6" fmla="*/ 2735 h 8767"/>
              <a:gd name="connsiteX0" fmla="*/ 0 w 10000"/>
              <a:gd name="connsiteY0" fmla="*/ 6320 h 9723"/>
              <a:gd name="connsiteX1" fmla="*/ 2896 w 10000"/>
              <a:gd name="connsiteY1" fmla="*/ 634 h 9723"/>
              <a:gd name="connsiteX2" fmla="*/ 4483 w 10000"/>
              <a:gd name="connsiteY2" fmla="*/ 2568 h 9723"/>
              <a:gd name="connsiteX3" fmla="*/ 6305 w 10000"/>
              <a:gd name="connsiteY3" fmla="*/ 512 h 9723"/>
              <a:gd name="connsiteX4" fmla="*/ 7762 w 10000"/>
              <a:gd name="connsiteY4" fmla="*/ 632 h 9723"/>
              <a:gd name="connsiteX5" fmla="*/ 9077 w 10000"/>
              <a:gd name="connsiteY5" fmla="*/ 510 h 9723"/>
              <a:gd name="connsiteX6" fmla="*/ 10000 w 10000"/>
              <a:gd name="connsiteY6" fmla="*/ 0 h 9723"/>
              <a:gd name="connsiteX0" fmla="*/ 0 w 10000"/>
              <a:gd name="connsiteY0" fmla="*/ 7226 h 7227"/>
              <a:gd name="connsiteX1" fmla="*/ 2896 w 10000"/>
              <a:gd name="connsiteY1" fmla="*/ 1378 h 7227"/>
              <a:gd name="connsiteX2" fmla="*/ 4483 w 10000"/>
              <a:gd name="connsiteY2" fmla="*/ 3367 h 7227"/>
              <a:gd name="connsiteX3" fmla="*/ 6305 w 10000"/>
              <a:gd name="connsiteY3" fmla="*/ 1253 h 7227"/>
              <a:gd name="connsiteX4" fmla="*/ 7762 w 10000"/>
              <a:gd name="connsiteY4" fmla="*/ 1376 h 7227"/>
              <a:gd name="connsiteX5" fmla="*/ 9077 w 10000"/>
              <a:gd name="connsiteY5" fmla="*/ 1251 h 7227"/>
              <a:gd name="connsiteX6" fmla="*/ 10000 w 10000"/>
              <a:gd name="connsiteY6" fmla="*/ 726 h 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227">
                <a:moveTo>
                  <a:pt x="0" y="7226"/>
                </a:moveTo>
                <a:lnTo>
                  <a:pt x="2896" y="1378"/>
                </a:lnTo>
                <a:lnTo>
                  <a:pt x="4483" y="3367"/>
                </a:lnTo>
                <a:cubicBezTo>
                  <a:pt x="5090" y="2663"/>
                  <a:pt x="5759" y="1585"/>
                  <a:pt x="6305" y="1253"/>
                </a:cubicBezTo>
                <a:cubicBezTo>
                  <a:pt x="6851" y="920"/>
                  <a:pt x="7276" y="1335"/>
                  <a:pt x="7762" y="1376"/>
                </a:cubicBezTo>
                <a:cubicBezTo>
                  <a:pt x="8307" y="5151"/>
                  <a:pt x="8541" y="-2969"/>
                  <a:pt x="9077" y="1251"/>
                </a:cubicBezTo>
                <a:lnTo>
                  <a:pt x="10000" y="726"/>
                </a:lnTo>
              </a:path>
            </a:pathLst>
          </a:custGeom>
          <a:noFill/>
          <a:ln w="57150" cap="rnd">
            <a:solidFill>
              <a:srgbClr val="1E467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325253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ihandform 27">
            <a:extLst>
              <a:ext uri="{FF2B5EF4-FFF2-40B4-BE49-F238E27FC236}">
                <a16:creationId xmlns:a16="http://schemas.microsoft.com/office/drawing/2014/main" id="{47ADB0F1-C99F-4CDA-9F74-DF4506AB96CD}"/>
              </a:ext>
            </a:extLst>
          </p:cNvPr>
          <p:cNvSpPr/>
          <p:nvPr/>
        </p:nvSpPr>
        <p:spPr>
          <a:xfrm>
            <a:off x="735303" y="1118509"/>
            <a:ext cx="10799472" cy="462720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grpSp>
        <p:nvGrpSpPr>
          <p:cNvPr id="27" name="Gruppieren 26">
            <a:extLst>
              <a:ext uri="{FF2B5EF4-FFF2-40B4-BE49-F238E27FC236}">
                <a16:creationId xmlns:a16="http://schemas.microsoft.com/office/drawing/2014/main" id="{6C14B34A-9EF3-43F7-8188-F8876488CAFD}"/>
              </a:ext>
            </a:extLst>
          </p:cNvPr>
          <p:cNvGrpSpPr/>
          <p:nvPr/>
        </p:nvGrpSpPr>
        <p:grpSpPr>
          <a:xfrm>
            <a:off x="856712" y="1218647"/>
            <a:ext cx="887588" cy="872769"/>
            <a:chOff x="9300075" y="1219946"/>
            <a:chExt cx="1584000" cy="1584000"/>
          </a:xfrm>
        </p:grpSpPr>
        <p:sp>
          <p:nvSpPr>
            <p:cNvPr id="28" name="Ellipse 27">
              <a:extLst>
                <a:ext uri="{FF2B5EF4-FFF2-40B4-BE49-F238E27FC236}">
                  <a16:creationId xmlns:a16="http://schemas.microsoft.com/office/drawing/2014/main" id="{D84A1FFA-12F7-4371-AAFB-737A8B64E9F5}"/>
                </a:ext>
              </a:extLst>
            </p:cNvPr>
            <p:cNvSpPr/>
            <p:nvPr/>
          </p:nvSpPr>
          <p:spPr>
            <a:xfrm>
              <a:off x="9300075"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9" name="Bildplatzhalter 12" descr="Anker mit einfarbiger Füllung">
              <a:extLst>
                <a:ext uri="{FF2B5EF4-FFF2-40B4-BE49-F238E27FC236}">
                  <a16:creationId xmlns:a16="http://schemas.microsoft.com/office/drawing/2014/main" id="{E8D5FF50-D721-40DB-97C5-C2D3C8E01F37}"/>
                </a:ext>
              </a:extLst>
            </p:cNvPr>
            <p:cNvSpPr/>
            <p:nvPr/>
          </p:nvSpPr>
          <p:spPr>
            <a:xfrm>
              <a:off x="9653555" y="1554746"/>
              <a:ext cx="877039" cy="935909"/>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0E0E0"/>
            </a:solidFill>
            <a:ln w="16371"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Feature Engineering -  </a:t>
            </a:r>
            <a:r>
              <a:rPr lang="de-DE" err="1"/>
              <a:t>Deep</a:t>
            </a:r>
            <a:r>
              <a:rPr lang="de-DE"/>
              <a:t> </a:t>
            </a:r>
            <a:r>
              <a:rPr lang="de-DE" err="1"/>
              <a:t>Dive</a:t>
            </a:r>
            <a:r>
              <a:rPr lang="de-DE"/>
              <a:t> Stopps</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pic>
        <p:nvPicPr>
          <p:cNvPr id="7" name="Grafik 6">
            <a:extLst>
              <a:ext uri="{FF2B5EF4-FFF2-40B4-BE49-F238E27FC236}">
                <a16:creationId xmlns:a16="http://schemas.microsoft.com/office/drawing/2014/main" id="{C2AF4CD9-E479-244D-80CB-F70BB9731630}"/>
              </a:ext>
            </a:extLst>
          </p:cNvPr>
          <p:cNvPicPr>
            <a:picLocks noChangeAspect="1"/>
          </p:cNvPicPr>
          <p:nvPr/>
        </p:nvPicPr>
        <p:blipFill rotWithShape="1">
          <a:blip r:embed="rId2"/>
          <a:srcRect l="12215" t="10823" r="18084" b="14109"/>
          <a:stretch/>
        </p:blipFill>
        <p:spPr>
          <a:xfrm>
            <a:off x="2006930" y="2312988"/>
            <a:ext cx="8093925" cy="2062822"/>
          </a:xfrm>
          <a:prstGeom prst="rect">
            <a:avLst/>
          </a:prstGeom>
        </p:spPr>
      </p:pic>
      <p:sp>
        <p:nvSpPr>
          <p:cNvPr id="10" name="Textfeld 9">
            <a:extLst>
              <a:ext uri="{FF2B5EF4-FFF2-40B4-BE49-F238E27FC236}">
                <a16:creationId xmlns:a16="http://schemas.microsoft.com/office/drawing/2014/main" id="{AE1A4B6A-58CF-8649-995F-8649C1F0A7D1}"/>
              </a:ext>
            </a:extLst>
          </p:cNvPr>
          <p:cNvSpPr txBox="1"/>
          <p:nvPr/>
        </p:nvSpPr>
        <p:spPr bwMode="auto">
          <a:xfrm rot="19149454">
            <a:off x="1446835" y="4537276"/>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Frankfurt</a:t>
            </a:r>
          </a:p>
        </p:txBody>
      </p:sp>
      <p:sp>
        <p:nvSpPr>
          <p:cNvPr id="11" name="Textfeld 10">
            <a:extLst>
              <a:ext uri="{FF2B5EF4-FFF2-40B4-BE49-F238E27FC236}">
                <a16:creationId xmlns:a16="http://schemas.microsoft.com/office/drawing/2014/main" id="{F6BECC24-F358-C541-BF0B-B0284F6FECE2}"/>
              </a:ext>
            </a:extLst>
          </p:cNvPr>
          <p:cNvSpPr txBox="1"/>
          <p:nvPr/>
        </p:nvSpPr>
        <p:spPr bwMode="auto">
          <a:xfrm rot="19149454">
            <a:off x="9643656" y="4643640"/>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Rotterdam</a:t>
            </a:r>
          </a:p>
        </p:txBody>
      </p:sp>
      <p:sp>
        <p:nvSpPr>
          <p:cNvPr id="16" name="Textfeld 15">
            <a:extLst>
              <a:ext uri="{FF2B5EF4-FFF2-40B4-BE49-F238E27FC236}">
                <a16:creationId xmlns:a16="http://schemas.microsoft.com/office/drawing/2014/main" id="{1A14CC2B-2603-8546-8456-25FC7639CC75}"/>
              </a:ext>
            </a:extLst>
          </p:cNvPr>
          <p:cNvSpPr txBox="1"/>
          <p:nvPr/>
        </p:nvSpPr>
        <p:spPr bwMode="auto">
          <a:xfrm>
            <a:off x="10430516" y="3046101"/>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rgbClr val="C00000"/>
                </a:solidFill>
              </a:rPr>
              <a:t>Cargo</a:t>
            </a:r>
          </a:p>
        </p:txBody>
      </p:sp>
      <p:sp>
        <p:nvSpPr>
          <p:cNvPr id="17" name="Textfeld 16">
            <a:extLst>
              <a:ext uri="{FF2B5EF4-FFF2-40B4-BE49-F238E27FC236}">
                <a16:creationId xmlns:a16="http://schemas.microsoft.com/office/drawing/2014/main" id="{869C9593-15E2-B441-A02F-D43282EB4244}"/>
              </a:ext>
            </a:extLst>
          </p:cNvPr>
          <p:cNvSpPr txBox="1"/>
          <p:nvPr/>
        </p:nvSpPr>
        <p:spPr bwMode="auto">
          <a:xfrm>
            <a:off x="10430516" y="3429000"/>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chemeClr val="tx2"/>
                </a:solidFill>
              </a:rPr>
              <a:t>Tanker</a:t>
            </a:r>
          </a:p>
        </p:txBody>
      </p:sp>
      <p:sp>
        <p:nvSpPr>
          <p:cNvPr id="18" name="Rechteck 17">
            <a:extLst>
              <a:ext uri="{FF2B5EF4-FFF2-40B4-BE49-F238E27FC236}">
                <a16:creationId xmlns:a16="http://schemas.microsoft.com/office/drawing/2014/main" id="{10161A07-9112-FA4B-8823-199FD6A8F860}"/>
              </a:ext>
            </a:extLst>
          </p:cNvPr>
          <p:cNvSpPr/>
          <p:nvPr/>
        </p:nvSpPr>
        <p:spPr>
          <a:xfrm>
            <a:off x="10384797" y="3496204"/>
            <a:ext cx="45719" cy="225631"/>
          </a:xfrm>
          <a:prstGeom prst="rect">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9" name="Rechteck 18">
            <a:extLst>
              <a:ext uri="{FF2B5EF4-FFF2-40B4-BE49-F238E27FC236}">
                <a16:creationId xmlns:a16="http://schemas.microsoft.com/office/drawing/2014/main" id="{15B635C4-6961-2E46-9DBF-5DEED78C3D54}"/>
              </a:ext>
            </a:extLst>
          </p:cNvPr>
          <p:cNvSpPr/>
          <p:nvPr/>
        </p:nvSpPr>
        <p:spPr>
          <a:xfrm>
            <a:off x="10386454" y="3114696"/>
            <a:ext cx="45719" cy="225631"/>
          </a:xfrm>
          <a:prstGeom prst="rect">
            <a:avLst/>
          </a:prstGeom>
          <a:solidFill>
            <a:srgbClr val="C0000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0" name="Textfeld 19">
            <a:extLst>
              <a:ext uri="{FF2B5EF4-FFF2-40B4-BE49-F238E27FC236}">
                <a16:creationId xmlns:a16="http://schemas.microsoft.com/office/drawing/2014/main" id="{E51591E8-3126-9D4E-9258-FDDC20E2C733}"/>
              </a:ext>
            </a:extLst>
          </p:cNvPr>
          <p:cNvSpPr txBox="1"/>
          <p:nvPr/>
        </p:nvSpPr>
        <p:spPr bwMode="auto">
          <a:xfrm>
            <a:off x="2002971" y="1830330"/>
            <a:ext cx="351401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t>Durchschnittliche Dauer in Minuten</a:t>
            </a:r>
          </a:p>
        </p:txBody>
      </p:sp>
      <p:sp>
        <p:nvSpPr>
          <p:cNvPr id="21" name="Textfeld 20">
            <a:extLst>
              <a:ext uri="{FF2B5EF4-FFF2-40B4-BE49-F238E27FC236}">
                <a16:creationId xmlns:a16="http://schemas.microsoft.com/office/drawing/2014/main" id="{18440157-21B4-D64E-931B-FC1E0FD9D554}"/>
              </a:ext>
            </a:extLst>
          </p:cNvPr>
          <p:cNvSpPr txBox="1"/>
          <p:nvPr/>
        </p:nvSpPr>
        <p:spPr bwMode="auto">
          <a:xfrm>
            <a:off x="1794853" y="4201480"/>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0</a:t>
            </a:r>
          </a:p>
        </p:txBody>
      </p:sp>
      <p:sp>
        <p:nvSpPr>
          <p:cNvPr id="22" name="Textfeld 21">
            <a:extLst>
              <a:ext uri="{FF2B5EF4-FFF2-40B4-BE49-F238E27FC236}">
                <a16:creationId xmlns:a16="http://schemas.microsoft.com/office/drawing/2014/main" id="{329DC4F8-9809-FA42-89C0-85CA523B7089}"/>
              </a:ext>
            </a:extLst>
          </p:cNvPr>
          <p:cNvSpPr txBox="1"/>
          <p:nvPr/>
        </p:nvSpPr>
        <p:spPr bwMode="auto">
          <a:xfrm>
            <a:off x="1598082" y="3774187"/>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500</a:t>
            </a:r>
          </a:p>
        </p:txBody>
      </p:sp>
      <p:sp>
        <p:nvSpPr>
          <p:cNvPr id="23" name="Textfeld 22">
            <a:extLst>
              <a:ext uri="{FF2B5EF4-FFF2-40B4-BE49-F238E27FC236}">
                <a16:creationId xmlns:a16="http://schemas.microsoft.com/office/drawing/2014/main" id="{C482484A-910A-1145-93EE-07B9D1DA0CB7}"/>
              </a:ext>
            </a:extLst>
          </p:cNvPr>
          <p:cNvSpPr txBox="1"/>
          <p:nvPr/>
        </p:nvSpPr>
        <p:spPr bwMode="auto">
          <a:xfrm>
            <a:off x="1519106" y="3346895"/>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1000</a:t>
            </a:r>
          </a:p>
        </p:txBody>
      </p:sp>
      <p:sp>
        <p:nvSpPr>
          <p:cNvPr id="24" name="Textfeld 23">
            <a:extLst>
              <a:ext uri="{FF2B5EF4-FFF2-40B4-BE49-F238E27FC236}">
                <a16:creationId xmlns:a16="http://schemas.microsoft.com/office/drawing/2014/main" id="{3BF8C072-30E5-6740-A046-72C84645AE7F}"/>
              </a:ext>
            </a:extLst>
          </p:cNvPr>
          <p:cNvSpPr txBox="1"/>
          <p:nvPr/>
        </p:nvSpPr>
        <p:spPr bwMode="auto">
          <a:xfrm>
            <a:off x="1523456" y="2880835"/>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1500</a:t>
            </a:r>
          </a:p>
        </p:txBody>
      </p:sp>
      <p:sp>
        <p:nvSpPr>
          <p:cNvPr id="26" name="Textfeld 25">
            <a:extLst>
              <a:ext uri="{FF2B5EF4-FFF2-40B4-BE49-F238E27FC236}">
                <a16:creationId xmlns:a16="http://schemas.microsoft.com/office/drawing/2014/main" id="{8BA006B1-FA9D-6242-BD5F-93B0382993A3}"/>
              </a:ext>
            </a:extLst>
          </p:cNvPr>
          <p:cNvSpPr txBox="1"/>
          <p:nvPr/>
        </p:nvSpPr>
        <p:spPr bwMode="auto">
          <a:xfrm>
            <a:off x="1519105" y="2473056"/>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2000</a:t>
            </a:r>
          </a:p>
        </p:txBody>
      </p:sp>
      <p:sp>
        <p:nvSpPr>
          <p:cNvPr id="32" name="Freihandform 31">
            <a:extLst>
              <a:ext uri="{FF2B5EF4-FFF2-40B4-BE49-F238E27FC236}">
                <a16:creationId xmlns:a16="http://schemas.microsoft.com/office/drawing/2014/main" id="{17FEA851-A6BE-B94B-8BFF-72A6D3D2AFD4}"/>
              </a:ext>
            </a:extLst>
          </p:cNvPr>
          <p:cNvSpPr/>
          <p:nvPr/>
        </p:nvSpPr>
        <p:spPr>
          <a:xfrm>
            <a:off x="2048056" y="4424064"/>
            <a:ext cx="8051979" cy="6160"/>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 name="connsiteX0" fmla="*/ 0 w 5648633"/>
              <a:gd name="connsiteY0" fmla="*/ 822125 h 2313204"/>
              <a:gd name="connsiteX1" fmla="*/ 3274142 w 5648633"/>
              <a:gd name="connsiteY1" fmla="*/ 40462 h 2313204"/>
              <a:gd name="connsiteX2" fmla="*/ 4026310 w 5648633"/>
              <a:gd name="connsiteY2" fmla="*/ 99455 h 2313204"/>
              <a:gd name="connsiteX3" fmla="*/ 4483510 w 5648633"/>
              <a:gd name="connsiteY3" fmla="*/ 1382565 h 2313204"/>
              <a:gd name="connsiteX4" fmla="*/ 4984955 w 5648633"/>
              <a:gd name="connsiteY4" fmla="*/ 2193726 h 2313204"/>
              <a:gd name="connsiteX5" fmla="*/ 5648633 w 5648633"/>
              <a:gd name="connsiteY5" fmla="*/ 2223223 h 2313204"/>
              <a:gd name="connsiteX0" fmla="*/ 0 w 5648633"/>
              <a:gd name="connsiteY0" fmla="*/ 729153 h 2220232"/>
              <a:gd name="connsiteX1" fmla="*/ 2344994 w 5648633"/>
              <a:gd name="connsiteY1" fmla="*/ 743903 h 2220232"/>
              <a:gd name="connsiteX2" fmla="*/ 4026310 w 5648633"/>
              <a:gd name="connsiteY2" fmla="*/ 6483 h 2220232"/>
              <a:gd name="connsiteX3" fmla="*/ 4483510 w 5648633"/>
              <a:gd name="connsiteY3" fmla="*/ 1289593 h 2220232"/>
              <a:gd name="connsiteX4" fmla="*/ 4984955 w 5648633"/>
              <a:gd name="connsiteY4" fmla="*/ 2100754 h 2220232"/>
              <a:gd name="connsiteX5" fmla="*/ 5648633 w 5648633"/>
              <a:gd name="connsiteY5" fmla="*/ 2130251 h 2220232"/>
              <a:gd name="connsiteX0" fmla="*/ 0 w 5648633"/>
              <a:gd name="connsiteY0" fmla="*/ 26904 h 1517983"/>
              <a:gd name="connsiteX1" fmla="*/ 2344994 w 5648633"/>
              <a:gd name="connsiteY1" fmla="*/ 41654 h 1517983"/>
              <a:gd name="connsiteX2" fmla="*/ 3613355 w 5648633"/>
              <a:gd name="connsiteY2" fmla="*/ 26905 h 1517983"/>
              <a:gd name="connsiteX3" fmla="*/ 4483510 w 5648633"/>
              <a:gd name="connsiteY3" fmla="*/ 587344 h 1517983"/>
              <a:gd name="connsiteX4" fmla="*/ 4984955 w 5648633"/>
              <a:gd name="connsiteY4" fmla="*/ 1398505 h 1517983"/>
              <a:gd name="connsiteX5" fmla="*/ 5648633 w 5648633"/>
              <a:gd name="connsiteY5" fmla="*/ 1428002 h 1517983"/>
              <a:gd name="connsiteX0" fmla="*/ 0 w 5648633"/>
              <a:gd name="connsiteY0" fmla="*/ 68922 h 1560001"/>
              <a:gd name="connsiteX1" fmla="*/ 2344994 w 5648633"/>
              <a:gd name="connsiteY1" fmla="*/ 83672 h 1560001"/>
              <a:gd name="connsiteX2" fmla="*/ 3613355 w 5648633"/>
              <a:gd name="connsiteY2" fmla="*/ 68923 h 1560001"/>
              <a:gd name="connsiteX3" fmla="*/ 5102942 w 5648633"/>
              <a:gd name="connsiteY3" fmla="*/ 113168 h 1560001"/>
              <a:gd name="connsiteX4" fmla="*/ 4984955 w 5648633"/>
              <a:gd name="connsiteY4" fmla="*/ 1440523 h 1560001"/>
              <a:gd name="connsiteX5" fmla="*/ 5648633 w 5648633"/>
              <a:gd name="connsiteY5" fmla="*/ 1470020 h 1560001"/>
              <a:gd name="connsiteX0" fmla="*/ 0 w 6335702"/>
              <a:gd name="connsiteY0" fmla="*/ 40255 h 1450808"/>
              <a:gd name="connsiteX1" fmla="*/ 2344994 w 6335702"/>
              <a:gd name="connsiteY1" fmla="*/ 55005 h 1450808"/>
              <a:gd name="connsiteX2" fmla="*/ 3613355 w 6335702"/>
              <a:gd name="connsiteY2" fmla="*/ 40256 h 1450808"/>
              <a:gd name="connsiteX3" fmla="*/ 5102942 w 6335702"/>
              <a:gd name="connsiteY3" fmla="*/ 84501 h 1450808"/>
              <a:gd name="connsiteX4" fmla="*/ 6312310 w 6335702"/>
              <a:gd name="connsiteY4" fmla="*/ 55004 h 1450808"/>
              <a:gd name="connsiteX5" fmla="*/ 5648633 w 6335702"/>
              <a:gd name="connsiteY5" fmla="*/ 1441353 h 1450808"/>
              <a:gd name="connsiteX0" fmla="*/ 0 w 7323554"/>
              <a:gd name="connsiteY0" fmla="*/ 71647 h 1472745"/>
              <a:gd name="connsiteX1" fmla="*/ 2344994 w 7323554"/>
              <a:gd name="connsiteY1" fmla="*/ 86397 h 1472745"/>
              <a:gd name="connsiteX2" fmla="*/ 3613355 w 7323554"/>
              <a:gd name="connsiteY2" fmla="*/ 71648 h 1472745"/>
              <a:gd name="connsiteX3" fmla="*/ 5102942 w 7323554"/>
              <a:gd name="connsiteY3" fmla="*/ 115893 h 1472745"/>
              <a:gd name="connsiteX4" fmla="*/ 6312310 w 7323554"/>
              <a:gd name="connsiteY4" fmla="*/ 86396 h 1472745"/>
              <a:gd name="connsiteX5" fmla="*/ 7315199 w 7323554"/>
              <a:gd name="connsiteY5" fmla="*/ 115891 h 1472745"/>
              <a:gd name="connsiteX6" fmla="*/ 5648633 w 7323554"/>
              <a:gd name="connsiteY6" fmla="*/ 1472745 h 1472745"/>
              <a:gd name="connsiteX0" fmla="*/ 0 w 8509820"/>
              <a:gd name="connsiteY0" fmla="*/ 71647 h 208632"/>
              <a:gd name="connsiteX1" fmla="*/ 2344994 w 8509820"/>
              <a:gd name="connsiteY1" fmla="*/ 86397 h 208632"/>
              <a:gd name="connsiteX2" fmla="*/ 3613355 w 8509820"/>
              <a:gd name="connsiteY2" fmla="*/ 71648 h 208632"/>
              <a:gd name="connsiteX3" fmla="*/ 5102942 w 8509820"/>
              <a:gd name="connsiteY3" fmla="*/ 115893 h 208632"/>
              <a:gd name="connsiteX4" fmla="*/ 6312310 w 8509820"/>
              <a:gd name="connsiteY4" fmla="*/ 86396 h 208632"/>
              <a:gd name="connsiteX5" fmla="*/ 7315199 w 8509820"/>
              <a:gd name="connsiteY5" fmla="*/ 115891 h 208632"/>
              <a:gd name="connsiteX6" fmla="*/ 8509820 w 8509820"/>
              <a:gd name="connsiteY6" fmla="*/ 86397 h 208632"/>
              <a:gd name="connsiteX0" fmla="*/ 0 w 8509820"/>
              <a:gd name="connsiteY0" fmla="*/ 28421 h 165406"/>
              <a:gd name="connsiteX1" fmla="*/ 2344994 w 8509820"/>
              <a:gd name="connsiteY1" fmla="*/ 43171 h 165406"/>
              <a:gd name="connsiteX2" fmla="*/ 3613355 w 8509820"/>
              <a:gd name="connsiteY2" fmla="*/ 28422 h 165406"/>
              <a:gd name="connsiteX3" fmla="*/ 5102942 w 8509820"/>
              <a:gd name="connsiteY3" fmla="*/ 72667 h 165406"/>
              <a:gd name="connsiteX4" fmla="*/ 6312310 w 8509820"/>
              <a:gd name="connsiteY4" fmla="*/ 43170 h 165406"/>
              <a:gd name="connsiteX5" fmla="*/ 7315199 w 8509820"/>
              <a:gd name="connsiteY5" fmla="*/ 72665 h 165406"/>
              <a:gd name="connsiteX6" fmla="*/ 8509820 w 8509820"/>
              <a:gd name="connsiteY6" fmla="*/ 43171 h 165406"/>
              <a:gd name="connsiteX0" fmla="*/ 0 w 8509820"/>
              <a:gd name="connsiteY0" fmla="*/ 61873 h 198858"/>
              <a:gd name="connsiteX1" fmla="*/ 2344994 w 8509820"/>
              <a:gd name="connsiteY1" fmla="*/ 76623 h 198858"/>
              <a:gd name="connsiteX2" fmla="*/ 3613355 w 8509820"/>
              <a:gd name="connsiteY2" fmla="*/ 61874 h 198858"/>
              <a:gd name="connsiteX3" fmla="*/ 5102942 w 8509820"/>
              <a:gd name="connsiteY3" fmla="*/ 106119 h 198858"/>
              <a:gd name="connsiteX4" fmla="*/ 6312310 w 8509820"/>
              <a:gd name="connsiteY4" fmla="*/ 76622 h 198858"/>
              <a:gd name="connsiteX5" fmla="*/ 7315199 w 8509820"/>
              <a:gd name="connsiteY5" fmla="*/ 106117 h 198858"/>
              <a:gd name="connsiteX6" fmla="*/ 8509820 w 8509820"/>
              <a:gd name="connsiteY6" fmla="*/ 76623 h 198858"/>
              <a:gd name="connsiteX0" fmla="*/ 0 w 8509820"/>
              <a:gd name="connsiteY0" fmla="*/ 2780 h 139765"/>
              <a:gd name="connsiteX1" fmla="*/ 2344994 w 8509820"/>
              <a:gd name="connsiteY1" fmla="*/ 17530 h 139765"/>
              <a:gd name="connsiteX2" fmla="*/ 3613355 w 8509820"/>
              <a:gd name="connsiteY2" fmla="*/ 2781 h 139765"/>
              <a:gd name="connsiteX3" fmla="*/ 5102942 w 8509820"/>
              <a:gd name="connsiteY3" fmla="*/ 47026 h 139765"/>
              <a:gd name="connsiteX4" fmla="*/ 6312310 w 8509820"/>
              <a:gd name="connsiteY4" fmla="*/ 17529 h 139765"/>
              <a:gd name="connsiteX5" fmla="*/ 7315199 w 8509820"/>
              <a:gd name="connsiteY5" fmla="*/ 47024 h 139765"/>
              <a:gd name="connsiteX6" fmla="*/ 8509820 w 8509820"/>
              <a:gd name="connsiteY6" fmla="*/ 17530 h 139765"/>
              <a:gd name="connsiteX0" fmla="*/ 0 w 8509820"/>
              <a:gd name="connsiteY0" fmla="*/ 2780 h 47143"/>
              <a:gd name="connsiteX1" fmla="*/ 2344994 w 8509820"/>
              <a:gd name="connsiteY1" fmla="*/ 17530 h 47143"/>
              <a:gd name="connsiteX2" fmla="*/ 3613355 w 8509820"/>
              <a:gd name="connsiteY2" fmla="*/ 2781 h 47143"/>
              <a:gd name="connsiteX3" fmla="*/ 5102942 w 8509820"/>
              <a:gd name="connsiteY3" fmla="*/ 47026 h 47143"/>
              <a:gd name="connsiteX4" fmla="*/ 6312310 w 8509820"/>
              <a:gd name="connsiteY4" fmla="*/ 17529 h 47143"/>
              <a:gd name="connsiteX5" fmla="*/ 7315199 w 8509820"/>
              <a:gd name="connsiteY5" fmla="*/ 47024 h 47143"/>
              <a:gd name="connsiteX6" fmla="*/ 8509820 w 8509820"/>
              <a:gd name="connsiteY6" fmla="*/ 17530 h 47143"/>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582 h 101406"/>
              <a:gd name="connsiteX1" fmla="*/ 2344994 w 8058558"/>
              <a:gd name="connsiteY1" fmla="*/ 101406 h 101406"/>
              <a:gd name="connsiteX2" fmla="*/ 3613355 w 8058558"/>
              <a:gd name="connsiteY2" fmla="*/ 1137 h 101406"/>
              <a:gd name="connsiteX3" fmla="*/ 5102942 w 8058558"/>
              <a:gd name="connsiteY3" fmla="*/ 45382 h 101406"/>
              <a:gd name="connsiteX4" fmla="*/ 6312310 w 8058558"/>
              <a:gd name="connsiteY4" fmla="*/ 15885 h 101406"/>
              <a:gd name="connsiteX5" fmla="*/ 7315199 w 8058558"/>
              <a:gd name="connsiteY5" fmla="*/ 45380 h 101406"/>
              <a:gd name="connsiteX6" fmla="*/ 8058558 w 8058558"/>
              <a:gd name="connsiteY6" fmla="*/ 51512 h 101406"/>
              <a:gd name="connsiteX0" fmla="*/ 0 w 8058558"/>
              <a:gd name="connsiteY0" fmla="*/ 17686 h 51616"/>
              <a:gd name="connsiteX1" fmla="*/ 2331837 w 8058558"/>
              <a:gd name="connsiteY1" fmla="*/ 12701 h 51616"/>
              <a:gd name="connsiteX2" fmla="*/ 3613355 w 8058558"/>
              <a:gd name="connsiteY2" fmla="*/ 1241 h 51616"/>
              <a:gd name="connsiteX3" fmla="*/ 5102942 w 8058558"/>
              <a:gd name="connsiteY3" fmla="*/ 45486 h 51616"/>
              <a:gd name="connsiteX4" fmla="*/ 6312310 w 8058558"/>
              <a:gd name="connsiteY4" fmla="*/ 15989 h 51616"/>
              <a:gd name="connsiteX5" fmla="*/ 7315199 w 8058558"/>
              <a:gd name="connsiteY5" fmla="*/ 45484 h 51616"/>
              <a:gd name="connsiteX6" fmla="*/ 8058558 w 8058558"/>
              <a:gd name="connsiteY6" fmla="*/ 51616 h 51616"/>
              <a:gd name="connsiteX0" fmla="*/ 0 w 8058558"/>
              <a:gd name="connsiteY0" fmla="*/ 4985 h 38915"/>
              <a:gd name="connsiteX1" fmla="*/ 2331837 w 8058558"/>
              <a:gd name="connsiteY1" fmla="*/ 0 h 38915"/>
              <a:gd name="connsiteX2" fmla="*/ 3610066 w 8058558"/>
              <a:gd name="connsiteY2" fmla="*/ 1696 h 38915"/>
              <a:gd name="connsiteX3" fmla="*/ 5102942 w 8058558"/>
              <a:gd name="connsiteY3" fmla="*/ 32785 h 38915"/>
              <a:gd name="connsiteX4" fmla="*/ 6312310 w 8058558"/>
              <a:gd name="connsiteY4" fmla="*/ 3288 h 38915"/>
              <a:gd name="connsiteX5" fmla="*/ 7315199 w 8058558"/>
              <a:gd name="connsiteY5" fmla="*/ 32783 h 38915"/>
              <a:gd name="connsiteX6" fmla="*/ 8058558 w 8058558"/>
              <a:gd name="connsiteY6" fmla="*/ 38915 h 38915"/>
              <a:gd name="connsiteX0" fmla="*/ 0 w 8058558"/>
              <a:gd name="connsiteY0" fmla="*/ 5092 h 39022"/>
              <a:gd name="connsiteX1" fmla="*/ 2331837 w 8058558"/>
              <a:gd name="connsiteY1" fmla="*/ 107 h 39022"/>
              <a:gd name="connsiteX2" fmla="*/ 3610066 w 8058558"/>
              <a:gd name="connsiteY2" fmla="*/ 1803 h 39022"/>
              <a:gd name="connsiteX3" fmla="*/ 5076628 w 8058558"/>
              <a:gd name="connsiteY3" fmla="*/ 0 h 39022"/>
              <a:gd name="connsiteX4" fmla="*/ 6312310 w 8058558"/>
              <a:gd name="connsiteY4" fmla="*/ 3395 h 39022"/>
              <a:gd name="connsiteX5" fmla="*/ 7315199 w 8058558"/>
              <a:gd name="connsiteY5" fmla="*/ 32890 h 39022"/>
              <a:gd name="connsiteX6" fmla="*/ 8058558 w 8058558"/>
              <a:gd name="connsiteY6" fmla="*/ 39022 h 39022"/>
              <a:gd name="connsiteX0" fmla="*/ 0 w 8058558"/>
              <a:gd name="connsiteY0" fmla="*/ 15826 h 49756"/>
              <a:gd name="connsiteX1" fmla="*/ 2331837 w 8058558"/>
              <a:gd name="connsiteY1" fmla="*/ 10841 h 49756"/>
              <a:gd name="connsiteX2" fmla="*/ 3610066 w 8058558"/>
              <a:gd name="connsiteY2" fmla="*/ 12537 h 49756"/>
              <a:gd name="connsiteX3" fmla="*/ 5076628 w 8058558"/>
              <a:gd name="connsiteY3" fmla="*/ 10734 h 49756"/>
              <a:gd name="connsiteX4" fmla="*/ 6312310 w 8058558"/>
              <a:gd name="connsiteY4" fmla="*/ 14129 h 49756"/>
              <a:gd name="connsiteX5" fmla="*/ 7308620 w 8058558"/>
              <a:gd name="connsiteY5" fmla="*/ 10732 h 49756"/>
              <a:gd name="connsiteX6" fmla="*/ 8058558 w 8058558"/>
              <a:gd name="connsiteY6" fmla="*/ 49756 h 49756"/>
              <a:gd name="connsiteX0" fmla="*/ 0 w 8058558"/>
              <a:gd name="connsiteY0" fmla="*/ 5433 h 39363"/>
              <a:gd name="connsiteX1" fmla="*/ 2331837 w 8058558"/>
              <a:gd name="connsiteY1" fmla="*/ 448 h 39363"/>
              <a:gd name="connsiteX2" fmla="*/ 3610066 w 8058558"/>
              <a:gd name="connsiteY2" fmla="*/ 2144 h 39363"/>
              <a:gd name="connsiteX3" fmla="*/ 5076628 w 8058558"/>
              <a:gd name="connsiteY3" fmla="*/ 341 h 39363"/>
              <a:gd name="connsiteX4" fmla="*/ 6312310 w 8058558"/>
              <a:gd name="connsiteY4" fmla="*/ 3736 h 39363"/>
              <a:gd name="connsiteX5" fmla="*/ 7308620 w 8058558"/>
              <a:gd name="connsiteY5" fmla="*/ 339 h 39363"/>
              <a:gd name="connsiteX6" fmla="*/ 8058558 w 8058558"/>
              <a:gd name="connsiteY6" fmla="*/ 39363 h 39363"/>
              <a:gd name="connsiteX0" fmla="*/ 0 w 8051979"/>
              <a:gd name="connsiteY0" fmla="*/ 5541 h 11150"/>
              <a:gd name="connsiteX1" fmla="*/ 2331837 w 8051979"/>
              <a:gd name="connsiteY1" fmla="*/ 556 h 11150"/>
              <a:gd name="connsiteX2" fmla="*/ 3610066 w 8051979"/>
              <a:gd name="connsiteY2" fmla="*/ 2252 h 11150"/>
              <a:gd name="connsiteX3" fmla="*/ 5076628 w 8051979"/>
              <a:gd name="connsiteY3" fmla="*/ 449 h 11150"/>
              <a:gd name="connsiteX4" fmla="*/ 6312310 w 8051979"/>
              <a:gd name="connsiteY4" fmla="*/ 3844 h 11150"/>
              <a:gd name="connsiteX5" fmla="*/ 7308620 w 8051979"/>
              <a:gd name="connsiteY5" fmla="*/ 447 h 11150"/>
              <a:gd name="connsiteX6" fmla="*/ 8051979 w 8051979"/>
              <a:gd name="connsiteY6" fmla="*/ 0 h 11150"/>
              <a:gd name="connsiteX0" fmla="*/ 0 w 8051979"/>
              <a:gd name="connsiteY0" fmla="*/ 8276 h 8767"/>
              <a:gd name="connsiteX1" fmla="*/ 2331837 w 8051979"/>
              <a:gd name="connsiteY1" fmla="*/ 3291 h 8767"/>
              <a:gd name="connsiteX2" fmla="*/ 3610066 w 8051979"/>
              <a:gd name="connsiteY2" fmla="*/ 4987 h 8767"/>
              <a:gd name="connsiteX3" fmla="*/ 5076628 w 8051979"/>
              <a:gd name="connsiteY3" fmla="*/ 3184 h 8767"/>
              <a:gd name="connsiteX4" fmla="*/ 6256394 w 8051979"/>
              <a:gd name="connsiteY4" fmla="*/ 0 h 8767"/>
              <a:gd name="connsiteX5" fmla="*/ 7308620 w 8051979"/>
              <a:gd name="connsiteY5" fmla="*/ 3182 h 8767"/>
              <a:gd name="connsiteX6" fmla="*/ 8051979 w 8051979"/>
              <a:gd name="connsiteY6" fmla="*/ 2735 h 8767"/>
              <a:gd name="connsiteX0" fmla="*/ 0 w 10000"/>
              <a:gd name="connsiteY0" fmla="*/ 6320 h 9723"/>
              <a:gd name="connsiteX1" fmla="*/ 2896 w 10000"/>
              <a:gd name="connsiteY1" fmla="*/ 634 h 9723"/>
              <a:gd name="connsiteX2" fmla="*/ 4483 w 10000"/>
              <a:gd name="connsiteY2" fmla="*/ 2568 h 9723"/>
              <a:gd name="connsiteX3" fmla="*/ 6305 w 10000"/>
              <a:gd name="connsiteY3" fmla="*/ 512 h 9723"/>
              <a:gd name="connsiteX4" fmla="*/ 7762 w 10000"/>
              <a:gd name="connsiteY4" fmla="*/ 632 h 9723"/>
              <a:gd name="connsiteX5" fmla="*/ 9077 w 10000"/>
              <a:gd name="connsiteY5" fmla="*/ 510 h 9723"/>
              <a:gd name="connsiteX6" fmla="*/ 10000 w 10000"/>
              <a:gd name="connsiteY6" fmla="*/ 0 h 9723"/>
              <a:gd name="connsiteX0" fmla="*/ 0 w 10000"/>
              <a:gd name="connsiteY0" fmla="*/ 7226 h 7227"/>
              <a:gd name="connsiteX1" fmla="*/ 2896 w 10000"/>
              <a:gd name="connsiteY1" fmla="*/ 1378 h 7227"/>
              <a:gd name="connsiteX2" fmla="*/ 4483 w 10000"/>
              <a:gd name="connsiteY2" fmla="*/ 3367 h 7227"/>
              <a:gd name="connsiteX3" fmla="*/ 6305 w 10000"/>
              <a:gd name="connsiteY3" fmla="*/ 1253 h 7227"/>
              <a:gd name="connsiteX4" fmla="*/ 7762 w 10000"/>
              <a:gd name="connsiteY4" fmla="*/ 1376 h 7227"/>
              <a:gd name="connsiteX5" fmla="*/ 9077 w 10000"/>
              <a:gd name="connsiteY5" fmla="*/ 1251 h 7227"/>
              <a:gd name="connsiteX6" fmla="*/ 10000 w 10000"/>
              <a:gd name="connsiteY6" fmla="*/ 726 h 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227">
                <a:moveTo>
                  <a:pt x="0" y="7226"/>
                </a:moveTo>
                <a:lnTo>
                  <a:pt x="2896" y="1378"/>
                </a:lnTo>
                <a:lnTo>
                  <a:pt x="4483" y="3367"/>
                </a:lnTo>
                <a:cubicBezTo>
                  <a:pt x="5090" y="2663"/>
                  <a:pt x="5759" y="1585"/>
                  <a:pt x="6305" y="1253"/>
                </a:cubicBezTo>
                <a:cubicBezTo>
                  <a:pt x="6851" y="920"/>
                  <a:pt x="7276" y="1335"/>
                  <a:pt x="7762" y="1376"/>
                </a:cubicBezTo>
                <a:cubicBezTo>
                  <a:pt x="8307" y="5151"/>
                  <a:pt x="8541" y="-2969"/>
                  <a:pt x="9077" y="1251"/>
                </a:cubicBezTo>
                <a:lnTo>
                  <a:pt x="10000" y="726"/>
                </a:lnTo>
              </a:path>
            </a:pathLst>
          </a:custGeom>
          <a:noFill/>
          <a:ln w="57150" cap="rnd">
            <a:solidFill>
              <a:srgbClr val="1E467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38650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ihandform 27">
            <a:extLst>
              <a:ext uri="{FF2B5EF4-FFF2-40B4-BE49-F238E27FC236}">
                <a16:creationId xmlns:a16="http://schemas.microsoft.com/office/drawing/2014/main" id="{29593DDF-3A4B-4EA6-B357-5D83A5EB195B}"/>
              </a:ext>
            </a:extLst>
          </p:cNvPr>
          <p:cNvSpPr/>
          <p:nvPr/>
        </p:nvSpPr>
        <p:spPr>
          <a:xfrm>
            <a:off x="735303" y="1118509"/>
            <a:ext cx="10799472" cy="4627208"/>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grpSp>
        <p:nvGrpSpPr>
          <p:cNvPr id="26" name="Gruppieren 25">
            <a:extLst>
              <a:ext uri="{FF2B5EF4-FFF2-40B4-BE49-F238E27FC236}">
                <a16:creationId xmlns:a16="http://schemas.microsoft.com/office/drawing/2014/main" id="{BC5FE147-2BD0-4774-8905-887B8F4BDDA8}"/>
              </a:ext>
            </a:extLst>
          </p:cNvPr>
          <p:cNvGrpSpPr/>
          <p:nvPr/>
        </p:nvGrpSpPr>
        <p:grpSpPr>
          <a:xfrm>
            <a:off x="856712" y="1218647"/>
            <a:ext cx="887588" cy="872769"/>
            <a:chOff x="9300075" y="1219946"/>
            <a:chExt cx="1584000" cy="1584000"/>
          </a:xfrm>
        </p:grpSpPr>
        <p:sp>
          <p:nvSpPr>
            <p:cNvPr id="27" name="Ellipse 26">
              <a:extLst>
                <a:ext uri="{FF2B5EF4-FFF2-40B4-BE49-F238E27FC236}">
                  <a16:creationId xmlns:a16="http://schemas.microsoft.com/office/drawing/2014/main" id="{AB0A67D4-CAEB-4431-AE7F-C9682E8A8140}"/>
                </a:ext>
              </a:extLst>
            </p:cNvPr>
            <p:cNvSpPr/>
            <p:nvPr/>
          </p:nvSpPr>
          <p:spPr>
            <a:xfrm>
              <a:off x="9300075" y="1219946"/>
              <a:ext cx="1584000" cy="1584000"/>
            </a:xfrm>
            <a:prstGeom prst="ellipse">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8" name="Bildplatzhalter 12" descr="Anker mit einfarbiger Füllung">
              <a:extLst>
                <a:ext uri="{FF2B5EF4-FFF2-40B4-BE49-F238E27FC236}">
                  <a16:creationId xmlns:a16="http://schemas.microsoft.com/office/drawing/2014/main" id="{C3C97DB7-B4D8-4E61-98B5-1B0B637A8365}"/>
                </a:ext>
              </a:extLst>
            </p:cNvPr>
            <p:cNvSpPr/>
            <p:nvPr/>
          </p:nvSpPr>
          <p:spPr>
            <a:xfrm>
              <a:off x="9653555" y="1554746"/>
              <a:ext cx="877039" cy="935909"/>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0E0E0"/>
            </a:solidFill>
            <a:ln w="16371"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Feature Engineering -  </a:t>
            </a:r>
            <a:r>
              <a:rPr lang="de-DE" err="1"/>
              <a:t>Deep</a:t>
            </a:r>
            <a:r>
              <a:rPr lang="de-DE"/>
              <a:t> </a:t>
            </a:r>
            <a:r>
              <a:rPr lang="de-DE" err="1"/>
              <a:t>Dive</a:t>
            </a:r>
            <a:r>
              <a:rPr lang="de-DE"/>
              <a:t> Stopps</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pic>
        <p:nvPicPr>
          <p:cNvPr id="8" name="Grafik 7">
            <a:extLst>
              <a:ext uri="{FF2B5EF4-FFF2-40B4-BE49-F238E27FC236}">
                <a16:creationId xmlns:a16="http://schemas.microsoft.com/office/drawing/2014/main" id="{725CE0F8-5F0A-5046-A18C-A9625BF9368F}"/>
              </a:ext>
            </a:extLst>
          </p:cNvPr>
          <p:cNvPicPr>
            <a:picLocks noChangeAspect="1"/>
          </p:cNvPicPr>
          <p:nvPr/>
        </p:nvPicPr>
        <p:blipFill rotWithShape="1">
          <a:blip r:embed="rId2"/>
          <a:srcRect l="10449" t="6946" r="18008" b="13527"/>
          <a:stretch/>
        </p:blipFill>
        <p:spPr>
          <a:xfrm>
            <a:off x="1995055" y="2314936"/>
            <a:ext cx="8146472" cy="2049009"/>
          </a:xfrm>
          <a:prstGeom prst="rect">
            <a:avLst/>
          </a:prstGeom>
        </p:spPr>
      </p:pic>
      <p:sp>
        <p:nvSpPr>
          <p:cNvPr id="11" name="Textfeld 10">
            <a:extLst>
              <a:ext uri="{FF2B5EF4-FFF2-40B4-BE49-F238E27FC236}">
                <a16:creationId xmlns:a16="http://schemas.microsoft.com/office/drawing/2014/main" id="{5BF79F1C-6C0B-A842-A58F-271EEF3EB6FE}"/>
              </a:ext>
            </a:extLst>
          </p:cNvPr>
          <p:cNvSpPr txBox="1"/>
          <p:nvPr/>
        </p:nvSpPr>
        <p:spPr bwMode="auto">
          <a:xfrm rot="19149454">
            <a:off x="1446835" y="4537276"/>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Frankfurt</a:t>
            </a:r>
          </a:p>
        </p:txBody>
      </p:sp>
      <p:sp>
        <p:nvSpPr>
          <p:cNvPr id="12" name="Textfeld 11">
            <a:extLst>
              <a:ext uri="{FF2B5EF4-FFF2-40B4-BE49-F238E27FC236}">
                <a16:creationId xmlns:a16="http://schemas.microsoft.com/office/drawing/2014/main" id="{FA35F5DC-FD2B-E548-A174-A08699F12F38}"/>
              </a:ext>
            </a:extLst>
          </p:cNvPr>
          <p:cNvSpPr txBox="1"/>
          <p:nvPr/>
        </p:nvSpPr>
        <p:spPr bwMode="auto">
          <a:xfrm rot="19149454">
            <a:off x="9643656" y="4643640"/>
            <a:ext cx="91440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a:t>Rotterdam</a:t>
            </a:r>
          </a:p>
        </p:txBody>
      </p:sp>
      <p:sp>
        <p:nvSpPr>
          <p:cNvPr id="16" name="Textfeld 15">
            <a:extLst>
              <a:ext uri="{FF2B5EF4-FFF2-40B4-BE49-F238E27FC236}">
                <a16:creationId xmlns:a16="http://schemas.microsoft.com/office/drawing/2014/main" id="{10041D53-9189-ED4A-B6FC-FAAD808EBBAB}"/>
              </a:ext>
            </a:extLst>
          </p:cNvPr>
          <p:cNvSpPr txBox="1"/>
          <p:nvPr/>
        </p:nvSpPr>
        <p:spPr bwMode="auto">
          <a:xfrm>
            <a:off x="10430516" y="3046101"/>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rgbClr val="C00000"/>
                </a:solidFill>
              </a:rPr>
              <a:t>Cargo</a:t>
            </a:r>
          </a:p>
        </p:txBody>
      </p:sp>
      <p:sp>
        <p:nvSpPr>
          <p:cNvPr id="17" name="Textfeld 16">
            <a:extLst>
              <a:ext uri="{FF2B5EF4-FFF2-40B4-BE49-F238E27FC236}">
                <a16:creationId xmlns:a16="http://schemas.microsoft.com/office/drawing/2014/main" id="{7BC8690E-6E9F-B048-AF59-6820E63190BA}"/>
              </a:ext>
            </a:extLst>
          </p:cNvPr>
          <p:cNvSpPr txBox="1"/>
          <p:nvPr/>
        </p:nvSpPr>
        <p:spPr bwMode="auto">
          <a:xfrm>
            <a:off x="10430516" y="3429000"/>
            <a:ext cx="818037" cy="36004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solidFill>
                  <a:schemeClr val="tx2"/>
                </a:solidFill>
              </a:rPr>
              <a:t>Tanker</a:t>
            </a:r>
          </a:p>
        </p:txBody>
      </p:sp>
      <p:sp>
        <p:nvSpPr>
          <p:cNvPr id="18" name="Rechteck 17">
            <a:extLst>
              <a:ext uri="{FF2B5EF4-FFF2-40B4-BE49-F238E27FC236}">
                <a16:creationId xmlns:a16="http://schemas.microsoft.com/office/drawing/2014/main" id="{257875C7-2A6D-204C-9687-26AD3D2D8F69}"/>
              </a:ext>
            </a:extLst>
          </p:cNvPr>
          <p:cNvSpPr/>
          <p:nvPr/>
        </p:nvSpPr>
        <p:spPr>
          <a:xfrm>
            <a:off x="10384797" y="3496204"/>
            <a:ext cx="45719" cy="225631"/>
          </a:xfrm>
          <a:prstGeom prst="rect">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9" name="Rechteck 18">
            <a:extLst>
              <a:ext uri="{FF2B5EF4-FFF2-40B4-BE49-F238E27FC236}">
                <a16:creationId xmlns:a16="http://schemas.microsoft.com/office/drawing/2014/main" id="{B73FED4D-77AD-E044-914C-77C44D1F004E}"/>
              </a:ext>
            </a:extLst>
          </p:cNvPr>
          <p:cNvSpPr/>
          <p:nvPr/>
        </p:nvSpPr>
        <p:spPr>
          <a:xfrm>
            <a:off x="10386454" y="3114696"/>
            <a:ext cx="45719" cy="225631"/>
          </a:xfrm>
          <a:prstGeom prst="rect">
            <a:avLst/>
          </a:prstGeom>
          <a:solidFill>
            <a:srgbClr val="C0000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0" name="Textfeld 19">
            <a:extLst>
              <a:ext uri="{FF2B5EF4-FFF2-40B4-BE49-F238E27FC236}">
                <a16:creationId xmlns:a16="http://schemas.microsoft.com/office/drawing/2014/main" id="{6199FAB6-DB77-764F-85CA-8B4D8518B06B}"/>
              </a:ext>
            </a:extLst>
          </p:cNvPr>
          <p:cNvSpPr txBox="1"/>
          <p:nvPr/>
        </p:nvSpPr>
        <p:spPr bwMode="auto">
          <a:xfrm>
            <a:off x="2002971" y="1830330"/>
            <a:ext cx="3514010" cy="914400"/>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400" b="1"/>
              <a:t>Gewichtete Dauer in Minuten</a:t>
            </a:r>
          </a:p>
        </p:txBody>
      </p:sp>
      <p:sp>
        <p:nvSpPr>
          <p:cNvPr id="21" name="Textfeld 20">
            <a:extLst>
              <a:ext uri="{FF2B5EF4-FFF2-40B4-BE49-F238E27FC236}">
                <a16:creationId xmlns:a16="http://schemas.microsoft.com/office/drawing/2014/main" id="{B7A88A1A-6020-AE4C-90CB-989DDAB87441}"/>
              </a:ext>
            </a:extLst>
          </p:cNvPr>
          <p:cNvSpPr txBox="1"/>
          <p:nvPr/>
        </p:nvSpPr>
        <p:spPr bwMode="auto">
          <a:xfrm>
            <a:off x="1794853" y="4173772"/>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0</a:t>
            </a:r>
          </a:p>
        </p:txBody>
      </p:sp>
      <p:sp>
        <p:nvSpPr>
          <p:cNvPr id="22" name="Textfeld 21">
            <a:extLst>
              <a:ext uri="{FF2B5EF4-FFF2-40B4-BE49-F238E27FC236}">
                <a16:creationId xmlns:a16="http://schemas.microsoft.com/office/drawing/2014/main" id="{62A53146-E4CA-3540-8391-C61DF7FEFE56}"/>
              </a:ext>
            </a:extLst>
          </p:cNvPr>
          <p:cNvSpPr txBox="1"/>
          <p:nvPr/>
        </p:nvSpPr>
        <p:spPr bwMode="auto">
          <a:xfrm>
            <a:off x="1598082" y="3689329"/>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200</a:t>
            </a:r>
          </a:p>
        </p:txBody>
      </p:sp>
      <p:sp>
        <p:nvSpPr>
          <p:cNvPr id="23" name="Textfeld 22">
            <a:extLst>
              <a:ext uri="{FF2B5EF4-FFF2-40B4-BE49-F238E27FC236}">
                <a16:creationId xmlns:a16="http://schemas.microsoft.com/office/drawing/2014/main" id="{0D08CCD3-C8B0-8F4F-B0AF-7D34BDE01F9E}"/>
              </a:ext>
            </a:extLst>
          </p:cNvPr>
          <p:cNvSpPr txBox="1"/>
          <p:nvPr/>
        </p:nvSpPr>
        <p:spPr bwMode="auto">
          <a:xfrm>
            <a:off x="1601656" y="3141387"/>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400</a:t>
            </a:r>
          </a:p>
        </p:txBody>
      </p:sp>
      <p:sp>
        <p:nvSpPr>
          <p:cNvPr id="24" name="Textfeld 23">
            <a:extLst>
              <a:ext uri="{FF2B5EF4-FFF2-40B4-BE49-F238E27FC236}">
                <a16:creationId xmlns:a16="http://schemas.microsoft.com/office/drawing/2014/main" id="{A542C647-B3CC-0F47-9B3C-ADC1A4D65EE1}"/>
              </a:ext>
            </a:extLst>
          </p:cNvPr>
          <p:cNvSpPr txBox="1"/>
          <p:nvPr/>
        </p:nvSpPr>
        <p:spPr bwMode="auto">
          <a:xfrm>
            <a:off x="1618706" y="2624527"/>
            <a:ext cx="393541" cy="405955"/>
          </a:xfrm>
          <a:prstGeom prst="rect">
            <a:avLst/>
          </a:prstGeom>
          <a:noFill/>
          <a:ln w="6350">
            <a:noFill/>
            <a:prstDash val="solid"/>
            <a:miter lim="800000"/>
            <a:headEnd/>
            <a:tailEnd/>
          </a:ln>
        </p:spPr>
        <p:txBody>
          <a:bodyPr wrap="none" lIns="72000" rIns="72000" rtlCol="0">
            <a:noAutofit/>
          </a:bodyPr>
          <a:lstStyle/>
          <a:p>
            <a:pPr>
              <a:lnSpc>
                <a:spcPct val="125000"/>
              </a:lnSpc>
              <a:spcAft>
                <a:spcPts val="400"/>
              </a:spcAft>
              <a:buClr>
                <a:schemeClr val="accent1"/>
              </a:buClr>
            </a:pPr>
            <a:r>
              <a:rPr lang="de-DE" sz="1200"/>
              <a:t>600</a:t>
            </a:r>
          </a:p>
        </p:txBody>
      </p:sp>
      <p:sp>
        <p:nvSpPr>
          <p:cNvPr id="29" name="Freihandform 28">
            <a:extLst>
              <a:ext uri="{FF2B5EF4-FFF2-40B4-BE49-F238E27FC236}">
                <a16:creationId xmlns:a16="http://schemas.microsoft.com/office/drawing/2014/main" id="{AA18DB64-64F6-444F-8508-B83F656A5237}"/>
              </a:ext>
            </a:extLst>
          </p:cNvPr>
          <p:cNvSpPr/>
          <p:nvPr/>
        </p:nvSpPr>
        <p:spPr>
          <a:xfrm>
            <a:off x="2048056" y="4424064"/>
            <a:ext cx="8051979" cy="6160"/>
          </a:xfrm>
          <a:custGeom>
            <a:avLst/>
            <a:gdLst>
              <a:gd name="connsiteX0" fmla="*/ 0 w 2979175"/>
              <a:gd name="connsiteY0" fmla="*/ 0 h 2536633"/>
              <a:gd name="connsiteX1" fmla="*/ 663678 w 2979175"/>
              <a:gd name="connsiteY1" fmla="*/ 176981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474839 w 2979175"/>
              <a:gd name="connsiteY2" fmla="*/ 412955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536633"/>
              <a:gd name="connsiteX1" fmla="*/ 604684 w 2979175"/>
              <a:gd name="connsiteY1" fmla="*/ 162233 h 2536633"/>
              <a:gd name="connsiteX2" fmla="*/ 1356852 w 2979175"/>
              <a:gd name="connsiteY2" fmla="*/ 221226 h 2536633"/>
              <a:gd name="connsiteX3" fmla="*/ 1814052 w 2979175"/>
              <a:gd name="connsiteY3" fmla="*/ 1504336 h 2536633"/>
              <a:gd name="connsiteX4" fmla="*/ 2330246 w 2979175"/>
              <a:gd name="connsiteY4" fmla="*/ 2477729 h 2536633"/>
              <a:gd name="connsiteX5" fmla="*/ 2979175 w 2979175"/>
              <a:gd name="connsiteY5" fmla="*/ 2344994 h 2536633"/>
              <a:gd name="connsiteX0" fmla="*/ 0 w 2979175"/>
              <a:gd name="connsiteY0" fmla="*/ 0 h 2434975"/>
              <a:gd name="connsiteX1" fmla="*/ 604684 w 2979175"/>
              <a:gd name="connsiteY1" fmla="*/ 162233 h 2434975"/>
              <a:gd name="connsiteX2" fmla="*/ 1356852 w 2979175"/>
              <a:gd name="connsiteY2" fmla="*/ 221226 h 2434975"/>
              <a:gd name="connsiteX3" fmla="*/ 1814052 w 2979175"/>
              <a:gd name="connsiteY3" fmla="*/ 1504336 h 2434975"/>
              <a:gd name="connsiteX4" fmla="*/ 2315497 w 2979175"/>
              <a:gd name="connsiteY4" fmla="*/ 2315497 h 2434975"/>
              <a:gd name="connsiteX5" fmla="*/ 2979175 w 2979175"/>
              <a:gd name="connsiteY5" fmla="*/ 2344994 h 2434975"/>
              <a:gd name="connsiteX0" fmla="*/ 0 w 5648633"/>
              <a:gd name="connsiteY0" fmla="*/ 822125 h 2313204"/>
              <a:gd name="connsiteX1" fmla="*/ 3274142 w 5648633"/>
              <a:gd name="connsiteY1" fmla="*/ 40462 h 2313204"/>
              <a:gd name="connsiteX2" fmla="*/ 4026310 w 5648633"/>
              <a:gd name="connsiteY2" fmla="*/ 99455 h 2313204"/>
              <a:gd name="connsiteX3" fmla="*/ 4483510 w 5648633"/>
              <a:gd name="connsiteY3" fmla="*/ 1382565 h 2313204"/>
              <a:gd name="connsiteX4" fmla="*/ 4984955 w 5648633"/>
              <a:gd name="connsiteY4" fmla="*/ 2193726 h 2313204"/>
              <a:gd name="connsiteX5" fmla="*/ 5648633 w 5648633"/>
              <a:gd name="connsiteY5" fmla="*/ 2223223 h 2313204"/>
              <a:gd name="connsiteX0" fmla="*/ 0 w 5648633"/>
              <a:gd name="connsiteY0" fmla="*/ 729153 h 2220232"/>
              <a:gd name="connsiteX1" fmla="*/ 2344994 w 5648633"/>
              <a:gd name="connsiteY1" fmla="*/ 743903 h 2220232"/>
              <a:gd name="connsiteX2" fmla="*/ 4026310 w 5648633"/>
              <a:gd name="connsiteY2" fmla="*/ 6483 h 2220232"/>
              <a:gd name="connsiteX3" fmla="*/ 4483510 w 5648633"/>
              <a:gd name="connsiteY3" fmla="*/ 1289593 h 2220232"/>
              <a:gd name="connsiteX4" fmla="*/ 4984955 w 5648633"/>
              <a:gd name="connsiteY4" fmla="*/ 2100754 h 2220232"/>
              <a:gd name="connsiteX5" fmla="*/ 5648633 w 5648633"/>
              <a:gd name="connsiteY5" fmla="*/ 2130251 h 2220232"/>
              <a:gd name="connsiteX0" fmla="*/ 0 w 5648633"/>
              <a:gd name="connsiteY0" fmla="*/ 26904 h 1517983"/>
              <a:gd name="connsiteX1" fmla="*/ 2344994 w 5648633"/>
              <a:gd name="connsiteY1" fmla="*/ 41654 h 1517983"/>
              <a:gd name="connsiteX2" fmla="*/ 3613355 w 5648633"/>
              <a:gd name="connsiteY2" fmla="*/ 26905 h 1517983"/>
              <a:gd name="connsiteX3" fmla="*/ 4483510 w 5648633"/>
              <a:gd name="connsiteY3" fmla="*/ 587344 h 1517983"/>
              <a:gd name="connsiteX4" fmla="*/ 4984955 w 5648633"/>
              <a:gd name="connsiteY4" fmla="*/ 1398505 h 1517983"/>
              <a:gd name="connsiteX5" fmla="*/ 5648633 w 5648633"/>
              <a:gd name="connsiteY5" fmla="*/ 1428002 h 1517983"/>
              <a:gd name="connsiteX0" fmla="*/ 0 w 5648633"/>
              <a:gd name="connsiteY0" fmla="*/ 68922 h 1560001"/>
              <a:gd name="connsiteX1" fmla="*/ 2344994 w 5648633"/>
              <a:gd name="connsiteY1" fmla="*/ 83672 h 1560001"/>
              <a:gd name="connsiteX2" fmla="*/ 3613355 w 5648633"/>
              <a:gd name="connsiteY2" fmla="*/ 68923 h 1560001"/>
              <a:gd name="connsiteX3" fmla="*/ 5102942 w 5648633"/>
              <a:gd name="connsiteY3" fmla="*/ 113168 h 1560001"/>
              <a:gd name="connsiteX4" fmla="*/ 4984955 w 5648633"/>
              <a:gd name="connsiteY4" fmla="*/ 1440523 h 1560001"/>
              <a:gd name="connsiteX5" fmla="*/ 5648633 w 5648633"/>
              <a:gd name="connsiteY5" fmla="*/ 1470020 h 1560001"/>
              <a:gd name="connsiteX0" fmla="*/ 0 w 6335702"/>
              <a:gd name="connsiteY0" fmla="*/ 40255 h 1450808"/>
              <a:gd name="connsiteX1" fmla="*/ 2344994 w 6335702"/>
              <a:gd name="connsiteY1" fmla="*/ 55005 h 1450808"/>
              <a:gd name="connsiteX2" fmla="*/ 3613355 w 6335702"/>
              <a:gd name="connsiteY2" fmla="*/ 40256 h 1450808"/>
              <a:gd name="connsiteX3" fmla="*/ 5102942 w 6335702"/>
              <a:gd name="connsiteY3" fmla="*/ 84501 h 1450808"/>
              <a:gd name="connsiteX4" fmla="*/ 6312310 w 6335702"/>
              <a:gd name="connsiteY4" fmla="*/ 55004 h 1450808"/>
              <a:gd name="connsiteX5" fmla="*/ 5648633 w 6335702"/>
              <a:gd name="connsiteY5" fmla="*/ 1441353 h 1450808"/>
              <a:gd name="connsiteX0" fmla="*/ 0 w 7323554"/>
              <a:gd name="connsiteY0" fmla="*/ 71647 h 1472745"/>
              <a:gd name="connsiteX1" fmla="*/ 2344994 w 7323554"/>
              <a:gd name="connsiteY1" fmla="*/ 86397 h 1472745"/>
              <a:gd name="connsiteX2" fmla="*/ 3613355 w 7323554"/>
              <a:gd name="connsiteY2" fmla="*/ 71648 h 1472745"/>
              <a:gd name="connsiteX3" fmla="*/ 5102942 w 7323554"/>
              <a:gd name="connsiteY3" fmla="*/ 115893 h 1472745"/>
              <a:gd name="connsiteX4" fmla="*/ 6312310 w 7323554"/>
              <a:gd name="connsiteY4" fmla="*/ 86396 h 1472745"/>
              <a:gd name="connsiteX5" fmla="*/ 7315199 w 7323554"/>
              <a:gd name="connsiteY5" fmla="*/ 115891 h 1472745"/>
              <a:gd name="connsiteX6" fmla="*/ 5648633 w 7323554"/>
              <a:gd name="connsiteY6" fmla="*/ 1472745 h 1472745"/>
              <a:gd name="connsiteX0" fmla="*/ 0 w 8509820"/>
              <a:gd name="connsiteY0" fmla="*/ 71647 h 208632"/>
              <a:gd name="connsiteX1" fmla="*/ 2344994 w 8509820"/>
              <a:gd name="connsiteY1" fmla="*/ 86397 h 208632"/>
              <a:gd name="connsiteX2" fmla="*/ 3613355 w 8509820"/>
              <a:gd name="connsiteY2" fmla="*/ 71648 h 208632"/>
              <a:gd name="connsiteX3" fmla="*/ 5102942 w 8509820"/>
              <a:gd name="connsiteY3" fmla="*/ 115893 h 208632"/>
              <a:gd name="connsiteX4" fmla="*/ 6312310 w 8509820"/>
              <a:gd name="connsiteY4" fmla="*/ 86396 h 208632"/>
              <a:gd name="connsiteX5" fmla="*/ 7315199 w 8509820"/>
              <a:gd name="connsiteY5" fmla="*/ 115891 h 208632"/>
              <a:gd name="connsiteX6" fmla="*/ 8509820 w 8509820"/>
              <a:gd name="connsiteY6" fmla="*/ 86397 h 208632"/>
              <a:gd name="connsiteX0" fmla="*/ 0 w 8509820"/>
              <a:gd name="connsiteY0" fmla="*/ 28421 h 165406"/>
              <a:gd name="connsiteX1" fmla="*/ 2344994 w 8509820"/>
              <a:gd name="connsiteY1" fmla="*/ 43171 h 165406"/>
              <a:gd name="connsiteX2" fmla="*/ 3613355 w 8509820"/>
              <a:gd name="connsiteY2" fmla="*/ 28422 h 165406"/>
              <a:gd name="connsiteX3" fmla="*/ 5102942 w 8509820"/>
              <a:gd name="connsiteY3" fmla="*/ 72667 h 165406"/>
              <a:gd name="connsiteX4" fmla="*/ 6312310 w 8509820"/>
              <a:gd name="connsiteY4" fmla="*/ 43170 h 165406"/>
              <a:gd name="connsiteX5" fmla="*/ 7315199 w 8509820"/>
              <a:gd name="connsiteY5" fmla="*/ 72665 h 165406"/>
              <a:gd name="connsiteX6" fmla="*/ 8509820 w 8509820"/>
              <a:gd name="connsiteY6" fmla="*/ 43171 h 165406"/>
              <a:gd name="connsiteX0" fmla="*/ 0 w 8509820"/>
              <a:gd name="connsiteY0" fmla="*/ 61873 h 198858"/>
              <a:gd name="connsiteX1" fmla="*/ 2344994 w 8509820"/>
              <a:gd name="connsiteY1" fmla="*/ 76623 h 198858"/>
              <a:gd name="connsiteX2" fmla="*/ 3613355 w 8509820"/>
              <a:gd name="connsiteY2" fmla="*/ 61874 h 198858"/>
              <a:gd name="connsiteX3" fmla="*/ 5102942 w 8509820"/>
              <a:gd name="connsiteY3" fmla="*/ 106119 h 198858"/>
              <a:gd name="connsiteX4" fmla="*/ 6312310 w 8509820"/>
              <a:gd name="connsiteY4" fmla="*/ 76622 h 198858"/>
              <a:gd name="connsiteX5" fmla="*/ 7315199 w 8509820"/>
              <a:gd name="connsiteY5" fmla="*/ 106117 h 198858"/>
              <a:gd name="connsiteX6" fmla="*/ 8509820 w 8509820"/>
              <a:gd name="connsiteY6" fmla="*/ 76623 h 198858"/>
              <a:gd name="connsiteX0" fmla="*/ 0 w 8509820"/>
              <a:gd name="connsiteY0" fmla="*/ 2780 h 139765"/>
              <a:gd name="connsiteX1" fmla="*/ 2344994 w 8509820"/>
              <a:gd name="connsiteY1" fmla="*/ 17530 h 139765"/>
              <a:gd name="connsiteX2" fmla="*/ 3613355 w 8509820"/>
              <a:gd name="connsiteY2" fmla="*/ 2781 h 139765"/>
              <a:gd name="connsiteX3" fmla="*/ 5102942 w 8509820"/>
              <a:gd name="connsiteY3" fmla="*/ 47026 h 139765"/>
              <a:gd name="connsiteX4" fmla="*/ 6312310 w 8509820"/>
              <a:gd name="connsiteY4" fmla="*/ 17529 h 139765"/>
              <a:gd name="connsiteX5" fmla="*/ 7315199 w 8509820"/>
              <a:gd name="connsiteY5" fmla="*/ 47024 h 139765"/>
              <a:gd name="connsiteX6" fmla="*/ 8509820 w 8509820"/>
              <a:gd name="connsiteY6" fmla="*/ 17530 h 139765"/>
              <a:gd name="connsiteX0" fmla="*/ 0 w 8509820"/>
              <a:gd name="connsiteY0" fmla="*/ 2780 h 47143"/>
              <a:gd name="connsiteX1" fmla="*/ 2344994 w 8509820"/>
              <a:gd name="connsiteY1" fmla="*/ 17530 h 47143"/>
              <a:gd name="connsiteX2" fmla="*/ 3613355 w 8509820"/>
              <a:gd name="connsiteY2" fmla="*/ 2781 h 47143"/>
              <a:gd name="connsiteX3" fmla="*/ 5102942 w 8509820"/>
              <a:gd name="connsiteY3" fmla="*/ 47026 h 47143"/>
              <a:gd name="connsiteX4" fmla="*/ 6312310 w 8509820"/>
              <a:gd name="connsiteY4" fmla="*/ 17529 h 47143"/>
              <a:gd name="connsiteX5" fmla="*/ 7315199 w 8509820"/>
              <a:gd name="connsiteY5" fmla="*/ 47024 h 47143"/>
              <a:gd name="connsiteX6" fmla="*/ 8509820 w 8509820"/>
              <a:gd name="connsiteY6" fmla="*/ 17530 h 47143"/>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2780 h 53156"/>
              <a:gd name="connsiteX1" fmla="*/ 2344994 w 8058558"/>
              <a:gd name="connsiteY1" fmla="*/ 17530 h 53156"/>
              <a:gd name="connsiteX2" fmla="*/ 3613355 w 8058558"/>
              <a:gd name="connsiteY2" fmla="*/ 2781 h 53156"/>
              <a:gd name="connsiteX3" fmla="*/ 5102942 w 8058558"/>
              <a:gd name="connsiteY3" fmla="*/ 47026 h 53156"/>
              <a:gd name="connsiteX4" fmla="*/ 6312310 w 8058558"/>
              <a:gd name="connsiteY4" fmla="*/ 17529 h 53156"/>
              <a:gd name="connsiteX5" fmla="*/ 7315199 w 8058558"/>
              <a:gd name="connsiteY5" fmla="*/ 47024 h 53156"/>
              <a:gd name="connsiteX6" fmla="*/ 8058558 w 8058558"/>
              <a:gd name="connsiteY6" fmla="*/ 53156 h 53156"/>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877 h 51253"/>
              <a:gd name="connsiteX1" fmla="*/ 2344994 w 8058558"/>
              <a:gd name="connsiteY1" fmla="*/ 15627 h 51253"/>
              <a:gd name="connsiteX2" fmla="*/ 3613355 w 8058558"/>
              <a:gd name="connsiteY2" fmla="*/ 878 h 51253"/>
              <a:gd name="connsiteX3" fmla="*/ 5102942 w 8058558"/>
              <a:gd name="connsiteY3" fmla="*/ 45123 h 51253"/>
              <a:gd name="connsiteX4" fmla="*/ 6312310 w 8058558"/>
              <a:gd name="connsiteY4" fmla="*/ 15626 h 51253"/>
              <a:gd name="connsiteX5" fmla="*/ 7315199 w 8058558"/>
              <a:gd name="connsiteY5" fmla="*/ 45121 h 51253"/>
              <a:gd name="connsiteX6" fmla="*/ 8058558 w 8058558"/>
              <a:gd name="connsiteY6" fmla="*/ 51253 h 51253"/>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335 h 51265"/>
              <a:gd name="connsiteX1" fmla="*/ 2344994 w 8058558"/>
              <a:gd name="connsiteY1" fmla="*/ 15639 h 51265"/>
              <a:gd name="connsiteX2" fmla="*/ 3613355 w 8058558"/>
              <a:gd name="connsiteY2" fmla="*/ 890 h 51265"/>
              <a:gd name="connsiteX3" fmla="*/ 5102942 w 8058558"/>
              <a:gd name="connsiteY3" fmla="*/ 45135 h 51265"/>
              <a:gd name="connsiteX4" fmla="*/ 6312310 w 8058558"/>
              <a:gd name="connsiteY4" fmla="*/ 15638 h 51265"/>
              <a:gd name="connsiteX5" fmla="*/ 7315199 w 8058558"/>
              <a:gd name="connsiteY5" fmla="*/ 45133 h 51265"/>
              <a:gd name="connsiteX6" fmla="*/ 8058558 w 8058558"/>
              <a:gd name="connsiteY6" fmla="*/ 51265 h 51265"/>
              <a:gd name="connsiteX0" fmla="*/ 0 w 8058558"/>
              <a:gd name="connsiteY0" fmla="*/ 17582 h 101406"/>
              <a:gd name="connsiteX1" fmla="*/ 2344994 w 8058558"/>
              <a:gd name="connsiteY1" fmla="*/ 101406 h 101406"/>
              <a:gd name="connsiteX2" fmla="*/ 3613355 w 8058558"/>
              <a:gd name="connsiteY2" fmla="*/ 1137 h 101406"/>
              <a:gd name="connsiteX3" fmla="*/ 5102942 w 8058558"/>
              <a:gd name="connsiteY3" fmla="*/ 45382 h 101406"/>
              <a:gd name="connsiteX4" fmla="*/ 6312310 w 8058558"/>
              <a:gd name="connsiteY4" fmla="*/ 15885 h 101406"/>
              <a:gd name="connsiteX5" fmla="*/ 7315199 w 8058558"/>
              <a:gd name="connsiteY5" fmla="*/ 45380 h 101406"/>
              <a:gd name="connsiteX6" fmla="*/ 8058558 w 8058558"/>
              <a:gd name="connsiteY6" fmla="*/ 51512 h 101406"/>
              <a:gd name="connsiteX0" fmla="*/ 0 w 8058558"/>
              <a:gd name="connsiteY0" fmla="*/ 17686 h 51616"/>
              <a:gd name="connsiteX1" fmla="*/ 2331837 w 8058558"/>
              <a:gd name="connsiteY1" fmla="*/ 12701 h 51616"/>
              <a:gd name="connsiteX2" fmla="*/ 3613355 w 8058558"/>
              <a:gd name="connsiteY2" fmla="*/ 1241 h 51616"/>
              <a:gd name="connsiteX3" fmla="*/ 5102942 w 8058558"/>
              <a:gd name="connsiteY3" fmla="*/ 45486 h 51616"/>
              <a:gd name="connsiteX4" fmla="*/ 6312310 w 8058558"/>
              <a:gd name="connsiteY4" fmla="*/ 15989 h 51616"/>
              <a:gd name="connsiteX5" fmla="*/ 7315199 w 8058558"/>
              <a:gd name="connsiteY5" fmla="*/ 45484 h 51616"/>
              <a:gd name="connsiteX6" fmla="*/ 8058558 w 8058558"/>
              <a:gd name="connsiteY6" fmla="*/ 51616 h 51616"/>
              <a:gd name="connsiteX0" fmla="*/ 0 w 8058558"/>
              <a:gd name="connsiteY0" fmla="*/ 4985 h 38915"/>
              <a:gd name="connsiteX1" fmla="*/ 2331837 w 8058558"/>
              <a:gd name="connsiteY1" fmla="*/ 0 h 38915"/>
              <a:gd name="connsiteX2" fmla="*/ 3610066 w 8058558"/>
              <a:gd name="connsiteY2" fmla="*/ 1696 h 38915"/>
              <a:gd name="connsiteX3" fmla="*/ 5102942 w 8058558"/>
              <a:gd name="connsiteY3" fmla="*/ 32785 h 38915"/>
              <a:gd name="connsiteX4" fmla="*/ 6312310 w 8058558"/>
              <a:gd name="connsiteY4" fmla="*/ 3288 h 38915"/>
              <a:gd name="connsiteX5" fmla="*/ 7315199 w 8058558"/>
              <a:gd name="connsiteY5" fmla="*/ 32783 h 38915"/>
              <a:gd name="connsiteX6" fmla="*/ 8058558 w 8058558"/>
              <a:gd name="connsiteY6" fmla="*/ 38915 h 38915"/>
              <a:gd name="connsiteX0" fmla="*/ 0 w 8058558"/>
              <a:gd name="connsiteY0" fmla="*/ 5092 h 39022"/>
              <a:gd name="connsiteX1" fmla="*/ 2331837 w 8058558"/>
              <a:gd name="connsiteY1" fmla="*/ 107 h 39022"/>
              <a:gd name="connsiteX2" fmla="*/ 3610066 w 8058558"/>
              <a:gd name="connsiteY2" fmla="*/ 1803 h 39022"/>
              <a:gd name="connsiteX3" fmla="*/ 5076628 w 8058558"/>
              <a:gd name="connsiteY3" fmla="*/ 0 h 39022"/>
              <a:gd name="connsiteX4" fmla="*/ 6312310 w 8058558"/>
              <a:gd name="connsiteY4" fmla="*/ 3395 h 39022"/>
              <a:gd name="connsiteX5" fmla="*/ 7315199 w 8058558"/>
              <a:gd name="connsiteY5" fmla="*/ 32890 h 39022"/>
              <a:gd name="connsiteX6" fmla="*/ 8058558 w 8058558"/>
              <a:gd name="connsiteY6" fmla="*/ 39022 h 39022"/>
              <a:gd name="connsiteX0" fmla="*/ 0 w 8058558"/>
              <a:gd name="connsiteY0" fmla="*/ 15826 h 49756"/>
              <a:gd name="connsiteX1" fmla="*/ 2331837 w 8058558"/>
              <a:gd name="connsiteY1" fmla="*/ 10841 h 49756"/>
              <a:gd name="connsiteX2" fmla="*/ 3610066 w 8058558"/>
              <a:gd name="connsiteY2" fmla="*/ 12537 h 49756"/>
              <a:gd name="connsiteX3" fmla="*/ 5076628 w 8058558"/>
              <a:gd name="connsiteY3" fmla="*/ 10734 h 49756"/>
              <a:gd name="connsiteX4" fmla="*/ 6312310 w 8058558"/>
              <a:gd name="connsiteY4" fmla="*/ 14129 h 49756"/>
              <a:gd name="connsiteX5" fmla="*/ 7308620 w 8058558"/>
              <a:gd name="connsiteY5" fmla="*/ 10732 h 49756"/>
              <a:gd name="connsiteX6" fmla="*/ 8058558 w 8058558"/>
              <a:gd name="connsiteY6" fmla="*/ 49756 h 49756"/>
              <a:gd name="connsiteX0" fmla="*/ 0 w 8058558"/>
              <a:gd name="connsiteY0" fmla="*/ 5433 h 39363"/>
              <a:gd name="connsiteX1" fmla="*/ 2331837 w 8058558"/>
              <a:gd name="connsiteY1" fmla="*/ 448 h 39363"/>
              <a:gd name="connsiteX2" fmla="*/ 3610066 w 8058558"/>
              <a:gd name="connsiteY2" fmla="*/ 2144 h 39363"/>
              <a:gd name="connsiteX3" fmla="*/ 5076628 w 8058558"/>
              <a:gd name="connsiteY3" fmla="*/ 341 h 39363"/>
              <a:gd name="connsiteX4" fmla="*/ 6312310 w 8058558"/>
              <a:gd name="connsiteY4" fmla="*/ 3736 h 39363"/>
              <a:gd name="connsiteX5" fmla="*/ 7308620 w 8058558"/>
              <a:gd name="connsiteY5" fmla="*/ 339 h 39363"/>
              <a:gd name="connsiteX6" fmla="*/ 8058558 w 8058558"/>
              <a:gd name="connsiteY6" fmla="*/ 39363 h 39363"/>
              <a:gd name="connsiteX0" fmla="*/ 0 w 8051979"/>
              <a:gd name="connsiteY0" fmla="*/ 5541 h 11150"/>
              <a:gd name="connsiteX1" fmla="*/ 2331837 w 8051979"/>
              <a:gd name="connsiteY1" fmla="*/ 556 h 11150"/>
              <a:gd name="connsiteX2" fmla="*/ 3610066 w 8051979"/>
              <a:gd name="connsiteY2" fmla="*/ 2252 h 11150"/>
              <a:gd name="connsiteX3" fmla="*/ 5076628 w 8051979"/>
              <a:gd name="connsiteY3" fmla="*/ 449 h 11150"/>
              <a:gd name="connsiteX4" fmla="*/ 6312310 w 8051979"/>
              <a:gd name="connsiteY4" fmla="*/ 3844 h 11150"/>
              <a:gd name="connsiteX5" fmla="*/ 7308620 w 8051979"/>
              <a:gd name="connsiteY5" fmla="*/ 447 h 11150"/>
              <a:gd name="connsiteX6" fmla="*/ 8051979 w 8051979"/>
              <a:gd name="connsiteY6" fmla="*/ 0 h 11150"/>
              <a:gd name="connsiteX0" fmla="*/ 0 w 8051979"/>
              <a:gd name="connsiteY0" fmla="*/ 8276 h 8767"/>
              <a:gd name="connsiteX1" fmla="*/ 2331837 w 8051979"/>
              <a:gd name="connsiteY1" fmla="*/ 3291 h 8767"/>
              <a:gd name="connsiteX2" fmla="*/ 3610066 w 8051979"/>
              <a:gd name="connsiteY2" fmla="*/ 4987 h 8767"/>
              <a:gd name="connsiteX3" fmla="*/ 5076628 w 8051979"/>
              <a:gd name="connsiteY3" fmla="*/ 3184 h 8767"/>
              <a:gd name="connsiteX4" fmla="*/ 6256394 w 8051979"/>
              <a:gd name="connsiteY4" fmla="*/ 0 h 8767"/>
              <a:gd name="connsiteX5" fmla="*/ 7308620 w 8051979"/>
              <a:gd name="connsiteY5" fmla="*/ 3182 h 8767"/>
              <a:gd name="connsiteX6" fmla="*/ 8051979 w 8051979"/>
              <a:gd name="connsiteY6" fmla="*/ 2735 h 8767"/>
              <a:gd name="connsiteX0" fmla="*/ 0 w 10000"/>
              <a:gd name="connsiteY0" fmla="*/ 6320 h 9723"/>
              <a:gd name="connsiteX1" fmla="*/ 2896 w 10000"/>
              <a:gd name="connsiteY1" fmla="*/ 634 h 9723"/>
              <a:gd name="connsiteX2" fmla="*/ 4483 w 10000"/>
              <a:gd name="connsiteY2" fmla="*/ 2568 h 9723"/>
              <a:gd name="connsiteX3" fmla="*/ 6305 w 10000"/>
              <a:gd name="connsiteY3" fmla="*/ 512 h 9723"/>
              <a:gd name="connsiteX4" fmla="*/ 7762 w 10000"/>
              <a:gd name="connsiteY4" fmla="*/ 632 h 9723"/>
              <a:gd name="connsiteX5" fmla="*/ 9077 w 10000"/>
              <a:gd name="connsiteY5" fmla="*/ 510 h 9723"/>
              <a:gd name="connsiteX6" fmla="*/ 10000 w 10000"/>
              <a:gd name="connsiteY6" fmla="*/ 0 h 9723"/>
              <a:gd name="connsiteX0" fmla="*/ 0 w 10000"/>
              <a:gd name="connsiteY0" fmla="*/ 7226 h 7227"/>
              <a:gd name="connsiteX1" fmla="*/ 2896 w 10000"/>
              <a:gd name="connsiteY1" fmla="*/ 1378 h 7227"/>
              <a:gd name="connsiteX2" fmla="*/ 4483 w 10000"/>
              <a:gd name="connsiteY2" fmla="*/ 3367 h 7227"/>
              <a:gd name="connsiteX3" fmla="*/ 6305 w 10000"/>
              <a:gd name="connsiteY3" fmla="*/ 1253 h 7227"/>
              <a:gd name="connsiteX4" fmla="*/ 7762 w 10000"/>
              <a:gd name="connsiteY4" fmla="*/ 1376 h 7227"/>
              <a:gd name="connsiteX5" fmla="*/ 9077 w 10000"/>
              <a:gd name="connsiteY5" fmla="*/ 1251 h 7227"/>
              <a:gd name="connsiteX6" fmla="*/ 10000 w 10000"/>
              <a:gd name="connsiteY6" fmla="*/ 726 h 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227">
                <a:moveTo>
                  <a:pt x="0" y="7226"/>
                </a:moveTo>
                <a:lnTo>
                  <a:pt x="2896" y="1378"/>
                </a:lnTo>
                <a:lnTo>
                  <a:pt x="4483" y="3367"/>
                </a:lnTo>
                <a:cubicBezTo>
                  <a:pt x="5090" y="2663"/>
                  <a:pt x="5759" y="1585"/>
                  <a:pt x="6305" y="1253"/>
                </a:cubicBezTo>
                <a:cubicBezTo>
                  <a:pt x="6851" y="920"/>
                  <a:pt x="7276" y="1335"/>
                  <a:pt x="7762" y="1376"/>
                </a:cubicBezTo>
                <a:cubicBezTo>
                  <a:pt x="8307" y="5151"/>
                  <a:pt x="8541" y="-2969"/>
                  <a:pt x="9077" y="1251"/>
                </a:cubicBezTo>
                <a:lnTo>
                  <a:pt x="10000" y="726"/>
                </a:lnTo>
              </a:path>
            </a:pathLst>
          </a:custGeom>
          <a:noFill/>
          <a:ln w="57150" cap="rnd">
            <a:solidFill>
              <a:srgbClr val="1E467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60778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Modellierung</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7" name="Freihandform 21">
            <a:extLst>
              <a:ext uri="{FF2B5EF4-FFF2-40B4-BE49-F238E27FC236}">
                <a16:creationId xmlns:a16="http://schemas.microsoft.com/office/drawing/2014/main" id="{76A6F79F-0B38-4D0F-BC26-6F258C939DFF}"/>
              </a:ext>
            </a:extLst>
          </p:cNvPr>
          <p:cNvSpPr/>
          <p:nvPr/>
        </p:nvSpPr>
        <p:spPr>
          <a:xfrm>
            <a:off x="534000" y="1493678"/>
            <a:ext cx="3524590" cy="395288"/>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schemeClr val="bg1"/>
                </a:solidFill>
                <a:latin typeface="Helvetica Light"/>
                <a:ea typeface="Arial"/>
                <a:cs typeface="Arial" pitchFamily="34" charset="0"/>
              </a:rPr>
              <a:t>Wrapper-Methode</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mn-ea"/>
              <a:cs typeface="+mn-cs"/>
            </a:endParaRPr>
          </a:p>
        </p:txBody>
      </p:sp>
      <p:sp>
        <p:nvSpPr>
          <p:cNvPr id="8" name="Freihandform 21">
            <a:extLst>
              <a:ext uri="{FF2B5EF4-FFF2-40B4-BE49-F238E27FC236}">
                <a16:creationId xmlns:a16="http://schemas.microsoft.com/office/drawing/2014/main" id="{48BFB15B-D744-48F3-938E-E923A4E73AFF}"/>
              </a:ext>
            </a:extLst>
          </p:cNvPr>
          <p:cNvSpPr/>
          <p:nvPr/>
        </p:nvSpPr>
        <p:spPr>
          <a:xfrm>
            <a:off x="534000" y="3535570"/>
            <a:ext cx="11124000" cy="395288"/>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schemeClr val="bg1"/>
                </a:solidFill>
                <a:latin typeface="Helvetica Light"/>
                <a:ea typeface="Arial"/>
                <a:cs typeface="Arial" pitchFamily="34" charset="0"/>
              </a:rPr>
              <a:t>Forward </a:t>
            </a:r>
            <a:r>
              <a:rPr lang="de-DE" sz="1400" err="1">
                <a:solidFill>
                  <a:schemeClr val="bg1"/>
                </a:solidFill>
                <a:latin typeface="Helvetica Light"/>
                <a:ea typeface="Arial"/>
                <a:cs typeface="Arial" pitchFamily="34" charset="0"/>
              </a:rPr>
              <a:t>Selection</a:t>
            </a:r>
            <a:endParaRPr kumimoji="0" lang="de-DE" sz="1400" b="0" i="0" u="none" strike="noStrike" kern="1200" cap="none" spc="0" normalizeH="0" baseline="0" noProof="0">
              <a:ln>
                <a:noFill/>
              </a:ln>
              <a:solidFill>
                <a:schemeClr val="bg1"/>
              </a:solidFill>
              <a:effectLst/>
              <a:uLnTx/>
              <a:uFillTx/>
              <a:latin typeface="Helvetica Light"/>
              <a:ea typeface="Arial"/>
              <a:cs typeface="Arial" pitchFamily="34" charset="0"/>
            </a:endParaRPr>
          </a:p>
        </p:txBody>
      </p:sp>
      <p:sp>
        <p:nvSpPr>
          <p:cNvPr id="9" name="Freihandform 21">
            <a:extLst>
              <a:ext uri="{FF2B5EF4-FFF2-40B4-BE49-F238E27FC236}">
                <a16:creationId xmlns:a16="http://schemas.microsoft.com/office/drawing/2014/main" id="{F3C184E1-A230-4CAA-8DFB-BD37D2532BE3}"/>
              </a:ext>
            </a:extLst>
          </p:cNvPr>
          <p:cNvSpPr/>
          <p:nvPr/>
        </p:nvSpPr>
        <p:spPr>
          <a:xfrm>
            <a:off x="534000" y="4007646"/>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prstClr val="black"/>
                </a:solidFill>
                <a:latin typeface="Helvetica Light"/>
                <a:ea typeface="Arial"/>
                <a:cs typeface="Arial" pitchFamily="34" charset="0"/>
              </a:rPr>
              <a:t>Leeres Modell</a:t>
            </a:r>
            <a:endParaRPr kumimoji="0" lang="de-DE" sz="1400" b="0" i="0" u="none" strike="noStrike" kern="1200" cap="none" spc="0" normalizeH="0" baseline="0" noProof="0">
              <a:ln>
                <a:noFill/>
              </a:ln>
              <a:solidFill>
                <a:prstClr val="black"/>
              </a:solidFill>
              <a:effectLst/>
              <a:uLnTx/>
              <a:uFillTx/>
              <a:latin typeface="Helvetica Light"/>
              <a:ea typeface="+mn-ea"/>
              <a:cs typeface="+mn-cs"/>
            </a:endParaRPr>
          </a:p>
        </p:txBody>
      </p:sp>
      <p:sp>
        <p:nvSpPr>
          <p:cNvPr id="10" name="Freihandform 21">
            <a:extLst>
              <a:ext uri="{FF2B5EF4-FFF2-40B4-BE49-F238E27FC236}">
                <a16:creationId xmlns:a16="http://schemas.microsoft.com/office/drawing/2014/main" id="{C29060DA-0CE8-4B27-A8CE-404D22C0B735}"/>
              </a:ext>
            </a:extLst>
          </p:cNvPr>
          <p:cNvSpPr/>
          <p:nvPr/>
        </p:nvSpPr>
        <p:spPr>
          <a:xfrm>
            <a:off x="2353269" y="4000541"/>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prstClr val="black"/>
                </a:solidFill>
                <a:latin typeface="Helvetica Light"/>
                <a:ea typeface="Arial"/>
                <a:cs typeface="Arial" pitchFamily="34" charset="0"/>
              </a:rPr>
              <a:t>Hinzufügen Feature</a:t>
            </a:r>
          </a:p>
        </p:txBody>
      </p:sp>
      <p:sp>
        <p:nvSpPr>
          <p:cNvPr id="11" name="Freihandform 21">
            <a:extLst>
              <a:ext uri="{FF2B5EF4-FFF2-40B4-BE49-F238E27FC236}">
                <a16:creationId xmlns:a16="http://schemas.microsoft.com/office/drawing/2014/main" id="{17327D5B-8A09-4C6B-A5C5-5C7E4E6F0F7F}"/>
              </a:ext>
            </a:extLst>
          </p:cNvPr>
          <p:cNvSpPr/>
          <p:nvPr/>
        </p:nvSpPr>
        <p:spPr>
          <a:xfrm>
            <a:off x="6002563" y="4007646"/>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prstClr val="black"/>
                </a:solidFill>
                <a:latin typeface="Helvetica Light"/>
                <a:ea typeface="Arial"/>
                <a:cs typeface="Arial" pitchFamily="34" charset="0"/>
              </a:rPr>
              <a:t>Betrachtung Fehlerkennzahl</a:t>
            </a:r>
          </a:p>
        </p:txBody>
      </p:sp>
      <p:grpSp>
        <p:nvGrpSpPr>
          <p:cNvPr id="14" name="Gruppieren 13">
            <a:extLst>
              <a:ext uri="{FF2B5EF4-FFF2-40B4-BE49-F238E27FC236}">
                <a16:creationId xmlns:a16="http://schemas.microsoft.com/office/drawing/2014/main" id="{C6FE5185-ECE0-4862-A32F-D947BCB59F64}"/>
              </a:ext>
            </a:extLst>
          </p:cNvPr>
          <p:cNvGrpSpPr/>
          <p:nvPr/>
        </p:nvGrpSpPr>
        <p:grpSpPr>
          <a:xfrm>
            <a:off x="7831749" y="4007645"/>
            <a:ext cx="1645622" cy="962201"/>
            <a:chOff x="1312370" y="4923921"/>
            <a:chExt cx="2481618" cy="1109662"/>
          </a:xfrm>
        </p:grpSpPr>
        <p:sp>
          <p:nvSpPr>
            <p:cNvPr id="12" name="Raute 11">
              <a:extLst>
                <a:ext uri="{FF2B5EF4-FFF2-40B4-BE49-F238E27FC236}">
                  <a16:creationId xmlns:a16="http://schemas.microsoft.com/office/drawing/2014/main" id="{79C5831E-77C4-426B-AC5C-AB0AD69B56B5}"/>
                </a:ext>
              </a:extLst>
            </p:cNvPr>
            <p:cNvSpPr/>
            <p:nvPr/>
          </p:nvSpPr>
          <p:spPr>
            <a:xfrm>
              <a:off x="1312370" y="4923921"/>
              <a:ext cx="2481618" cy="1109662"/>
            </a:xfrm>
            <a:prstGeom prst="diamond">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3" name="Freihandform 21">
              <a:extLst>
                <a:ext uri="{FF2B5EF4-FFF2-40B4-BE49-F238E27FC236}">
                  <a16:creationId xmlns:a16="http://schemas.microsoft.com/office/drawing/2014/main" id="{AF972E97-B281-441A-9D7C-51644BF8547D}"/>
                </a:ext>
              </a:extLst>
            </p:cNvPr>
            <p:cNvSpPr/>
            <p:nvPr/>
          </p:nvSpPr>
          <p:spPr>
            <a:xfrm>
              <a:off x="1547664" y="5207921"/>
              <a:ext cx="2060202" cy="307777"/>
            </a:xfrm>
            <a:prstGeom prst="round2SameRect">
              <a:avLst>
                <a:gd name="adj1" fmla="val 2646"/>
                <a:gd name="adj2" fmla="val 2646"/>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200">
                  <a:solidFill>
                    <a:schemeClr val="tx1"/>
                  </a:solidFill>
                  <a:latin typeface="Helvetica Light"/>
                  <a:ea typeface="Arial"/>
                  <a:cs typeface="Arial" pitchFamily="34" charset="0"/>
                </a:rPr>
                <a:t>Fehlerkennzahl verbesserungs-würdig?</a:t>
              </a: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200">
                <a:solidFill>
                  <a:srgbClr val="E0E0E0"/>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srgbClr val="E0E0E0"/>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Helvetica Light"/>
                <a:ea typeface="+mn-ea"/>
                <a:cs typeface="+mn-cs"/>
              </a:endParaRPr>
            </a:p>
          </p:txBody>
        </p:sp>
      </p:grpSp>
      <p:sp>
        <p:nvSpPr>
          <p:cNvPr id="15" name="Freihandform 21">
            <a:extLst>
              <a:ext uri="{FF2B5EF4-FFF2-40B4-BE49-F238E27FC236}">
                <a16:creationId xmlns:a16="http://schemas.microsoft.com/office/drawing/2014/main" id="{A266C395-FC23-4CA3-8AFB-445EDBE92FA9}"/>
              </a:ext>
            </a:extLst>
          </p:cNvPr>
          <p:cNvSpPr/>
          <p:nvPr/>
        </p:nvSpPr>
        <p:spPr>
          <a:xfrm>
            <a:off x="4179714" y="4002745"/>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prstClr val="black"/>
                </a:solidFill>
                <a:latin typeface="Helvetica Light"/>
                <a:ea typeface="Arial"/>
                <a:cs typeface="Arial" pitchFamily="34" charset="0"/>
              </a:rPr>
              <a:t>Lineare Regression</a:t>
            </a: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16" name="Freihandform 21">
            <a:extLst>
              <a:ext uri="{FF2B5EF4-FFF2-40B4-BE49-F238E27FC236}">
                <a16:creationId xmlns:a16="http://schemas.microsoft.com/office/drawing/2014/main" id="{3D6F77C2-3327-4666-8F38-EC9F69C26379}"/>
              </a:ext>
            </a:extLst>
          </p:cNvPr>
          <p:cNvSpPr/>
          <p:nvPr/>
        </p:nvSpPr>
        <p:spPr>
          <a:xfrm>
            <a:off x="534000" y="1965754"/>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R="0" lvl="0" algn="ctr" defTabSz="622300" rtl="0" eaLnBrk="1" fontAlgn="auto" latinLnBrk="0" hangingPunct="1">
              <a:lnSpc>
                <a:spcPct val="90000"/>
              </a:lnSpc>
              <a:spcBef>
                <a:spcPct val="0"/>
              </a:spcBef>
              <a:spcAft>
                <a:spcPct val="35000"/>
              </a:spcAft>
              <a:buClrTx/>
              <a:buSzTx/>
              <a:tabLst/>
              <a:defRPr/>
            </a:pPr>
            <a:r>
              <a:rPr lang="de-DE" sz="1400">
                <a:solidFill>
                  <a:prstClr val="black"/>
                </a:solidFill>
                <a:latin typeface="Helvetica Light"/>
                <a:ea typeface="Arial"/>
                <a:cs typeface="Arial" pitchFamily="34" charset="0"/>
              </a:rPr>
              <a:t>Erstellung mehrerer Teilmodelle mit unterschiedlichen Features</a:t>
            </a:r>
          </a:p>
        </p:txBody>
      </p:sp>
      <p:sp>
        <p:nvSpPr>
          <p:cNvPr id="17" name="Freihandform 21">
            <a:extLst>
              <a:ext uri="{FF2B5EF4-FFF2-40B4-BE49-F238E27FC236}">
                <a16:creationId xmlns:a16="http://schemas.microsoft.com/office/drawing/2014/main" id="{AE84A109-5278-4671-8DB3-88C67A48B7A7}"/>
              </a:ext>
            </a:extLst>
          </p:cNvPr>
          <p:cNvSpPr/>
          <p:nvPr/>
        </p:nvSpPr>
        <p:spPr>
          <a:xfrm>
            <a:off x="2352826" y="1965754"/>
            <a:ext cx="1705764" cy="962200"/>
          </a:xfrm>
          <a:prstGeom prst="round2SameRect">
            <a:avLst>
              <a:gd name="adj1" fmla="val 2646"/>
              <a:gd name="adj2" fmla="val 2646"/>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R="0" lvl="0" algn="ctr" defTabSz="622300" rtl="0" eaLnBrk="1" fontAlgn="auto" latinLnBrk="0" hangingPunct="1">
              <a:lnSpc>
                <a:spcPct val="90000"/>
              </a:lnSpc>
              <a:spcBef>
                <a:spcPct val="0"/>
              </a:spcBef>
              <a:spcAft>
                <a:spcPct val="35000"/>
              </a:spcAft>
              <a:buClrTx/>
              <a:buSzTx/>
              <a:tabLst/>
              <a:defRPr/>
            </a:pPr>
            <a:r>
              <a:rPr lang="de-DE" sz="1400">
                <a:solidFill>
                  <a:prstClr val="black"/>
                </a:solidFill>
                <a:latin typeface="Helvetica Light"/>
                <a:ea typeface="Arial"/>
                <a:cs typeface="Arial" pitchFamily="34" charset="0"/>
              </a:rPr>
              <a:t>Auswahl unabhängiger Features</a:t>
            </a:r>
          </a:p>
        </p:txBody>
      </p:sp>
      <p:sp>
        <p:nvSpPr>
          <p:cNvPr id="20" name="Freihandform 21">
            <a:extLst>
              <a:ext uri="{FF2B5EF4-FFF2-40B4-BE49-F238E27FC236}">
                <a16:creationId xmlns:a16="http://schemas.microsoft.com/office/drawing/2014/main" id="{2C100FCD-8307-4BB0-820D-4BB520C814BA}"/>
              </a:ext>
            </a:extLst>
          </p:cNvPr>
          <p:cNvSpPr/>
          <p:nvPr/>
        </p:nvSpPr>
        <p:spPr>
          <a:xfrm>
            <a:off x="10328474" y="4002745"/>
            <a:ext cx="972000" cy="972000"/>
          </a:xfrm>
          <a:prstGeom prst="ellipse">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p:txBody>
      </p:sp>
      <p:cxnSp>
        <p:nvCxnSpPr>
          <p:cNvPr id="23" name="Gerade Verbindung mit Pfeil 22">
            <a:extLst>
              <a:ext uri="{FF2B5EF4-FFF2-40B4-BE49-F238E27FC236}">
                <a16:creationId xmlns:a16="http://schemas.microsoft.com/office/drawing/2014/main" id="{55B0FE2B-44CD-4B68-BE98-351C652D1993}"/>
              </a:ext>
            </a:extLst>
          </p:cNvPr>
          <p:cNvCxnSpPr>
            <a:stCxn id="16" idx="0"/>
            <a:endCxn id="17" idx="2"/>
          </p:cNvCxnSpPr>
          <p:nvPr/>
        </p:nvCxnSpPr>
        <p:spPr>
          <a:xfrm>
            <a:off x="2239764" y="2446854"/>
            <a:ext cx="113062" cy="0"/>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a:extLst>
              <a:ext uri="{FF2B5EF4-FFF2-40B4-BE49-F238E27FC236}">
                <a16:creationId xmlns:a16="http://schemas.microsoft.com/office/drawing/2014/main" id="{50E315DB-C1C5-4C92-9A55-CE6D63FDBB8F}"/>
              </a:ext>
            </a:extLst>
          </p:cNvPr>
          <p:cNvCxnSpPr>
            <a:cxnSpLocks/>
            <a:stCxn id="9" idx="0"/>
            <a:endCxn id="10" idx="2"/>
          </p:cNvCxnSpPr>
          <p:nvPr/>
        </p:nvCxnSpPr>
        <p:spPr>
          <a:xfrm flipV="1">
            <a:off x="2239764" y="4481641"/>
            <a:ext cx="113505" cy="7105"/>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id="{42623F6B-2F7D-426B-996D-5FB809589CA0}"/>
              </a:ext>
            </a:extLst>
          </p:cNvPr>
          <p:cNvCxnSpPr>
            <a:cxnSpLocks/>
            <a:stCxn id="10" idx="0"/>
            <a:endCxn id="15" idx="2"/>
          </p:cNvCxnSpPr>
          <p:nvPr/>
        </p:nvCxnSpPr>
        <p:spPr>
          <a:xfrm>
            <a:off x="4059033" y="4481641"/>
            <a:ext cx="120681" cy="2204"/>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Gerade Verbindung mit Pfeil 29">
            <a:extLst>
              <a:ext uri="{FF2B5EF4-FFF2-40B4-BE49-F238E27FC236}">
                <a16:creationId xmlns:a16="http://schemas.microsoft.com/office/drawing/2014/main" id="{31F35DC9-AE5E-4ABC-882C-1EB8C1F59DA9}"/>
              </a:ext>
            </a:extLst>
          </p:cNvPr>
          <p:cNvCxnSpPr>
            <a:cxnSpLocks/>
            <a:stCxn id="15" idx="0"/>
            <a:endCxn id="11" idx="2"/>
          </p:cNvCxnSpPr>
          <p:nvPr/>
        </p:nvCxnSpPr>
        <p:spPr>
          <a:xfrm>
            <a:off x="5885478" y="4483845"/>
            <a:ext cx="117085" cy="4901"/>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Gerade Verbindung mit Pfeil 32">
            <a:extLst>
              <a:ext uri="{FF2B5EF4-FFF2-40B4-BE49-F238E27FC236}">
                <a16:creationId xmlns:a16="http://schemas.microsoft.com/office/drawing/2014/main" id="{30163D4C-ED63-487A-8A83-57B6C6FEB9B6}"/>
              </a:ext>
            </a:extLst>
          </p:cNvPr>
          <p:cNvCxnSpPr>
            <a:cxnSpLocks/>
            <a:stCxn id="11" idx="0"/>
            <a:endCxn id="12" idx="1"/>
          </p:cNvCxnSpPr>
          <p:nvPr/>
        </p:nvCxnSpPr>
        <p:spPr>
          <a:xfrm>
            <a:off x="7708327" y="4488746"/>
            <a:ext cx="123422" cy="0"/>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Gerade Verbindung mit Pfeil 37">
            <a:extLst>
              <a:ext uri="{FF2B5EF4-FFF2-40B4-BE49-F238E27FC236}">
                <a16:creationId xmlns:a16="http://schemas.microsoft.com/office/drawing/2014/main" id="{66E416B3-DAD3-40EA-9AEB-1B599FBDA421}"/>
              </a:ext>
            </a:extLst>
          </p:cNvPr>
          <p:cNvCxnSpPr>
            <a:cxnSpLocks/>
            <a:stCxn id="12" idx="3"/>
            <a:endCxn id="20" idx="2"/>
          </p:cNvCxnSpPr>
          <p:nvPr/>
        </p:nvCxnSpPr>
        <p:spPr>
          <a:xfrm flipV="1">
            <a:off x="9477371" y="4488745"/>
            <a:ext cx="851103" cy="1"/>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6" name="Verbinder: gewinkelt 45">
            <a:extLst>
              <a:ext uri="{FF2B5EF4-FFF2-40B4-BE49-F238E27FC236}">
                <a16:creationId xmlns:a16="http://schemas.microsoft.com/office/drawing/2014/main" id="{08897731-9397-4F9C-9EC1-9E2142E4E93C}"/>
              </a:ext>
            </a:extLst>
          </p:cNvPr>
          <p:cNvCxnSpPr>
            <a:cxnSpLocks/>
            <a:stCxn id="12" idx="2"/>
            <a:endCxn id="10" idx="1"/>
          </p:cNvCxnSpPr>
          <p:nvPr/>
        </p:nvCxnSpPr>
        <p:spPr>
          <a:xfrm rot="5400000" flipH="1">
            <a:off x="5926804" y="2242089"/>
            <a:ext cx="7104" cy="5448409"/>
          </a:xfrm>
          <a:prstGeom prst="bentConnector3">
            <a:avLst>
              <a:gd name="adj1" fmla="val -11396748"/>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0" name="Verbinder: gewinkelt 49">
            <a:extLst>
              <a:ext uri="{FF2B5EF4-FFF2-40B4-BE49-F238E27FC236}">
                <a16:creationId xmlns:a16="http://schemas.microsoft.com/office/drawing/2014/main" id="{7D161449-70E7-43AC-AD32-2594DF58EF50}"/>
              </a:ext>
            </a:extLst>
          </p:cNvPr>
          <p:cNvCxnSpPr>
            <a:cxnSpLocks/>
            <a:stCxn id="17" idx="0"/>
            <a:endCxn id="9" idx="2"/>
          </p:cNvCxnSpPr>
          <p:nvPr/>
        </p:nvCxnSpPr>
        <p:spPr>
          <a:xfrm flipH="1">
            <a:off x="534000" y="2446854"/>
            <a:ext cx="3524590" cy="2041892"/>
          </a:xfrm>
          <a:prstGeom prst="bentConnector5">
            <a:avLst>
              <a:gd name="adj1" fmla="val -6486"/>
              <a:gd name="adj2" fmla="val 37872"/>
              <a:gd name="adj3" fmla="val 106486"/>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4" name="Freihandform 21">
            <a:extLst>
              <a:ext uri="{FF2B5EF4-FFF2-40B4-BE49-F238E27FC236}">
                <a16:creationId xmlns:a16="http://schemas.microsoft.com/office/drawing/2014/main" id="{8B014626-4EFF-422E-94FA-0088EF439D30}"/>
              </a:ext>
            </a:extLst>
          </p:cNvPr>
          <p:cNvSpPr/>
          <p:nvPr/>
        </p:nvSpPr>
        <p:spPr>
          <a:xfrm>
            <a:off x="10267417" y="4287660"/>
            <a:ext cx="1127647" cy="549258"/>
          </a:xfrm>
          <a:prstGeom prst="round2SameRect">
            <a:avLst>
              <a:gd name="adj1" fmla="val 2646"/>
              <a:gd name="adj2" fmla="val 2646"/>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schemeClr val="tx1"/>
                </a:solidFill>
                <a:latin typeface="Helvetica Light"/>
                <a:ea typeface="Arial"/>
                <a:cs typeface="Arial" pitchFamily="34" charset="0"/>
              </a:rPr>
              <a:t>Prognose-modell</a:t>
            </a: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200">
              <a:solidFill>
                <a:srgbClr val="E0E0E0"/>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srgbClr val="E0E0E0"/>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Helvetica Light"/>
              <a:ea typeface="+mn-ea"/>
              <a:cs typeface="+mn-cs"/>
            </a:endParaRPr>
          </a:p>
        </p:txBody>
      </p:sp>
      <p:sp>
        <p:nvSpPr>
          <p:cNvPr id="26" name="Freihandform 21">
            <a:extLst>
              <a:ext uri="{FF2B5EF4-FFF2-40B4-BE49-F238E27FC236}">
                <a16:creationId xmlns:a16="http://schemas.microsoft.com/office/drawing/2014/main" id="{A6848E91-AECA-4D1E-9F14-18DEF4808B34}"/>
              </a:ext>
            </a:extLst>
          </p:cNvPr>
          <p:cNvSpPr/>
          <p:nvPr/>
        </p:nvSpPr>
        <p:spPr>
          <a:xfrm>
            <a:off x="8194916" y="4962741"/>
            <a:ext cx="364514" cy="330573"/>
          </a:xfrm>
          <a:prstGeom prst="round2SameRect">
            <a:avLst>
              <a:gd name="adj1" fmla="val 2646"/>
              <a:gd name="adj2" fmla="val 2646"/>
            </a:avLst>
          </a:prstGeom>
          <a:solidFill>
            <a:schemeClr val="bg1">
              <a:alpha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sz="1400">
                <a:solidFill>
                  <a:prstClr val="black"/>
                </a:solidFill>
                <a:latin typeface="Helvetica Light"/>
                <a:ea typeface="Arial"/>
                <a:cs typeface="Arial" pitchFamily="34" charset="0"/>
              </a:rPr>
              <a:t>Ja</a:t>
            </a: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28" name="Freihandform 21">
            <a:extLst>
              <a:ext uri="{FF2B5EF4-FFF2-40B4-BE49-F238E27FC236}">
                <a16:creationId xmlns:a16="http://schemas.microsoft.com/office/drawing/2014/main" id="{1E62CD5E-55F4-4E34-B20F-85D1358E07F4}"/>
              </a:ext>
            </a:extLst>
          </p:cNvPr>
          <p:cNvSpPr/>
          <p:nvPr/>
        </p:nvSpPr>
        <p:spPr>
          <a:xfrm>
            <a:off x="9415006" y="4131943"/>
            <a:ext cx="539852" cy="330573"/>
          </a:xfrm>
          <a:prstGeom prst="round2SameRect">
            <a:avLst>
              <a:gd name="adj1" fmla="val 2646"/>
              <a:gd name="adj2" fmla="val 2646"/>
            </a:avLst>
          </a:prstGeom>
          <a:solidFill>
            <a:schemeClr val="bg1">
              <a:alpha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rPr>
              <a:t>Nein</a:t>
            </a:r>
          </a:p>
        </p:txBody>
      </p:sp>
      <p:pic>
        <p:nvPicPr>
          <p:cNvPr id="22" name="Grafik 21" descr="Ein Bild, das Text enthält.&#10;&#10;Automatisch generierte Beschreibung">
            <a:extLst>
              <a:ext uri="{FF2B5EF4-FFF2-40B4-BE49-F238E27FC236}">
                <a16:creationId xmlns:a16="http://schemas.microsoft.com/office/drawing/2014/main" id="{ABF9C147-9156-435B-B808-B53CDE961EEE}"/>
              </a:ext>
            </a:extLst>
          </p:cNvPr>
          <p:cNvPicPr>
            <a:picLocks noChangeAspect="1"/>
          </p:cNvPicPr>
          <p:nvPr/>
        </p:nvPicPr>
        <p:blipFill rotWithShape="1">
          <a:blip r:embed="rId3">
            <a:duotone>
              <a:prstClr val="black"/>
              <a:schemeClr val="accent5">
                <a:tint val="45000"/>
                <a:satMod val="400000"/>
              </a:schemeClr>
            </a:duotone>
            <a:extLst>
              <a:ext uri="{28A0092B-C50C-407E-A947-70E740481C1C}">
                <a14:useLocalDpi xmlns:a14="http://schemas.microsoft.com/office/drawing/2010/main" val="0"/>
              </a:ext>
            </a:extLst>
          </a:blip>
          <a:srcRect r="20032"/>
          <a:stretch/>
        </p:blipFill>
        <p:spPr>
          <a:xfrm>
            <a:off x="4585608" y="1030564"/>
            <a:ext cx="7057273" cy="2226062"/>
          </a:xfrm>
          <a:prstGeom prst="rect">
            <a:avLst/>
          </a:prstGeom>
        </p:spPr>
      </p:pic>
    </p:spTree>
    <p:extLst>
      <p:ext uri="{BB962C8B-B14F-4D97-AF65-F5344CB8AC3E}">
        <p14:creationId xmlns:p14="http://schemas.microsoft.com/office/powerpoint/2010/main" val="1101034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ihandform 27">
            <a:extLst>
              <a:ext uri="{FF2B5EF4-FFF2-40B4-BE49-F238E27FC236}">
                <a16:creationId xmlns:a16="http://schemas.microsoft.com/office/drawing/2014/main" id="{0E4EECB9-7113-4539-B585-E2981C79594C}"/>
              </a:ext>
            </a:extLst>
          </p:cNvPr>
          <p:cNvSpPr/>
          <p:nvPr/>
        </p:nvSpPr>
        <p:spPr>
          <a:xfrm>
            <a:off x="442912" y="4293439"/>
            <a:ext cx="11294242" cy="1979024"/>
          </a:xfrm>
          <a:prstGeom prst="rect">
            <a:avLst/>
          </a:prstGeom>
          <a:solidFill>
            <a:srgbClr val="3E8A83">
              <a:alpha val="50196"/>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36" name="Freihandform 27">
            <a:extLst>
              <a:ext uri="{FF2B5EF4-FFF2-40B4-BE49-F238E27FC236}">
                <a16:creationId xmlns:a16="http://schemas.microsoft.com/office/drawing/2014/main" id="{F8B62549-6024-425F-9F1E-0C9F75F32E06}"/>
              </a:ext>
            </a:extLst>
          </p:cNvPr>
          <p:cNvSpPr/>
          <p:nvPr/>
        </p:nvSpPr>
        <p:spPr>
          <a:xfrm>
            <a:off x="442913" y="1401867"/>
            <a:ext cx="11294242" cy="2894126"/>
          </a:xfrm>
          <a:prstGeom prst="rect">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Modellierung</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7" name="Ellipse 6">
            <a:extLst>
              <a:ext uri="{FF2B5EF4-FFF2-40B4-BE49-F238E27FC236}">
                <a16:creationId xmlns:a16="http://schemas.microsoft.com/office/drawing/2014/main" id="{C8C89814-C131-4F9C-BACF-ECB0A5D5EF7C}"/>
              </a:ext>
            </a:extLst>
          </p:cNvPr>
          <p:cNvSpPr/>
          <p:nvPr/>
        </p:nvSpPr>
        <p:spPr>
          <a:xfrm>
            <a:off x="9033636" y="2057754"/>
            <a:ext cx="1800000" cy="18000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 name="Pfeil: nach rechts 8">
            <a:extLst>
              <a:ext uri="{FF2B5EF4-FFF2-40B4-BE49-F238E27FC236}">
                <a16:creationId xmlns:a16="http://schemas.microsoft.com/office/drawing/2014/main" id="{F4AD0DA5-7402-4B09-92B7-3FDC1905FADD}"/>
              </a:ext>
            </a:extLst>
          </p:cNvPr>
          <p:cNvSpPr/>
          <p:nvPr/>
        </p:nvSpPr>
        <p:spPr>
          <a:xfrm rot="2100000">
            <a:off x="8160783" y="1912413"/>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1" name="Pfeil: nach rechts 10">
            <a:extLst>
              <a:ext uri="{FF2B5EF4-FFF2-40B4-BE49-F238E27FC236}">
                <a16:creationId xmlns:a16="http://schemas.microsoft.com/office/drawing/2014/main" id="{D8959536-B815-4D98-9F5A-A8BFC2F91349}"/>
              </a:ext>
            </a:extLst>
          </p:cNvPr>
          <p:cNvSpPr/>
          <p:nvPr/>
        </p:nvSpPr>
        <p:spPr>
          <a:xfrm>
            <a:off x="7967899" y="2594543"/>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2" name="Pfeil: nach rechts 11">
            <a:extLst>
              <a:ext uri="{FF2B5EF4-FFF2-40B4-BE49-F238E27FC236}">
                <a16:creationId xmlns:a16="http://schemas.microsoft.com/office/drawing/2014/main" id="{D58CD49A-16D0-47BE-8F3B-E966EE27776A}"/>
              </a:ext>
            </a:extLst>
          </p:cNvPr>
          <p:cNvSpPr/>
          <p:nvPr/>
        </p:nvSpPr>
        <p:spPr>
          <a:xfrm rot="19500000">
            <a:off x="8160782" y="3279870"/>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 name="Textfeld 9">
            <a:extLst>
              <a:ext uri="{FF2B5EF4-FFF2-40B4-BE49-F238E27FC236}">
                <a16:creationId xmlns:a16="http://schemas.microsoft.com/office/drawing/2014/main" id="{1F0D0360-A20B-4250-BE1F-6610CF15FCAD}"/>
              </a:ext>
            </a:extLst>
          </p:cNvPr>
          <p:cNvSpPr txBox="1"/>
          <p:nvPr/>
        </p:nvSpPr>
        <p:spPr bwMode="auto">
          <a:xfrm>
            <a:off x="7495586" y="1421490"/>
            <a:ext cx="1229360"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Startzeit</a:t>
            </a:r>
            <a:endParaRPr lang="de-DE" sz="1400" b="1">
              <a:solidFill>
                <a:schemeClr val="bg1"/>
              </a:solidFill>
            </a:endParaRPr>
          </a:p>
        </p:txBody>
      </p:sp>
      <p:sp>
        <p:nvSpPr>
          <p:cNvPr id="14" name="Textfeld 13">
            <a:extLst>
              <a:ext uri="{FF2B5EF4-FFF2-40B4-BE49-F238E27FC236}">
                <a16:creationId xmlns:a16="http://schemas.microsoft.com/office/drawing/2014/main" id="{F900A7B7-3BE8-45A0-89C4-1AD3E530669B}"/>
              </a:ext>
            </a:extLst>
          </p:cNvPr>
          <p:cNvSpPr txBox="1"/>
          <p:nvPr/>
        </p:nvSpPr>
        <p:spPr bwMode="auto">
          <a:xfrm>
            <a:off x="7495586" y="3454755"/>
            <a:ext cx="1229360"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b="1">
                <a:solidFill>
                  <a:schemeClr val="bg1"/>
                </a:solidFill>
              </a:rPr>
              <a:t>Ferien</a:t>
            </a:r>
          </a:p>
        </p:txBody>
      </p:sp>
      <p:sp>
        <p:nvSpPr>
          <p:cNvPr id="15" name="Textfeld 14">
            <a:extLst>
              <a:ext uri="{FF2B5EF4-FFF2-40B4-BE49-F238E27FC236}">
                <a16:creationId xmlns:a16="http://schemas.microsoft.com/office/drawing/2014/main" id="{EDC3EF8A-92FF-4EF9-8B96-E85482D0B911}"/>
              </a:ext>
            </a:extLst>
          </p:cNvPr>
          <p:cNvSpPr txBox="1"/>
          <p:nvPr/>
        </p:nvSpPr>
        <p:spPr bwMode="auto">
          <a:xfrm>
            <a:off x="6934699" y="2429823"/>
            <a:ext cx="1613546"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600" b="1">
                <a:solidFill>
                  <a:schemeClr val="bg1"/>
                </a:solidFill>
              </a:rPr>
              <a:t>Niedrigwasser</a:t>
            </a:r>
            <a:endParaRPr lang="de-DE" sz="1100" b="1">
              <a:solidFill>
                <a:schemeClr val="bg1"/>
              </a:solidFill>
            </a:endParaRPr>
          </a:p>
        </p:txBody>
      </p:sp>
      <p:sp>
        <p:nvSpPr>
          <p:cNvPr id="16" name="Rechteck: abgerundete Ecken 15">
            <a:extLst>
              <a:ext uri="{FF2B5EF4-FFF2-40B4-BE49-F238E27FC236}">
                <a16:creationId xmlns:a16="http://schemas.microsoft.com/office/drawing/2014/main" id="{F34B617A-4275-4F6A-ACB7-8DC5DFE1E298}"/>
              </a:ext>
            </a:extLst>
          </p:cNvPr>
          <p:cNvSpPr/>
          <p:nvPr/>
        </p:nvSpPr>
        <p:spPr>
          <a:xfrm>
            <a:off x="5667386" y="-450198"/>
            <a:ext cx="1293853" cy="37357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3" name="Textfeld 12">
            <a:extLst>
              <a:ext uri="{FF2B5EF4-FFF2-40B4-BE49-F238E27FC236}">
                <a16:creationId xmlns:a16="http://schemas.microsoft.com/office/drawing/2014/main" id="{8E6C40B4-8603-4BEC-9A23-62D322CBC8E4}"/>
              </a:ext>
            </a:extLst>
          </p:cNvPr>
          <p:cNvSpPr txBox="1"/>
          <p:nvPr/>
        </p:nvSpPr>
        <p:spPr bwMode="auto">
          <a:xfrm>
            <a:off x="9007412" y="2567744"/>
            <a:ext cx="1761029" cy="780020"/>
          </a:xfrm>
          <a:prstGeom prst="rect">
            <a:avLst/>
          </a:prstGeom>
          <a:noFill/>
          <a:ln w="6350">
            <a:noFill/>
            <a:prstDash val="solid"/>
            <a:miter lim="800000"/>
            <a:headEnd/>
            <a:tailEnd/>
          </a:ln>
        </p:spPr>
        <p:txBody>
          <a:bodyPr wrap="square" lIns="72000" rIns="72000" rtlCol="0" anchor="ctr">
            <a:noAutofit/>
          </a:bodyPr>
          <a:lstStyle/>
          <a:p>
            <a:pPr marL="144000" indent="-144000" algn="ctr">
              <a:lnSpc>
                <a:spcPct val="125000"/>
              </a:lnSpc>
              <a:spcAft>
                <a:spcPts val="400"/>
              </a:spcAft>
              <a:buClr>
                <a:schemeClr val="accent1"/>
              </a:buClr>
              <a:buFont typeface="Wingdings" panose="05000000000000000000" pitchFamily="2" charset="2"/>
              <a:buChar char="§"/>
            </a:pPr>
            <a:r>
              <a:rPr lang="de-DE" sz="2000" b="1">
                <a:solidFill>
                  <a:schemeClr val="bg1"/>
                </a:solidFill>
              </a:rPr>
              <a:t>Ankunftszeit (ETA)</a:t>
            </a:r>
          </a:p>
        </p:txBody>
      </p:sp>
      <p:graphicFrame>
        <p:nvGraphicFramePr>
          <p:cNvPr id="18" name="Tabelle 18">
            <a:extLst>
              <a:ext uri="{FF2B5EF4-FFF2-40B4-BE49-F238E27FC236}">
                <a16:creationId xmlns:a16="http://schemas.microsoft.com/office/drawing/2014/main" id="{2E6A8E97-5300-4225-8C8E-4BA79E4A163A}"/>
              </a:ext>
            </a:extLst>
          </p:cNvPr>
          <p:cNvGraphicFramePr>
            <a:graphicFrameLocks noGrp="1"/>
          </p:cNvGraphicFramePr>
          <p:nvPr/>
        </p:nvGraphicFramePr>
        <p:xfrm>
          <a:off x="995457" y="1532839"/>
          <a:ext cx="4257368" cy="2595880"/>
        </p:xfrm>
        <a:graphic>
          <a:graphicData uri="http://schemas.openxmlformats.org/drawingml/2006/table">
            <a:tbl>
              <a:tblPr firstRow="1" firstCol="1" bandRow="1">
                <a:tableStyleId>{69012ECD-51FC-41F1-AA8D-1B2483CD663E}</a:tableStyleId>
              </a:tblPr>
              <a:tblGrid>
                <a:gridCol w="2729214">
                  <a:extLst>
                    <a:ext uri="{9D8B030D-6E8A-4147-A177-3AD203B41FA5}">
                      <a16:colId xmlns:a16="http://schemas.microsoft.com/office/drawing/2014/main" val="2428429847"/>
                    </a:ext>
                  </a:extLst>
                </a:gridCol>
                <a:gridCol w="1528154">
                  <a:extLst>
                    <a:ext uri="{9D8B030D-6E8A-4147-A177-3AD203B41FA5}">
                      <a16:colId xmlns:a16="http://schemas.microsoft.com/office/drawing/2014/main" val="636138381"/>
                    </a:ext>
                  </a:extLst>
                </a:gridCol>
              </a:tblGrid>
              <a:tr h="370840">
                <a:tc gridSpan="2">
                  <a:txBody>
                    <a:bodyPr/>
                    <a:lstStyle/>
                    <a:p>
                      <a:r>
                        <a:rPr lang="de-DE"/>
                        <a:t>Korrelation zur Ankunftszeit</a:t>
                      </a:r>
                    </a:p>
                  </a:txBody>
                  <a:tcPr/>
                </a:tc>
                <a:tc hMerge="1">
                  <a:txBody>
                    <a:bodyPr/>
                    <a:lstStyle/>
                    <a:p>
                      <a:r>
                        <a:rPr lang="de-DE" err="1"/>
                        <a:t>Korrela</a:t>
                      </a:r>
                      <a:endParaRPr lang="de-DE"/>
                    </a:p>
                  </a:txBody>
                  <a:tcPr/>
                </a:tc>
                <a:extLst>
                  <a:ext uri="{0D108BD9-81ED-4DB2-BD59-A6C34878D82A}">
                    <a16:rowId xmlns:a16="http://schemas.microsoft.com/office/drawing/2014/main" val="2614997638"/>
                  </a:ext>
                </a:extLst>
              </a:tr>
              <a:tr h="370840">
                <a:tc>
                  <a:txBody>
                    <a:bodyPr/>
                    <a:lstStyle/>
                    <a:p>
                      <a:pPr algn="l" fontAlgn="b"/>
                      <a:r>
                        <a:rPr lang="de-DE" sz="1400" b="0" u="none" strike="noStrike">
                          <a:solidFill>
                            <a:schemeClr val="tx1"/>
                          </a:solidFill>
                          <a:effectLst/>
                        </a:rPr>
                        <a:t>  Startzeit</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rgbClr val="000000"/>
                          </a:solidFill>
                          <a:effectLst/>
                        </a:rPr>
                        <a:t>0,99998</a:t>
                      </a:r>
                      <a:endParaRPr lang="de-DE" sz="1400" b="0" i="0" u="none" strike="noStrike">
                        <a:solidFill>
                          <a:srgbClr val="000000"/>
                        </a:solidFill>
                        <a:effectLst/>
                        <a:latin typeface="+mn-lt"/>
                      </a:endParaRPr>
                    </a:p>
                  </a:txBody>
                  <a:tcPr marL="7620" marR="7620" marT="7620" marB="0" anchor="b"/>
                </a:tc>
                <a:extLst>
                  <a:ext uri="{0D108BD9-81ED-4DB2-BD59-A6C34878D82A}">
                    <a16:rowId xmlns:a16="http://schemas.microsoft.com/office/drawing/2014/main" val="2184956088"/>
                  </a:ext>
                </a:extLst>
              </a:tr>
              <a:tr h="370840">
                <a:tc>
                  <a:txBody>
                    <a:bodyPr/>
                    <a:lstStyle/>
                    <a:p>
                      <a:pPr algn="l" fontAlgn="b"/>
                      <a:r>
                        <a:rPr lang="de-DE" sz="1400" b="0" u="none" strike="noStrike">
                          <a:solidFill>
                            <a:schemeClr val="tx1"/>
                          </a:solidFill>
                          <a:effectLst/>
                        </a:rPr>
                        <a:t>  Startgeschwindigkeit</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rgbClr val="000000"/>
                          </a:solidFill>
                          <a:effectLst/>
                        </a:rPr>
                        <a:t>0,19736</a:t>
                      </a:r>
                      <a:endParaRPr lang="de-DE" sz="1400" b="0" i="0" u="none" strike="noStrike">
                        <a:solidFill>
                          <a:srgbClr val="000000"/>
                        </a:solidFill>
                        <a:effectLst/>
                        <a:latin typeface="+mn-lt"/>
                      </a:endParaRPr>
                    </a:p>
                  </a:txBody>
                  <a:tcPr marL="7620" marR="7620" marT="7620" marB="0" anchor="b"/>
                </a:tc>
                <a:extLst>
                  <a:ext uri="{0D108BD9-81ED-4DB2-BD59-A6C34878D82A}">
                    <a16:rowId xmlns:a16="http://schemas.microsoft.com/office/drawing/2014/main" val="1700616574"/>
                  </a:ext>
                </a:extLst>
              </a:tr>
              <a:tr h="370840">
                <a:tc>
                  <a:txBody>
                    <a:bodyPr/>
                    <a:lstStyle/>
                    <a:p>
                      <a:pPr algn="l" fontAlgn="b"/>
                      <a:r>
                        <a:rPr lang="de-DE" sz="1400" b="0" u="none" strike="noStrike">
                          <a:solidFill>
                            <a:schemeClr val="tx1"/>
                          </a:solidFill>
                          <a:effectLst/>
                        </a:rPr>
                        <a:t>  Niedrigwasser</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rgbClr val="000000"/>
                          </a:solidFill>
                          <a:effectLst/>
                        </a:rPr>
                        <a:t>0,18813</a:t>
                      </a:r>
                      <a:endParaRPr lang="de-DE" sz="1400" b="0" i="0" u="none" strike="noStrike">
                        <a:solidFill>
                          <a:srgbClr val="000000"/>
                        </a:solidFill>
                        <a:effectLst/>
                        <a:latin typeface="+mn-lt"/>
                      </a:endParaRPr>
                    </a:p>
                  </a:txBody>
                  <a:tcPr marL="7620" marR="7620" marT="7620" marB="0" anchor="b"/>
                </a:tc>
                <a:extLst>
                  <a:ext uri="{0D108BD9-81ED-4DB2-BD59-A6C34878D82A}">
                    <a16:rowId xmlns:a16="http://schemas.microsoft.com/office/drawing/2014/main" val="3326495839"/>
                  </a:ext>
                </a:extLst>
              </a:tr>
              <a:tr h="370840">
                <a:tc>
                  <a:txBody>
                    <a:bodyPr/>
                    <a:lstStyle/>
                    <a:p>
                      <a:pPr algn="l" fontAlgn="b"/>
                      <a:r>
                        <a:rPr lang="de-DE" sz="1400" b="0" u="none" strike="noStrike">
                          <a:solidFill>
                            <a:schemeClr val="tx1"/>
                          </a:solidFill>
                          <a:effectLst/>
                        </a:rPr>
                        <a:t>  Ferien</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rgbClr val="000000"/>
                          </a:solidFill>
                          <a:effectLst/>
                        </a:rPr>
                        <a:t>0,26284</a:t>
                      </a:r>
                      <a:endParaRPr lang="de-DE" sz="1400" b="0" i="0" u="none" strike="noStrike">
                        <a:solidFill>
                          <a:srgbClr val="000000"/>
                        </a:solidFill>
                        <a:effectLst/>
                        <a:latin typeface="+mn-lt"/>
                      </a:endParaRPr>
                    </a:p>
                  </a:txBody>
                  <a:tcPr marL="7620" marR="7620" marT="7620" marB="0" anchor="b"/>
                </a:tc>
                <a:extLst>
                  <a:ext uri="{0D108BD9-81ED-4DB2-BD59-A6C34878D82A}">
                    <a16:rowId xmlns:a16="http://schemas.microsoft.com/office/drawing/2014/main" val="1401682551"/>
                  </a:ext>
                </a:extLst>
              </a:tr>
              <a:tr h="370840">
                <a:tc>
                  <a:txBody>
                    <a:bodyPr/>
                    <a:lstStyle/>
                    <a:p>
                      <a:pPr algn="l" fontAlgn="b"/>
                      <a:r>
                        <a:rPr lang="de-DE" sz="1400" b="0" u="none" strike="noStrike">
                          <a:solidFill>
                            <a:schemeClr val="tx1"/>
                          </a:solidFill>
                          <a:effectLst/>
                        </a:rPr>
                        <a:t>  Schiffstyp</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chemeClr val="tx1"/>
                          </a:solidFill>
                          <a:effectLst/>
                        </a:rPr>
                        <a:t>0,05593</a:t>
                      </a:r>
                      <a:endParaRPr lang="de-DE" sz="1400" b="0" i="0" u="none" strike="noStrike">
                        <a:solidFill>
                          <a:schemeClr val="tx1"/>
                        </a:solidFill>
                        <a:effectLst/>
                        <a:latin typeface="+mn-lt"/>
                      </a:endParaRPr>
                    </a:p>
                  </a:txBody>
                  <a:tcPr marL="7620" marR="7620" marT="7620" marB="0" anchor="b"/>
                </a:tc>
                <a:extLst>
                  <a:ext uri="{0D108BD9-81ED-4DB2-BD59-A6C34878D82A}">
                    <a16:rowId xmlns:a16="http://schemas.microsoft.com/office/drawing/2014/main" val="3249342629"/>
                  </a:ext>
                </a:extLst>
              </a:tr>
              <a:tr h="370840">
                <a:tc>
                  <a:txBody>
                    <a:bodyPr/>
                    <a:lstStyle/>
                    <a:p>
                      <a:pPr algn="l" fontAlgn="b"/>
                      <a:r>
                        <a:rPr lang="de-DE" sz="1400" b="0" u="none" strike="noStrike">
                          <a:solidFill>
                            <a:schemeClr val="tx1"/>
                          </a:solidFill>
                          <a:effectLst/>
                        </a:rPr>
                        <a:t>  Gefahrgut</a:t>
                      </a:r>
                      <a:endParaRPr lang="de-DE" sz="1400" b="0" i="0" u="none" strike="noStrike">
                        <a:solidFill>
                          <a:schemeClr val="tx1"/>
                        </a:solidFill>
                        <a:effectLst/>
                        <a:latin typeface="+mn-lt"/>
                      </a:endParaRPr>
                    </a:p>
                  </a:txBody>
                  <a:tcPr marL="7620" marR="7620" marT="7620" marB="0" anchor="b"/>
                </a:tc>
                <a:tc>
                  <a:txBody>
                    <a:bodyPr/>
                    <a:lstStyle/>
                    <a:p>
                      <a:pPr algn="r" fontAlgn="b"/>
                      <a:r>
                        <a:rPr lang="de-DE" sz="1400" b="0" u="none" strike="noStrike">
                          <a:solidFill>
                            <a:schemeClr val="tx1"/>
                          </a:solidFill>
                          <a:effectLst/>
                        </a:rPr>
                        <a:t>-0,09057</a:t>
                      </a:r>
                      <a:endParaRPr lang="de-DE" sz="1400" b="0" i="0" u="none" strike="noStrike">
                        <a:solidFill>
                          <a:schemeClr val="tx1"/>
                        </a:solidFill>
                        <a:effectLst/>
                        <a:latin typeface="+mn-lt"/>
                      </a:endParaRPr>
                    </a:p>
                  </a:txBody>
                  <a:tcPr marL="7620" marR="7620" marT="7620" marB="0" anchor="b"/>
                </a:tc>
                <a:extLst>
                  <a:ext uri="{0D108BD9-81ED-4DB2-BD59-A6C34878D82A}">
                    <a16:rowId xmlns:a16="http://schemas.microsoft.com/office/drawing/2014/main" val="3684886141"/>
                  </a:ext>
                </a:extLst>
              </a:tr>
            </a:tbl>
          </a:graphicData>
        </a:graphic>
      </p:graphicFrame>
      <p:sp>
        <p:nvSpPr>
          <p:cNvPr id="20" name="Freihandform 21">
            <a:extLst>
              <a:ext uri="{FF2B5EF4-FFF2-40B4-BE49-F238E27FC236}">
                <a16:creationId xmlns:a16="http://schemas.microsoft.com/office/drawing/2014/main" id="{F2ECF94E-4AAA-447B-A08C-822536F6440C}"/>
              </a:ext>
            </a:extLst>
          </p:cNvPr>
          <p:cNvSpPr/>
          <p:nvPr/>
        </p:nvSpPr>
        <p:spPr>
          <a:xfrm>
            <a:off x="442912" y="1006579"/>
            <a:ext cx="11306636" cy="395288"/>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b="1" i="0" u="none" strike="noStrike" kern="1200" cap="all" spc="0" normalizeH="0" noProof="0">
                <a:ln>
                  <a:noFill/>
                </a:ln>
                <a:solidFill>
                  <a:schemeClr val="bg1"/>
                </a:solidFill>
                <a:effectLst/>
                <a:uLnTx/>
                <a:uFillTx/>
                <a:latin typeface="Helvetica Light"/>
                <a:ea typeface="Arial"/>
                <a:cs typeface="Arial" pitchFamily="34" charset="0"/>
              </a:rPr>
              <a:t>1. Statisches Modell (PORT-TO-PORT ANALYSE)</a:t>
            </a:r>
          </a:p>
        </p:txBody>
      </p:sp>
      <p:graphicFrame>
        <p:nvGraphicFramePr>
          <p:cNvPr id="24" name="Tabelle 24">
            <a:extLst>
              <a:ext uri="{FF2B5EF4-FFF2-40B4-BE49-F238E27FC236}">
                <a16:creationId xmlns:a16="http://schemas.microsoft.com/office/drawing/2014/main" id="{D722BB6D-FEB7-4C58-A0A9-EDA796DB66AE}"/>
              </a:ext>
            </a:extLst>
          </p:cNvPr>
          <p:cNvGraphicFramePr>
            <a:graphicFrameLocks noGrp="1"/>
          </p:cNvGraphicFramePr>
          <p:nvPr/>
        </p:nvGraphicFramePr>
        <p:xfrm>
          <a:off x="995457" y="4352513"/>
          <a:ext cx="4257368" cy="1828800"/>
        </p:xfrm>
        <a:graphic>
          <a:graphicData uri="http://schemas.openxmlformats.org/drawingml/2006/table">
            <a:tbl>
              <a:tblPr firstRow="1" bandRow="1">
                <a:tableStyleId>{69012ECD-51FC-41F1-AA8D-1B2483CD663E}</a:tableStyleId>
              </a:tblPr>
              <a:tblGrid>
                <a:gridCol w="1187304">
                  <a:extLst>
                    <a:ext uri="{9D8B030D-6E8A-4147-A177-3AD203B41FA5}">
                      <a16:colId xmlns:a16="http://schemas.microsoft.com/office/drawing/2014/main" val="2484686346"/>
                    </a:ext>
                  </a:extLst>
                </a:gridCol>
                <a:gridCol w="1484671">
                  <a:extLst>
                    <a:ext uri="{9D8B030D-6E8A-4147-A177-3AD203B41FA5}">
                      <a16:colId xmlns:a16="http://schemas.microsoft.com/office/drawing/2014/main" val="2550818788"/>
                    </a:ext>
                  </a:extLst>
                </a:gridCol>
                <a:gridCol w="1585393">
                  <a:extLst>
                    <a:ext uri="{9D8B030D-6E8A-4147-A177-3AD203B41FA5}">
                      <a16:colId xmlns:a16="http://schemas.microsoft.com/office/drawing/2014/main" val="131013329"/>
                    </a:ext>
                  </a:extLst>
                </a:gridCol>
              </a:tblGrid>
              <a:tr h="344617">
                <a:tc>
                  <a:txBody>
                    <a:bodyPr/>
                    <a:lstStyle/>
                    <a:p>
                      <a:endParaRPr lang="de-DE"/>
                    </a:p>
                  </a:txBody>
                  <a:tcPr/>
                </a:tc>
                <a:tc>
                  <a:txBody>
                    <a:bodyPr/>
                    <a:lstStyle/>
                    <a:p>
                      <a:r>
                        <a:rPr lang="de-DE"/>
                        <a:t>Modell</a:t>
                      </a:r>
                    </a:p>
                  </a:txBody>
                  <a:tcPr/>
                </a:tc>
                <a:tc>
                  <a:txBody>
                    <a:bodyPr/>
                    <a:lstStyle/>
                    <a:p>
                      <a:r>
                        <a:rPr lang="de-DE"/>
                        <a:t>Baseline</a:t>
                      </a:r>
                    </a:p>
                  </a:txBody>
                  <a:tcPr/>
                </a:tc>
                <a:extLst>
                  <a:ext uri="{0D108BD9-81ED-4DB2-BD59-A6C34878D82A}">
                    <a16:rowId xmlns:a16="http://schemas.microsoft.com/office/drawing/2014/main" val="3227473903"/>
                  </a:ext>
                </a:extLst>
              </a:tr>
              <a:tr h="349403">
                <a:tc>
                  <a:txBody>
                    <a:bodyPr/>
                    <a:lstStyle/>
                    <a:p>
                      <a:r>
                        <a:rPr lang="de-DE"/>
                        <a:t>R</a:t>
                      </a:r>
                      <a:r>
                        <a:rPr lang="de-DE" baseline="30000"/>
                        <a:t>2</a:t>
                      </a:r>
                    </a:p>
                  </a:txBody>
                  <a:tcPr/>
                </a:tc>
                <a:tc>
                  <a:txBody>
                    <a:bodyPr/>
                    <a:lstStyle/>
                    <a:p>
                      <a:r>
                        <a:rPr lang="de-DE"/>
                        <a:t>1</a:t>
                      </a:r>
                    </a:p>
                  </a:txBody>
                  <a:tcPr/>
                </a:tc>
                <a:tc>
                  <a:txBody>
                    <a:bodyPr/>
                    <a:lstStyle/>
                    <a:p>
                      <a:r>
                        <a:rPr lang="de-DE"/>
                        <a:t>/</a:t>
                      </a:r>
                    </a:p>
                  </a:txBody>
                  <a:tcPr/>
                </a:tc>
                <a:extLst>
                  <a:ext uri="{0D108BD9-81ED-4DB2-BD59-A6C34878D82A}">
                    <a16:rowId xmlns:a16="http://schemas.microsoft.com/office/drawing/2014/main" val="3661692075"/>
                  </a:ext>
                </a:extLst>
              </a:tr>
              <a:tr h="349403">
                <a:tc>
                  <a:txBody>
                    <a:bodyPr/>
                    <a:lstStyle/>
                    <a:p>
                      <a:r>
                        <a:rPr lang="de-DE"/>
                        <a:t>MAE</a:t>
                      </a:r>
                    </a:p>
                  </a:txBody>
                  <a:tcPr/>
                </a:tc>
                <a:tc>
                  <a:txBody>
                    <a:bodyPr/>
                    <a:lstStyle/>
                    <a:p>
                      <a:r>
                        <a:rPr lang="de-DE"/>
                        <a:t>46827,53</a:t>
                      </a:r>
                    </a:p>
                  </a:txBody>
                  <a:tcPr/>
                </a:tc>
                <a:tc>
                  <a:txBody>
                    <a:bodyPr/>
                    <a:lstStyle/>
                    <a:p>
                      <a:r>
                        <a:rPr lang="de-DE"/>
                        <a:t>48107.51</a:t>
                      </a:r>
                    </a:p>
                  </a:txBody>
                  <a:tcPr/>
                </a:tc>
                <a:extLst>
                  <a:ext uri="{0D108BD9-81ED-4DB2-BD59-A6C34878D82A}">
                    <a16:rowId xmlns:a16="http://schemas.microsoft.com/office/drawing/2014/main" val="2483115332"/>
                  </a:ext>
                </a:extLst>
              </a:tr>
              <a:tr h="349403">
                <a:tc>
                  <a:txBody>
                    <a:bodyPr/>
                    <a:lstStyle/>
                    <a:p>
                      <a:r>
                        <a:rPr lang="de-DE"/>
                        <a:t>MAPE</a:t>
                      </a:r>
                    </a:p>
                  </a:txBody>
                  <a:tcPr/>
                </a:tc>
                <a:tc>
                  <a:txBody>
                    <a:bodyPr/>
                    <a:lstStyle/>
                    <a:p>
                      <a:r>
                        <a:rPr lang="de-DE"/>
                        <a:t>0,000030</a:t>
                      </a:r>
                    </a:p>
                  </a:txBody>
                  <a:tcPr/>
                </a:tc>
                <a:tc>
                  <a:txBody>
                    <a:bodyPr/>
                    <a:lstStyle/>
                    <a:p>
                      <a:r>
                        <a:rPr lang="de-DE"/>
                        <a:t>0,000031</a:t>
                      </a:r>
                    </a:p>
                  </a:txBody>
                  <a:tcPr/>
                </a:tc>
                <a:extLst>
                  <a:ext uri="{0D108BD9-81ED-4DB2-BD59-A6C34878D82A}">
                    <a16:rowId xmlns:a16="http://schemas.microsoft.com/office/drawing/2014/main" val="1879878812"/>
                  </a:ext>
                </a:extLst>
              </a:tr>
              <a:tr h="349403">
                <a:tc>
                  <a:txBody>
                    <a:bodyPr/>
                    <a:lstStyle/>
                    <a:p>
                      <a:r>
                        <a:rPr lang="de-DE" err="1"/>
                        <a:t>pValue</a:t>
                      </a:r>
                      <a:endParaRPr lang="de-DE"/>
                    </a:p>
                  </a:txBody>
                  <a:tcPr/>
                </a:tc>
                <a:tc>
                  <a:txBody>
                    <a:bodyPr/>
                    <a:lstStyle/>
                    <a:p>
                      <a:r>
                        <a:rPr lang="de-DE"/>
                        <a:t>1516,84</a:t>
                      </a:r>
                    </a:p>
                  </a:txBody>
                  <a:tcPr/>
                </a:tc>
                <a:tc>
                  <a:txBody>
                    <a:bodyPr/>
                    <a:lstStyle/>
                    <a:p>
                      <a:r>
                        <a:rPr lang="de-DE"/>
                        <a:t>/</a:t>
                      </a:r>
                    </a:p>
                  </a:txBody>
                  <a:tcPr/>
                </a:tc>
                <a:extLst>
                  <a:ext uri="{0D108BD9-81ED-4DB2-BD59-A6C34878D82A}">
                    <a16:rowId xmlns:a16="http://schemas.microsoft.com/office/drawing/2014/main" val="1487929"/>
                  </a:ext>
                </a:extLst>
              </a:tr>
            </a:tbl>
          </a:graphicData>
        </a:graphic>
      </p:graphicFrame>
      <p:pic>
        <p:nvPicPr>
          <p:cNvPr id="25" name="Grafik 24">
            <a:extLst>
              <a:ext uri="{FF2B5EF4-FFF2-40B4-BE49-F238E27FC236}">
                <a16:creationId xmlns:a16="http://schemas.microsoft.com/office/drawing/2014/main" id="{B405F43F-4301-4A39-B568-90A0983B4C69}"/>
              </a:ext>
            </a:extLst>
          </p:cNvPr>
          <p:cNvPicPr>
            <a:picLocks noChangeAspect="1"/>
          </p:cNvPicPr>
          <p:nvPr/>
        </p:nvPicPr>
        <p:blipFill rotWithShape="1">
          <a:blip r:embed="rId3">
            <a:extLst>
              <a:ext uri="{28A0092B-C50C-407E-A947-70E740481C1C}">
                <a14:useLocalDpi xmlns:a14="http://schemas.microsoft.com/office/drawing/2010/main" val="0"/>
              </a:ext>
            </a:extLst>
          </a:blip>
          <a:srcRect l="10225" t="37857" r="3195" b="40228"/>
          <a:stretch/>
        </p:blipFill>
        <p:spPr>
          <a:xfrm>
            <a:off x="6293051" y="4756655"/>
            <a:ext cx="5192745" cy="801913"/>
          </a:xfrm>
          <a:prstGeom prst="rect">
            <a:avLst/>
          </a:prstGeom>
        </p:spPr>
      </p:pic>
      <p:cxnSp>
        <p:nvCxnSpPr>
          <p:cNvPr id="27" name="Gerade Verbindung mit Pfeil 26">
            <a:extLst>
              <a:ext uri="{FF2B5EF4-FFF2-40B4-BE49-F238E27FC236}">
                <a16:creationId xmlns:a16="http://schemas.microsoft.com/office/drawing/2014/main" id="{6F93B00D-0A74-4972-B630-AEFBD2A40146}"/>
              </a:ext>
            </a:extLst>
          </p:cNvPr>
          <p:cNvCxnSpPr>
            <a:cxnSpLocks/>
          </p:cNvCxnSpPr>
          <p:nvPr/>
        </p:nvCxnSpPr>
        <p:spPr>
          <a:xfrm flipV="1">
            <a:off x="6139334" y="4562833"/>
            <a:ext cx="0" cy="995735"/>
          </a:xfrm>
          <a:prstGeom prst="straightConnector1">
            <a:avLst/>
          </a:prstGeom>
          <a:ln w="15875">
            <a:tailEnd type="triangle"/>
          </a:ln>
          <a:effectLst/>
        </p:spPr>
        <p:style>
          <a:lnRef idx="2">
            <a:schemeClr val="accent1"/>
          </a:lnRef>
          <a:fillRef idx="0">
            <a:schemeClr val="accent1"/>
          </a:fillRef>
          <a:effectRef idx="1">
            <a:schemeClr val="accent1"/>
          </a:effectRef>
          <a:fontRef idx="minor">
            <a:schemeClr val="tx1"/>
          </a:fontRef>
        </p:style>
      </p:cxnSp>
      <p:cxnSp>
        <p:nvCxnSpPr>
          <p:cNvPr id="28" name="Gerade Verbindung mit Pfeil 27">
            <a:extLst>
              <a:ext uri="{FF2B5EF4-FFF2-40B4-BE49-F238E27FC236}">
                <a16:creationId xmlns:a16="http://schemas.microsoft.com/office/drawing/2014/main" id="{81FE9A4E-F3F4-4904-8534-8D4F7E560E08}"/>
              </a:ext>
            </a:extLst>
          </p:cNvPr>
          <p:cNvCxnSpPr>
            <a:cxnSpLocks/>
          </p:cNvCxnSpPr>
          <p:nvPr/>
        </p:nvCxnSpPr>
        <p:spPr>
          <a:xfrm>
            <a:off x="6293051" y="5735202"/>
            <a:ext cx="5346462" cy="0"/>
          </a:xfrm>
          <a:prstGeom prst="straightConnector1">
            <a:avLst/>
          </a:prstGeom>
          <a:ln w="15875">
            <a:tailEnd type="triangle"/>
          </a:ln>
          <a:effectLst/>
        </p:spPr>
        <p:style>
          <a:lnRef idx="2">
            <a:schemeClr val="accent1"/>
          </a:lnRef>
          <a:fillRef idx="0">
            <a:schemeClr val="accent1"/>
          </a:fillRef>
          <a:effectRef idx="1">
            <a:schemeClr val="accent1"/>
          </a:effectRef>
          <a:fontRef idx="minor">
            <a:schemeClr val="tx1"/>
          </a:fontRef>
        </p:style>
      </p:cxnSp>
      <p:sp>
        <p:nvSpPr>
          <p:cNvPr id="33" name="Textfeld 32">
            <a:extLst>
              <a:ext uri="{FF2B5EF4-FFF2-40B4-BE49-F238E27FC236}">
                <a16:creationId xmlns:a16="http://schemas.microsoft.com/office/drawing/2014/main" id="{23894A0D-737A-4B3A-B9E8-1F19AAAED853}"/>
              </a:ext>
            </a:extLst>
          </p:cNvPr>
          <p:cNvSpPr txBox="1"/>
          <p:nvPr/>
        </p:nvSpPr>
        <p:spPr bwMode="auto">
          <a:xfrm>
            <a:off x="7922951" y="5782346"/>
            <a:ext cx="1932943" cy="292731"/>
          </a:xfrm>
          <a:prstGeom prst="rect">
            <a:avLst/>
          </a:prstGeom>
          <a:noFill/>
          <a:ln w="6350">
            <a:noFill/>
            <a:prstDash val="solid"/>
            <a:miter lim="800000"/>
            <a:headEnd/>
            <a:tailEnd/>
          </a:ln>
        </p:spPr>
        <p:txBody>
          <a:bodyPr wrap="square" lIns="72000" rIns="72000" rtlCol="0">
            <a:noAutofit/>
          </a:bodyPr>
          <a:lstStyle/>
          <a:p>
            <a:pPr algn="ctr">
              <a:lnSpc>
                <a:spcPct val="125000"/>
              </a:lnSpc>
              <a:spcAft>
                <a:spcPts val="400"/>
              </a:spcAft>
              <a:buClr>
                <a:schemeClr val="accent1"/>
              </a:buClr>
            </a:pPr>
            <a:r>
              <a:rPr lang="de-DE" sz="1400"/>
              <a:t>Ankunftszeit</a:t>
            </a:r>
          </a:p>
        </p:txBody>
      </p:sp>
      <p:sp>
        <p:nvSpPr>
          <p:cNvPr id="34" name="Textfeld 33">
            <a:extLst>
              <a:ext uri="{FF2B5EF4-FFF2-40B4-BE49-F238E27FC236}">
                <a16:creationId xmlns:a16="http://schemas.microsoft.com/office/drawing/2014/main" id="{9B48D501-40AC-4FF0-B9E3-465F59DAA0EE}"/>
              </a:ext>
            </a:extLst>
          </p:cNvPr>
          <p:cNvSpPr txBox="1"/>
          <p:nvPr/>
        </p:nvSpPr>
        <p:spPr bwMode="auto">
          <a:xfrm rot="16200000">
            <a:off x="4904667" y="5095019"/>
            <a:ext cx="1932943" cy="292731"/>
          </a:xfrm>
          <a:prstGeom prst="rect">
            <a:avLst/>
          </a:prstGeom>
          <a:noFill/>
          <a:ln w="6350">
            <a:noFill/>
            <a:prstDash val="solid"/>
            <a:miter lim="800000"/>
            <a:headEnd/>
            <a:tailEnd/>
          </a:ln>
        </p:spPr>
        <p:txBody>
          <a:bodyPr wrap="square" lIns="72000" rIns="72000" rtlCol="0">
            <a:noAutofit/>
          </a:bodyPr>
          <a:lstStyle/>
          <a:p>
            <a:pPr algn="ctr">
              <a:lnSpc>
                <a:spcPct val="125000"/>
              </a:lnSpc>
              <a:spcAft>
                <a:spcPts val="400"/>
              </a:spcAft>
              <a:buClr>
                <a:schemeClr val="accent1"/>
              </a:buClr>
            </a:pPr>
            <a:r>
              <a:rPr lang="de-DE" sz="1400"/>
              <a:t>Residuen</a:t>
            </a:r>
          </a:p>
        </p:txBody>
      </p:sp>
      <p:cxnSp>
        <p:nvCxnSpPr>
          <p:cNvPr id="39" name="Gerade Verbindung mit Pfeil 38">
            <a:extLst>
              <a:ext uri="{FF2B5EF4-FFF2-40B4-BE49-F238E27FC236}">
                <a16:creationId xmlns:a16="http://schemas.microsoft.com/office/drawing/2014/main" id="{1CAD346F-644A-4C37-9F23-937813162F6A}"/>
              </a:ext>
            </a:extLst>
          </p:cNvPr>
          <p:cNvCxnSpPr/>
          <p:nvPr/>
        </p:nvCxnSpPr>
        <p:spPr>
          <a:xfrm>
            <a:off x="5495867" y="2822222"/>
            <a:ext cx="1286933" cy="0"/>
          </a:xfrm>
          <a:prstGeom prst="straightConnector1">
            <a:avLst/>
          </a:prstGeom>
          <a:ln w="15875">
            <a:tailEnd type="triangle"/>
          </a:ln>
          <a:effectLst/>
        </p:spPr>
        <p:style>
          <a:lnRef idx="2">
            <a:schemeClr val="accent1"/>
          </a:lnRef>
          <a:fillRef idx="0">
            <a:schemeClr val="accent1"/>
          </a:fillRef>
          <a:effectRef idx="1">
            <a:schemeClr val="accent1"/>
          </a:effectRef>
          <a:fontRef idx="minor">
            <a:schemeClr val="tx1"/>
          </a:fontRef>
        </p:style>
      </p:cxnSp>
      <p:sp>
        <p:nvSpPr>
          <p:cNvPr id="40" name="Textfeld 39">
            <a:extLst>
              <a:ext uri="{FF2B5EF4-FFF2-40B4-BE49-F238E27FC236}">
                <a16:creationId xmlns:a16="http://schemas.microsoft.com/office/drawing/2014/main" id="{E4226DC5-8334-4D47-BFF9-2340D6BF5E95}"/>
              </a:ext>
            </a:extLst>
          </p:cNvPr>
          <p:cNvSpPr txBox="1"/>
          <p:nvPr/>
        </p:nvSpPr>
        <p:spPr bwMode="auto">
          <a:xfrm>
            <a:off x="5273805" y="2494636"/>
            <a:ext cx="1932943" cy="292731"/>
          </a:xfrm>
          <a:prstGeom prst="rect">
            <a:avLst/>
          </a:prstGeom>
          <a:noFill/>
          <a:ln w="6350">
            <a:noFill/>
            <a:prstDash val="solid"/>
            <a:miter lim="800000"/>
            <a:headEnd/>
            <a:tailEnd/>
          </a:ln>
        </p:spPr>
        <p:txBody>
          <a:bodyPr wrap="square" lIns="72000" rIns="72000" rtlCol="0">
            <a:noAutofit/>
          </a:bodyPr>
          <a:lstStyle/>
          <a:p>
            <a:pPr algn="ctr">
              <a:lnSpc>
                <a:spcPct val="125000"/>
              </a:lnSpc>
              <a:spcAft>
                <a:spcPts val="400"/>
              </a:spcAft>
              <a:buClr>
                <a:schemeClr val="accent1"/>
              </a:buClr>
            </a:pPr>
            <a:r>
              <a:rPr lang="de-DE" sz="1400"/>
              <a:t>&gt;0.15</a:t>
            </a:r>
          </a:p>
        </p:txBody>
      </p:sp>
    </p:spTree>
    <p:extLst>
      <p:ext uri="{BB962C8B-B14F-4D97-AF65-F5344CB8AC3E}">
        <p14:creationId xmlns:p14="http://schemas.microsoft.com/office/powerpoint/2010/main" val="2395889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3" grpId="0" animBg="1"/>
      <p:bldP spid="3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18AA71-B792-4F88-BE01-AECD6C2FED12}"/>
              </a:ext>
            </a:extLst>
          </p:cNvPr>
          <p:cNvSpPr>
            <a:spLocks noGrp="1"/>
          </p:cNvSpPr>
          <p:nvPr>
            <p:ph type="title"/>
          </p:nvPr>
        </p:nvSpPr>
        <p:spPr/>
        <p:txBody>
          <a:bodyPr/>
          <a:lstStyle/>
          <a:p>
            <a:r>
              <a:rPr lang="de-DE"/>
              <a:t>Team</a:t>
            </a:r>
          </a:p>
        </p:txBody>
      </p:sp>
      <p:sp>
        <p:nvSpPr>
          <p:cNvPr id="4" name="Fußzeilenplatzhalter 3">
            <a:extLst>
              <a:ext uri="{FF2B5EF4-FFF2-40B4-BE49-F238E27FC236}">
                <a16:creationId xmlns:a16="http://schemas.microsoft.com/office/drawing/2014/main" id="{EC0FAAF0-AEF0-4822-B0A0-DE058BE0F501}"/>
              </a:ext>
            </a:extLst>
          </p:cNvPr>
          <p:cNvSpPr>
            <a:spLocks noGrp="1"/>
          </p:cNvSpPr>
          <p:nvPr>
            <p:ph type="ftr" sz="quarter" idx="11"/>
          </p:nvPr>
        </p:nvSpPr>
        <p:spPr/>
        <p:txBody>
          <a:bodyPr/>
          <a:lstStyle/>
          <a:p>
            <a:pPr>
              <a:spcBef>
                <a:spcPct val="20000"/>
              </a:spcBef>
            </a:pPr>
            <a:r>
              <a:rPr lang="de-DE"/>
              <a:t>SCA Case Study – 28.07.2021</a:t>
            </a:r>
          </a:p>
        </p:txBody>
      </p:sp>
      <p:sp>
        <p:nvSpPr>
          <p:cNvPr id="5" name="Rechteck 4">
            <a:extLst>
              <a:ext uri="{FF2B5EF4-FFF2-40B4-BE49-F238E27FC236}">
                <a16:creationId xmlns:a16="http://schemas.microsoft.com/office/drawing/2014/main" id="{EA7DD844-C245-4447-B45F-D302F7973A87}"/>
              </a:ext>
            </a:extLst>
          </p:cNvPr>
          <p:cNvSpPr/>
          <p:nvPr/>
        </p:nvSpPr>
        <p:spPr>
          <a:xfrm>
            <a:off x="0" y="1098199"/>
            <a:ext cx="12192000" cy="4936034"/>
          </a:xfrm>
          <a:prstGeom prst="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8" name="Textfeld 7">
            <a:extLst>
              <a:ext uri="{FF2B5EF4-FFF2-40B4-BE49-F238E27FC236}">
                <a16:creationId xmlns:a16="http://schemas.microsoft.com/office/drawing/2014/main" id="{FC5BAACE-B458-4D8A-A031-034D671FDD59}"/>
              </a:ext>
            </a:extLst>
          </p:cNvPr>
          <p:cNvSpPr txBox="1"/>
          <p:nvPr/>
        </p:nvSpPr>
        <p:spPr>
          <a:xfrm>
            <a:off x="3827959" y="4345274"/>
            <a:ext cx="1980000" cy="398504"/>
          </a:xfrm>
          <a:prstGeom prst="rect">
            <a:avLst/>
          </a:prstGeom>
          <a:noFill/>
        </p:spPr>
        <p:txBody>
          <a:bodyPr wrap="square" rtlCol="0">
            <a:noAutofit/>
          </a:bodyPr>
          <a:lstStyle/>
          <a:p>
            <a:pPr algn="ctr">
              <a:lnSpc>
                <a:spcPct val="125000"/>
              </a:lnSpc>
              <a:spcAft>
                <a:spcPts val="400"/>
              </a:spcAft>
              <a:buClr>
                <a:srgbClr val="002276"/>
              </a:buClr>
              <a:buSzPct val="80000"/>
            </a:pPr>
            <a:r>
              <a:rPr lang="de-DE" sz="1400">
                <a:solidFill>
                  <a:schemeClr val="bg1"/>
                </a:solidFill>
                <a:ea typeface="Arial"/>
                <a:cs typeface="Arial" pitchFamily="34" charset="0"/>
              </a:rPr>
              <a:t>Klara Hinze</a:t>
            </a:r>
          </a:p>
        </p:txBody>
      </p:sp>
      <p:sp>
        <p:nvSpPr>
          <p:cNvPr id="3" name="Ellipse 2">
            <a:extLst>
              <a:ext uri="{FF2B5EF4-FFF2-40B4-BE49-F238E27FC236}">
                <a16:creationId xmlns:a16="http://schemas.microsoft.com/office/drawing/2014/main" id="{9E45FD46-CC86-4C7D-9BAE-4558C0498EE3}"/>
              </a:ext>
            </a:extLst>
          </p:cNvPr>
          <p:cNvSpPr/>
          <p:nvPr/>
        </p:nvSpPr>
        <p:spPr>
          <a:xfrm>
            <a:off x="1152247" y="2120467"/>
            <a:ext cx="2019600" cy="20196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4" name="Ellipse 13">
            <a:extLst>
              <a:ext uri="{FF2B5EF4-FFF2-40B4-BE49-F238E27FC236}">
                <a16:creationId xmlns:a16="http://schemas.microsoft.com/office/drawing/2014/main" id="{D06ACFA1-AB3A-4359-AD5A-9BA3731EC8B5}"/>
              </a:ext>
            </a:extLst>
          </p:cNvPr>
          <p:cNvSpPr/>
          <p:nvPr/>
        </p:nvSpPr>
        <p:spPr>
          <a:xfrm>
            <a:off x="6464071" y="2119423"/>
            <a:ext cx="2019600" cy="20196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5" name="Ellipse 14">
            <a:extLst>
              <a:ext uri="{FF2B5EF4-FFF2-40B4-BE49-F238E27FC236}">
                <a16:creationId xmlns:a16="http://schemas.microsoft.com/office/drawing/2014/main" id="{9A57C4E3-8CFB-48DA-A2E6-09D80597F17C}"/>
              </a:ext>
            </a:extLst>
          </p:cNvPr>
          <p:cNvSpPr/>
          <p:nvPr/>
        </p:nvSpPr>
        <p:spPr>
          <a:xfrm>
            <a:off x="9119983" y="2119423"/>
            <a:ext cx="2019600" cy="20196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6" name="Textfeld 15">
            <a:extLst>
              <a:ext uri="{FF2B5EF4-FFF2-40B4-BE49-F238E27FC236}">
                <a16:creationId xmlns:a16="http://schemas.microsoft.com/office/drawing/2014/main" id="{0ECEC8B8-F994-414B-B914-8D32B826975F}"/>
              </a:ext>
            </a:extLst>
          </p:cNvPr>
          <p:cNvSpPr txBox="1"/>
          <p:nvPr/>
        </p:nvSpPr>
        <p:spPr>
          <a:xfrm>
            <a:off x="1172047" y="4345274"/>
            <a:ext cx="1980000" cy="398504"/>
          </a:xfrm>
          <a:prstGeom prst="rect">
            <a:avLst/>
          </a:prstGeom>
          <a:noFill/>
        </p:spPr>
        <p:txBody>
          <a:bodyPr wrap="square" rtlCol="0">
            <a:noAutofit/>
          </a:bodyPr>
          <a:lstStyle/>
          <a:p>
            <a:pPr algn="ctr">
              <a:lnSpc>
                <a:spcPct val="125000"/>
              </a:lnSpc>
              <a:spcAft>
                <a:spcPts val="400"/>
              </a:spcAft>
              <a:buClr>
                <a:srgbClr val="002276"/>
              </a:buClr>
              <a:buSzPct val="80000"/>
            </a:pPr>
            <a:r>
              <a:rPr lang="de-DE" sz="1400">
                <a:solidFill>
                  <a:schemeClr val="bg1"/>
                </a:solidFill>
                <a:ea typeface="Arial"/>
                <a:cs typeface="Arial" pitchFamily="34" charset="0"/>
              </a:rPr>
              <a:t>Ronny Georgi</a:t>
            </a:r>
          </a:p>
        </p:txBody>
      </p:sp>
      <p:sp>
        <p:nvSpPr>
          <p:cNvPr id="17" name="Textfeld 16">
            <a:extLst>
              <a:ext uri="{FF2B5EF4-FFF2-40B4-BE49-F238E27FC236}">
                <a16:creationId xmlns:a16="http://schemas.microsoft.com/office/drawing/2014/main" id="{E73DA645-5ABE-4474-A18C-B64A82228362}"/>
              </a:ext>
            </a:extLst>
          </p:cNvPr>
          <p:cNvSpPr txBox="1"/>
          <p:nvPr/>
        </p:nvSpPr>
        <p:spPr>
          <a:xfrm>
            <a:off x="6503671" y="4345274"/>
            <a:ext cx="1980000" cy="398504"/>
          </a:xfrm>
          <a:prstGeom prst="rect">
            <a:avLst/>
          </a:prstGeom>
          <a:noFill/>
        </p:spPr>
        <p:txBody>
          <a:bodyPr wrap="square" rtlCol="0">
            <a:noAutofit/>
          </a:bodyPr>
          <a:lstStyle/>
          <a:p>
            <a:pPr algn="ctr">
              <a:lnSpc>
                <a:spcPct val="125000"/>
              </a:lnSpc>
              <a:spcAft>
                <a:spcPts val="400"/>
              </a:spcAft>
              <a:buClr>
                <a:srgbClr val="002276"/>
              </a:buClr>
              <a:buSzPct val="80000"/>
            </a:pPr>
            <a:r>
              <a:rPr lang="de-DE" sz="1400">
                <a:solidFill>
                  <a:schemeClr val="bg1"/>
                </a:solidFill>
                <a:ea typeface="Arial"/>
                <a:cs typeface="Arial" pitchFamily="34" charset="0"/>
              </a:rPr>
              <a:t>Nicola Leschke</a:t>
            </a:r>
          </a:p>
        </p:txBody>
      </p:sp>
      <p:sp>
        <p:nvSpPr>
          <p:cNvPr id="18" name="Textfeld 17">
            <a:extLst>
              <a:ext uri="{FF2B5EF4-FFF2-40B4-BE49-F238E27FC236}">
                <a16:creationId xmlns:a16="http://schemas.microsoft.com/office/drawing/2014/main" id="{CD399C35-1116-4ABD-B7C6-35DE4C610F5A}"/>
              </a:ext>
            </a:extLst>
          </p:cNvPr>
          <p:cNvSpPr txBox="1"/>
          <p:nvPr/>
        </p:nvSpPr>
        <p:spPr>
          <a:xfrm>
            <a:off x="9139783" y="4345274"/>
            <a:ext cx="1980000" cy="398504"/>
          </a:xfrm>
          <a:prstGeom prst="rect">
            <a:avLst/>
          </a:prstGeom>
          <a:noFill/>
        </p:spPr>
        <p:txBody>
          <a:bodyPr wrap="square" rtlCol="0">
            <a:noAutofit/>
          </a:bodyPr>
          <a:lstStyle/>
          <a:p>
            <a:pPr algn="ctr">
              <a:lnSpc>
                <a:spcPct val="125000"/>
              </a:lnSpc>
              <a:spcAft>
                <a:spcPts val="400"/>
              </a:spcAft>
              <a:buClr>
                <a:srgbClr val="002276"/>
              </a:buClr>
              <a:buSzPct val="80000"/>
            </a:pPr>
            <a:r>
              <a:rPr lang="de-DE" sz="1400">
                <a:solidFill>
                  <a:schemeClr val="bg1"/>
                </a:solidFill>
                <a:ea typeface="Arial"/>
                <a:cs typeface="Arial" pitchFamily="34" charset="0"/>
              </a:rPr>
              <a:t>Carlo Schmid</a:t>
            </a:r>
          </a:p>
        </p:txBody>
      </p:sp>
      <p:sp>
        <p:nvSpPr>
          <p:cNvPr id="20" name="Ellipse 13">
            <a:extLst>
              <a:ext uri="{FF2B5EF4-FFF2-40B4-BE49-F238E27FC236}">
                <a16:creationId xmlns:a16="http://schemas.microsoft.com/office/drawing/2014/main" id="{5ABCFB8E-AE66-45CF-B0E9-F76BD6526C86}"/>
              </a:ext>
            </a:extLst>
          </p:cNvPr>
          <p:cNvSpPr/>
          <p:nvPr/>
        </p:nvSpPr>
        <p:spPr>
          <a:xfrm>
            <a:off x="3827959" y="2119423"/>
            <a:ext cx="2019600" cy="20196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Tree>
    <p:extLst>
      <p:ext uri="{BB962C8B-B14F-4D97-AF65-F5344CB8AC3E}">
        <p14:creationId xmlns:p14="http://schemas.microsoft.com/office/powerpoint/2010/main" val="212740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ihandform 27">
            <a:extLst>
              <a:ext uri="{FF2B5EF4-FFF2-40B4-BE49-F238E27FC236}">
                <a16:creationId xmlns:a16="http://schemas.microsoft.com/office/drawing/2014/main" id="{F8B62549-6024-425F-9F1E-0C9F75F32E06}"/>
              </a:ext>
            </a:extLst>
          </p:cNvPr>
          <p:cNvSpPr/>
          <p:nvPr/>
        </p:nvSpPr>
        <p:spPr>
          <a:xfrm>
            <a:off x="442913" y="1401866"/>
            <a:ext cx="11294242" cy="4079391"/>
          </a:xfrm>
          <a:prstGeom prst="rect">
            <a:avLst/>
          </a:prstGeom>
          <a:solidFill>
            <a:srgbClr val="D8D8D8">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Modellierung</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7" name="Ellipse 6">
            <a:extLst>
              <a:ext uri="{FF2B5EF4-FFF2-40B4-BE49-F238E27FC236}">
                <a16:creationId xmlns:a16="http://schemas.microsoft.com/office/drawing/2014/main" id="{C8C89814-C131-4F9C-BACF-ECB0A5D5EF7C}"/>
              </a:ext>
            </a:extLst>
          </p:cNvPr>
          <p:cNvSpPr/>
          <p:nvPr/>
        </p:nvSpPr>
        <p:spPr>
          <a:xfrm>
            <a:off x="9113736" y="2068427"/>
            <a:ext cx="1800000" cy="1800000"/>
          </a:xfrm>
          <a:prstGeom prst="ellipse">
            <a:avLst/>
          </a:prstGeom>
          <a:solidFill>
            <a:srgbClr val="646464"/>
          </a:solidFill>
          <a:ln>
            <a:noFill/>
          </a:ln>
        </p:spPr>
        <p:style>
          <a:lnRef idx="0">
            <a:scrgbClr r="0" g="0" b="0"/>
          </a:lnRef>
          <a:fillRef idx="0">
            <a:scrgbClr r="0" g="0" b="0"/>
          </a:fillRef>
          <a:effectRef idx="0">
            <a:scrgbClr r="0" g="0" b="0"/>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 name="Pfeil: nach rechts 8">
            <a:extLst>
              <a:ext uri="{FF2B5EF4-FFF2-40B4-BE49-F238E27FC236}">
                <a16:creationId xmlns:a16="http://schemas.microsoft.com/office/drawing/2014/main" id="{F4AD0DA5-7402-4B09-92B7-3FDC1905FADD}"/>
              </a:ext>
            </a:extLst>
          </p:cNvPr>
          <p:cNvSpPr/>
          <p:nvPr/>
        </p:nvSpPr>
        <p:spPr>
          <a:xfrm rot="2100000">
            <a:off x="8133662" y="2167927"/>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1" name="Pfeil: nach rechts 10">
            <a:extLst>
              <a:ext uri="{FF2B5EF4-FFF2-40B4-BE49-F238E27FC236}">
                <a16:creationId xmlns:a16="http://schemas.microsoft.com/office/drawing/2014/main" id="{D8959536-B815-4D98-9F5A-A8BFC2F91349}"/>
              </a:ext>
            </a:extLst>
          </p:cNvPr>
          <p:cNvSpPr/>
          <p:nvPr/>
        </p:nvSpPr>
        <p:spPr>
          <a:xfrm rot="19562157">
            <a:off x="8135058" y="3140828"/>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2" name="Pfeil: nach rechts 11">
            <a:extLst>
              <a:ext uri="{FF2B5EF4-FFF2-40B4-BE49-F238E27FC236}">
                <a16:creationId xmlns:a16="http://schemas.microsoft.com/office/drawing/2014/main" id="{D58CD49A-16D0-47BE-8F3B-E966EE27776A}"/>
              </a:ext>
            </a:extLst>
          </p:cNvPr>
          <p:cNvSpPr/>
          <p:nvPr/>
        </p:nvSpPr>
        <p:spPr>
          <a:xfrm rot="17742777">
            <a:off x="9020764" y="4111954"/>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 name="Textfeld 9">
            <a:extLst>
              <a:ext uri="{FF2B5EF4-FFF2-40B4-BE49-F238E27FC236}">
                <a16:creationId xmlns:a16="http://schemas.microsoft.com/office/drawing/2014/main" id="{1F0D0360-A20B-4250-BE1F-6610CF15FCAD}"/>
              </a:ext>
            </a:extLst>
          </p:cNvPr>
          <p:cNvSpPr txBox="1"/>
          <p:nvPr/>
        </p:nvSpPr>
        <p:spPr bwMode="auto">
          <a:xfrm>
            <a:off x="5769584" y="1696443"/>
            <a:ext cx="2919577"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vorhergesagte Stoppzeit</a:t>
            </a:r>
            <a:endParaRPr lang="de-DE" sz="1400" b="1">
              <a:solidFill>
                <a:schemeClr val="bg1"/>
              </a:solidFill>
            </a:endParaRPr>
          </a:p>
        </p:txBody>
      </p:sp>
      <p:sp>
        <p:nvSpPr>
          <p:cNvPr id="14" name="Textfeld 13">
            <a:extLst>
              <a:ext uri="{FF2B5EF4-FFF2-40B4-BE49-F238E27FC236}">
                <a16:creationId xmlns:a16="http://schemas.microsoft.com/office/drawing/2014/main" id="{F900A7B7-3BE8-45A0-89C4-1AD3E530669B}"/>
              </a:ext>
            </a:extLst>
          </p:cNvPr>
          <p:cNvSpPr txBox="1"/>
          <p:nvPr/>
        </p:nvSpPr>
        <p:spPr bwMode="auto">
          <a:xfrm>
            <a:off x="8133766" y="4359644"/>
            <a:ext cx="1436866"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Tiefgang</a:t>
            </a:r>
            <a:endParaRPr lang="de-DE" sz="1400" b="1">
              <a:solidFill>
                <a:schemeClr val="bg1"/>
              </a:solidFill>
            </a:endParaRPr>
          </a:p>
        </p:txBody>
      </p:sp>
      <p:sp>
        <p:nvSpPr>
          <p:cNvPr id="15" name="Textfeld 14">
            <a:extLst>
              <a:ext uri="{FF2B5EF4-FFF2-40B4-BE49-F238E27FC236}">
                <a16:creationId xmlns:a16="http://schemas.microsoft.com/office/drawing/2014/main" id="{EDC3EF8A-92FF-4EF9-8B96-E85482D0B911}"/>
              </a:ext>
            </a:extLst>
          </p:cNvPr>
          <p:cNvSpPr txBox="1"/>
          <p:nvPr/>
        </p:nvSpPr>
        <p:spPr bwMode="auto">
          <a:xfrm>
            <a:off x="6565636" y="3252019"/>
            <a:ext cx="2159081"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Geschwindigkeit</a:t>
            </a:r>
            <a:endParaRPr lang="de-DE" sz="1100" b="1">
              <a:solidFill>
                <a:schemeClr val="bg1"/>
              </a:solidFill>
            </a:endParaRPr>
          </a:p>
        </p:txBody>
      </p:sp>
      <p:sp>
        <p:nvSpPr>
          <p:cNvPr id="16" name="Rechteck: abgerundete Ecken 15">
            <a:extLst>
              <a:ext uri="{FF2B5EF4-FFF2-40B4-BE49-F238E27FC236}">
                <a16:creationId xmlns:a16="http://schemas.microsoft.com/office/drawing/2014/main" id="{F34B617A-4275-4F6A-ACB7-8DC5DFE1E298}"/>
              </a:ext>
            </a:extLst>
          </p:cNvPr>
          <p:cNvSpPr/>
          <p:nvPr/>
        </p:nvSpPr>
        <p:spPr>
          <a:xfrm>
            <a:off x="5667386" y="-450198"/>
            <a:ext cx="1293853" cy="37357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3" name="Textfeld 12">
            <a:extLst>
              <a:ext uri="{FF2B5EF4-FFF2-40B4-BE49-F238E27FC236}">
                <a16:creationId xmlns:a16="http://schemas.microsoft.com/office/drawing/2014/main" id="{8E6C40B4-8603-4BEC-9A23-62D322CBC8E4}"/>
              </a:ext>
            </a:extLst>
          </p:cNvPr>
          <p:cNvSpPr txBox="1"/>
          <p:nvPr/>
        </p:nvSpPr>
        <p:spPr bwMode="auto">
          <a:xfrm>
            <a:off x="9152707" y="2578417"/>
            <a:ext cx="1761029" cy="78002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Verbleibende </a:t>
            </a:r>
          </a:p>
          <a:p>
            <a:pPr algn="ctr">
              <a:lnSpc>
                <a:spcPct val="125000"/>
              </a:lnSpc>
              <a:spcAft>
                <a:spcPts val="400"/>
              </a:spcAft>
              <a:buClr>
                <a:schemeClr val="accent1"/>
              </a:buClr>
            </a:pPr>
            <a:r>
              <a:rPr lang="de-DE" sz="2000" b="1">
                <a:solidFill>
                  <a:schemeClr val="bg1"/>
                </a:solidFill>
              </a:rPr>
              <a:t>Tripdauer</a:t>
            </a:r>
          </a:p>
        </p:txBody>
      </p:sp>
      <p:graphicFrame>
        <p:nvGraphicFramePr>
          <p:cNvPr id="18" name="Tabelle 18">
            <a:extLst>
              <a:ext uri="{FF2B5EF4-FFF2-40B4-BE49-F238E27FC236}">
                <a16:creationId xmlns:a16="http://schemas.microsoft.com/office/drawing/2014/main" id="{2E6A8E97-5300-4225-8C8E-4BA79E4A163A}"/>
              </a:ext>
            </a:extLst>
          </p:cNvPr>
          <p:cNvGraphicFramePr>
            <a:graphicFrameLocks noGrp="1"/>
          </p:cNvGraphicFramePr>
          <p:nvPr/>
        </p:nvGraphicFramePr>
        <p:xfrm>
          <a:off x="995457" y="1532839"/>
          <a:ext cx="3864772" cy="3708400"/>
        </p:xfrm>
        <a:graphic>
          <a:graphicData uri="http://schemas.openxmlformats.org/drawingml/2006/table">
            <a:tbl>
              <a:tblPr firstRow="1" firstCol="1" bandRow="1">
                <a:tableStyleId>{5A111915-BE36-4E01-A7E5-04B1672EAD32}</a:tableStyleId>
              </a:tblPr>
              <a:tblGrid>
                <a:gridCol w="2477538">
                  <a:extLst>
                    <a:ext uri="{9D8B030D-6E8A-4147-A177-3AD203B41FA5}">
                      <a16:colId xmlns:a16="http://schemas.microsoft.com/office/drawing/2014/main" val="2428429847"/>
                    </a:ext>
                  </a:extLst>
                </a:gridCol>
                <a:gridCol w="1387234">
                  <a:extLst>
                    <a:ext uri="{9D8B030D-6E8A-4147-A177-3AD203B41FA5}">
                      <a16:colId xmlns:a16="http://schemas.microsoft.com/office/drawing/2014/main" val="636138381"/>
                    </a:ext>
                  </a:extLst>
                </a:gridCol>
              </a:tblGrid>
              <a:tr h="370840">
                <a:tc gridSpan="2">
                  <a:txBody>
                    <a:bodyPr/>
                    <a:lstStyle/>
                    <a:p>
                      <a:r>
                        <a:rPr lang="de-DE"/>
                        <a:t>Korrelation zur verbleibenden Dauer</a:t>
                      </a:r>
                    </a:p>
                  </a:txBody>
                  <a:tcPr/>
                </a:tc>
                <a:tc hMerge="1">
                  <a:txBody>
                    <a:bodyPr/>
                    <a:lstStyle/>
                    <a:p>
                      <a:r>
                        <a:rPr lang="de-DE" err="1"/>
                        <a:t>Korrela</a:t>
                      </a:r>
                      <a:endParaRPr lang="de-DE"/>
                    </a:p>
                  </a:txBody>
                  <a:tcPr/>
                </a:tc>
                <a:extLst>
                  <a:ext uri="{0D108BD9-81ED-4DB2-BD59-A6C34878D82A}">
                    <a16:rowId xmlns:a16="http://schemas.microsoft.com/office/drawing/2014/main" val="2614997638"/>
                  </a:ext>
                </a:extLst>
              </a:tr>
              <a:tr h="370840">
                <a:tc>
                  <a:txBody>
                    <a:bodyPr/>
                    <a:lstStyle/>
                    <a:p>
                      <a:pPr algn="l" fontAlgn="b"/>
                      <a:r>
                        <a:rPr lang="de-DE" sz="1400" b="0" u="none" strike="noStrike">
                          <a:solidFill>
                            <a:srgbClr val="000000"/>
                          </a:solidFill>
                          <a:effectLst/>
                        </a:rPr>
                        <a:t>ausstehende Entfernung</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5685</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2184956088"/>
                  </a:ext>
                </a:extLst>
              </a:tr>
              <a:tr h="370840">
                <a:tc>
                  <a:txBody>
                    <a:bodyPr/>
                    <a:lstStyle/>
                    <a:p>
                      <a:pPr algn="l" fontAlgn="b"/>
                      <a:r>
                        <a:rPr lang="de-DE" sz="1400" b="0" u="none" strike="noStrike">
                          <a:solidFill>
                            <a:srgbClr val="000000"/>
                          </a:solidFill>
                          <a:effectLst/>
                        </a:rPr>
                        <a:t>Anzahl passierter Schleusen</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2986</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1700616574"/>
                  </a:ext>
                </a:extLst>
              </a:tr>
              <a:tr h="370840">
                <a:tc>
                  <a:txBody>
                    <a:bodyPr/>
                    <a:lstStyle/>
                    <a:p>
                      <a:pPr algn="l" fontAlgn="b"/>
                      <a:r>
                        <a:rPr lang="de-DE" sz="1400" b="0" u="none" strike="noStrike">
                          <a:solidFill>
                            <a:srgbClr val="000000"/>
                          </a:solidFill>
                          <a:effectLst/>
                        </a:rPr>
                        <a:t>Tiefgang</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2058</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3326495839"/>
                  </a:ext>
                </a:extLst>
              </a:tr>
              <a:tr h="370840">
                <a:tc>
                  <a:txBody>
                    <a:bodyPr/>
                    <a:lstStyle/>
                    <a:p>
                      <a:pPr algn="l" fontAlgn="b"/>
                      <a:r>
                        <a:rPr lang="de-DE" sz="1400" b="0" u="none" strike="noStrike">
                          <a:solidFill>
                            <a:srgbClr val="000000"/>
                          </a:solidFill>
                          <a:effectLst/>
                        </a:rPr>
                        <a:t>Wasserstand</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2788</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1401682551"/>
                  </a:ext>
                </a:extLst>
              </a:tr>
              <a:tr h="370840">
                <a:tc>
                  <a:txBody>
                    <a:bodyPr/>
                    <a:lstStyle/>
                    <a:p>
                      <a:pPr algn="l" fontAlgn="b"/>
                      <a:r>
                        <a:rPr lang="de-DE" sz="1400" b="0" u="none" strike="noStrike" err="1">
                          <a:solidFill>
                            <a:srgbClr val="000000"/>
                          </a:solidFill>
                          <a:effectLst/>
                        </a:rPr>
                        <a:t>Schifftstyp</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2453</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1075146353"/>
                  </a:ext>
                </a:extLst>
              </a:tr>
              <a:tr h="370840">
                <a:tc>
                  <a:txBody>
                    <a:bodyPr/>
                    <a:lstStyle/>
                    <a:p>
                      <a:pPr algn="l" fontAlgn="b"/>
                      <a:r>
                        <a:rPr lang="de-DE" sz="1400" b="0" u="none" strike="noStrike">
                          <a:solidFill>
                            <a:srgbClr val="000000"/>
                          </a:solidFill>
                          <a:effectLst/>
                        </a:rPr>
                        <a:t>aktuelle Geschwindigkeit</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3678</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4244457405"/>
                  </a:ext>
                </a:extLst>
              </a:tr>
              <a:tr h="370840">
                <a:tc>
                  <a:txBody>
                    <a:bodyPr/>
                    <a:lstStyle/>
                    <a:p>
                      <a:pPr algn="l" fontAlgn="b"/>
                      <a:r>
                        <a:rPr lang="de-DE" sz="1400" b="0" u="none" strike="noStrike">
                          <a:solidFill>
                            <a:srgbClr val="000000"/>
                          </a:solidFill>
                          <a:effectLst/>
                        </a:rPr>
                        <a:t>Ferien</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1440</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2941504600"/>
                  </a:ext>
                </a:extLst>
              </a:tr>
              <a:tr h="370840">
                <a:tc>
                  <a:txBody>
                    <a:bodyPr/>
                    <a:lstStyle/>
                    <a:p>
                      <a:pPr algn="l" fontAlgn="b"/>
                      <a:r>
                        <a:rPr lang="de-DE" sz="1400" b="0" u="none" strike="noStrike">
                          <a:solidFill>
                            <a:srgbClr val="000000"/>
                          </a:solidFill>
                          <a:effectLst/>
                        </a:rPr>
                        <a:t>vorhergesagte Stoppzeit</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5967</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4142045027"/>
                  </a:ext>
                </a:extLst>
              </a:tr>
              <a:tr h="370840">
                <a:tc>
                  <a:txBody>
                    <a:bodyPr/>
                    <a:lstStyle/>
                    <a:p>
                      <a:pPr algn="l" fontAlgn="b"/>
                      <a:r>
                        <a:rPr lang="de-DE" sz="1400" b="0" u="none" strike="noStrike">
                          <a:solidFill>
                            <a:srgbClr val="000000"/>
                          </a:solidFill>
                          <a:effectLst/>
                        </a:rPr>
                        <a:t>aktuelle Zeit</a:t>
                      </a:r>
                      <a:endParaRPr lang="de-DE" sz="1400" b="0" i="0" u="none" strike="noStrike">
                        <a:solidFill>
                          <a:srgbClr val="000000"/>
                        </a:solidFill>
                        <a:effectLst/>
                        <a:latin typeface="Liberation Sans"/>
                      </a:endParaRPr>
                    </a:p>
                  </a:txBody>
                  <a:tcPr marL="7620" marR="7620" marT="7620" marB="0" anchor="b"/>
                </a:tc>
                <a:tc>
                  <a:txBody>
                    <a:bodyPr/>
                    <a:lstStyle/>
                    <a:p>
                      <a:pPr algn="r" fontAlgn="b"/>
                      <a:r>
                        <a:rPr lang="de-DE" sz="1400" b="0" u="none" strike="noStrike">
                          <a:solidFill>
                            <a:srgbClr val="000000"/>
                          </a:solidFill>
                          <a:effectLst/>
                        </a:rPr>
                        <a:t>0.0587</a:t>
                      </a:r>
                      <a:endParaRPr lang="de-DE" sz="1400" b="0" i="0" u="none" strike="noStrike">
                        <a:solidFill>
                          <a:srgbClr val="000000"/>
                        </a:solidFill>
                        <a:effectLst/>
                        <a:latin typeface="Liberation Sans"/>
                      </a:endParaRPr>
                    </a:p>
                  </a:txBody>
                  <a:tcPr marL="7620" marR="7620" marT="7620" marB="0" anchor="b"/>
                </a:tc>
                <a:extLst>
                  <a:ext uri="{0D108BD9-81ED-4DB2-BD59-A6C34878D82A}">
                    <a16:rowId xmlns:a16="http://schemas.microsoft.com/office/drawing/2014/main" val="3119280543"/>
                  </a:ext>
                </a:extLst>
              </a:tr>
            </a:tbl>
          </a:graphicData>
        </a:graphic>
      </p:graphicFrame>
      <p:sp>
        <p:nvSpPr>
          <p:cNvPr id="20" name="Freihandform 21">
            <a:extLst>
              <a:ext uri="{FF2B5EF4-FFF2-40B4-BE49-F238E27FC236}">
                <a16:creationId xmlns:a16="http://schemas.microsoft.com/office/drawing/2014/main" id="{F2ECF94E-4AAA-447B-A08C-822536F6440C}"/>
              </a:ext>
            </a:extLst>
          </p:cNvPr>
          <p:cNvSpPr/>
          <p:nvPr/>
        </p:nvSpPr>
        <p:spPr>
          <a:xfrm>
            <a:off x="442912" y="1006579"/>
            <a:ext cx="11306636" cy="395288"/>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b="1" cap="all">
                <a:solidFill>
                  <a:schemeClr val="bg1"/>
                </a:solidFill>
                <a:latin typeface="Helvetica Light"/>
                <a:ea typeface="Arial"/>
                <a:cs typeface="Arial" pitchFamily="34" charset="0"/>
              </a:rPr>
              <a:t>2</a:t>
            </a:r>
            <a:r>
              <a:rPr kumimoji="0" lang="de-DE" b="1" i="0" u="none" strike="noStrike" kern="1200" cap="all" spc="0" normalizeH="0" noProof="0">
                <a:ln>
                  <a:noFill/>
                </a:ln>
                <a:solidFill>
                  <a:schemeClr val="bg1"/>
                </a:solidFill>
                <a:effectLst/>
                <a:uLnTx/>
                <a:uFillTx/>
                <a:latin typeface="Helvetica Light"/>
                <a:ea typeface="Arial"/>
                <a:cs typeface="Arial" pitchFamily="34" charset="0"/>
              </a:rPr>
              <a:t>. </a:t>
            </a:r>
            <a:r>
              <a:rPr kumimoji="0" lang="de-DE" b="1" i="0" u="none" strike="noStrike" kern="1200" cap="all" spc="0" normalizeH="0" noProof="0" err="1">
                <a:ln>
                  <a:noFill/>
                </a:ln>
                <a:solidFill>
                  <a:schemeClr val="bg1"/>
                </a:solidFill>
                <a:effectLst/>
                <a:uLnTx/>
                <a:uFillTx/>
                <a:latin typeface="Helvetica Light"/>
                <a:ea typeface="Arial"/>
                <a:cs typeface="Arial" pitchFamily="34" charset="0"/>
              </a:rPr>
              <a:t>DyNamisches</a:t>
            </a:r>
            <a:r>
              <a:rPr kumimoji="0" lang="de-DE" b="1" i="0" u="none" strike="noStrike" kern="1200" cap="all" spc="0" normalizeH="0" noProof="0">
                <a:ln>
                  <a:noFill/>
                </a:ln>
                <a:solidFill>
                  <a:schemeClr val="bg1"/>
                </a:solidFill>
                <a:effectLst/>
                <a:uLnTx/>
                <a:uFillTx/>
                <a:latin typeface="Helvetica Light"/>
                <a:ea typeface="Arial"/>
                <a:cs typeface="Arial" pitchFamily="34" charset="0"/>
              </a:rPr>
              <a:t> Modell ( *-</a:t>
            </a:r>
            <a:r>
              <a:rPr kumimoji="0" lang="de-DE" b="1" i="0" u="none" strike="noStrike" kern="1200" cap="all" spc="0" normalizeH="0" noProof="0" err="1">
                <a:ln>
                  <a:noFill/>
                </a:ln>
                <a:solidFill>
                  <a:schemeClr val="bg1"/>
                </a:solidFill>
                <a:effectLst/>
                <a:uLnTx/>
                <a:uFillTx/>
                <a:latin typeface="Helvetica Light"/>
                <a:ea typeface="Arial"/>
                <a:cs typeface="Arial" pitchFamily="34" charset="0"/>
              </a:rPr>
              <a:t>to-Rotterdamm</a:t>
            </a:r>
            <a:r>
              <a:rPr kumimoji="0" lang="de-DE" b="1" i="0" u="none" strike="noStrike" kern="1200" cap="all" spc="0" normalizeH="0" noProof="0">
                <a:ln>
                  <a:noFill/>
                </a:ln>
                <a:solidFill>
                  <a:schemeClr val="bg1"/>
                </a:solidFill>
                <a:effectLst/>
                <a:uLnTx/>
                <a:uFillTx/>
                <a:latin typeface="Helvetica Light"/>
                <a:ea typeface="Arial"/>
                <a:cs typeface="Arial" pitchFamily="34" charset="0"/>
              </a:rPr>
              <a:t> )</a:t>
            </a:r>
          </a:p>
        </p:txBody>
      </p:sp>
      <p:sp>
        <p:nvSpPr>
          <p:cNvPr id="23" name="Pfeil: nach rechts 22">
            <a:extLst>
              <a:ext uri="{FF2B5EF4-FFF2-40B4-BE49-F238E27FC236}">
                <a16:creationId xmlns:a16="http://schemas.microsoft.com/office/drawing/2014/main" id="{19881179-6DE7-4ED9-A24C-85D9359C5A03}"/>
              </a:ext>
            </a:extLst>
          </p:cNvPr>
          <p:cNvSpPr/>
          <p:nvPr/>
        </p:nvSpPr>
        <p:spPr>
          <a:xfrm rot="14792762">
            <a:off x="9862233" y="4117328"/>
            <a:ext cx="978408" cy="484632"/>
          </a:xfrm>
          <a:prstGeom prst="rightArrow">
            <a:avLst/>
          </a:pr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6" name="Textfeld 25">
            <a:extLst>
              <a:ext uri="{FF2B5EF4-FFF2-40B4-BE49-F238E27FC236}">
                <a16:creationId xmlns:a16="http://schemas.microsoft.com/office/drawing/2014/main" id="{D40246D1-EB38-433E-B833-90CE6AD02587}"/>
              </a:ext>
            </a:extLst>
          </p:cNvPr>
          <p:cNvSpPr txBox="1"/>
          <p:nvPr/>
        </p:nvSpPr>
        <p:spPr bwMode="auto">
          <a:xfrm>
            <a:off x="10293915" y="4367739"/>
            <a:ext cx="1079441" cy="801913"/>
          </a:xfrm>
          <a:prstGeom prst="roundRect">
            <a:avLst/>
          </a:prstGeom>
          <a:solidFill>
            <a:schemeClr val="accent4"/>
          </a:solidFill>
          <a:ln w="6350">
            <a:solidFill>
              <a:schemeClr val="accent4"/>
            </a:solid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2000" b="1">
                <a:solidFill>
                  <a:schemeClr val="bg1"/>
                </a:solidFill>
              </a:rPr>
              <a:t>Ferien</a:t>
            </a:r>
          </a:p>
        </p:txBody>
      </p:sp>
      <p:sp>
        <p:nvSpPr>
          <p:cNvPr id="29" name="Freihandform 27">
            <a:extLst>
              <a:ext uri="{FF2B5EF4-FFF2-40B4-BE49-F238E27FC236}">
                <a16:creationId xmlns:a16="http://schemas.microsoft.com/office/drawing/2014/main" id="{2349E764-5951-4B97-BDFD-AD6AFE0AD512}"/>
              </a:ext>
            </a:extLst>
          </p:cNvPr>
          <p:cNvSpPr/>
          <p:nvPr/>
        </p:nvSpPr>
        <p:spPr>
          <a:xfrm>
            <a:off x="442912" y="5481257"/>
            <a:ext cx="11294242" cy="791206"/>
          </a:xfrm>
          <a:prstGeom prst="rect">
            <a:avLst/>
          </a:prstGeom>
          <a:solidFill>
            <a:srgbClr val="3E8A83">
              <a:alpha val="50196"/>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lang="de-DE" sz="1400">
              <a:solidFill>
                <a:prstClr val="black"/>
              </a:solidFill>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Helvetica Light"/>
              <a:ea typeface="Arial"/>
              <a:cs typeface="Arial" pitchFamily="34" charset="0"/>
            </a:endParaRPr>
          </a:p>
        </p:txBody>
      </p:sp>
      <p:sp>
        <p:nvSpPr>
          <p:cNvPr id="30" name="Textfeld 29">
            <a:extLst>
              <a:ext uri="{FF2B5EF4-FFF2-40B4-BE49-F238E27FC236}">
                <a16:creationId xmlns:a16="http://schemas.microsoft.com/office/drawing/2014/main" id="{6773428C-2E04-4B7E-929D-0F7AB4DD4689}"/>
              </a:ext>
            </a:extLst>
          </p:cNvPr>
          <p:cNvSpPr txBox="1"/>
          <p:nvPr/>
        </p:nvSpPr>
        <p:spPr bwMode="auto">
          <a:xfrm>
            <a:off x="2074900" y="5664518"/>
            <a:ext cx="1573100" cy="43559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a:t>0.5411</a:t>
            </a:r>
          </a:p>
        </p:txBody>
      </p:sp>
      <p:sp>
        <p:nvSpPr>
          <p:cNvPr id="31" name="Textfeld 30">
            <a:extLst>
              <a:ext uri="{FF2B5EF4-FFF2-40B4-BE49-F238E27FC236}">
                <a16:creationId xmlns:a16="http://schemas.microsoft.com/office/drawing/2014/main" id="{7C8EDF53-514F-491D-BFC2-53D8B04FA5CA}"/>
              </a:ext>
            </a:extLst>
          </p:cNvPr>
          <p:cNvSpPr txBox="1"/>
          <p:nvPr/>
        </p:nvSpPr>
        <p:spPr bwMode="auto">
          <a:xfrm>
            <a:off x="994900" y="5664518"/>
            <a:ext cx="1080000" cy="435590"/>
          </a:xfrm>
          <a:prstGeom prst="rect">
            <a:avLst/>
          </a:prstGeom>
          <a:solidFill>
            <a:srgbClr val="646464"/>
          </a:solid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b="1">
                <a:solidFill>
                  <a:schemeClr val="bg1"/>
                </a:solidFill>
              </a:rPr>
              <a:t>R</a:t>
            </a:r>
            <a:r>
              <a:rPr lang="de-DE" sz="1400" b="1" baseline="30000">
                <a:solidFill>
                  <a:schemeClr val="bg1"/>
                </a:solidFill>
              </a:rPr>
              <a:t>2</a:t>
            </a:r>
          </a:p>
        </p:txBody>
      </p:sp>
      <p:sp>
        <p:nvSpPr>
          <p:cNvPr id="32" name="Textfeld 31">
            <a:extLst>
              <a:ext uri="{FF2B5EF4-FFF2-40B4-BE49-F238E27FC236}">
                <a16:creationId xmlns:a16="http://schemas.microsoft.com/office/drawing/2014/main" id="{66EE648D-1937-414E-BD84-D84DB0CFA688}"/>
              </a:ext>
            </a:extLst>
          </p:cNvPr>
          <p:cNvSpPr txBox="1"/>
          <p:nvPr/>
        </p:nvSpPr>
        <p:spPr bwMode="auto">
          <a:xfrm>
            <a:off x="4728820" y="5659065"/>
            <a:ext cx="1585492" cy="43559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a:t>29017.4022</a:t>
            </a:r>
          </a:p>
        </p:txBody>
      </p:sp>
      <p:sp>
        <p:nvSpPr>
          <p:cNvPr id="35" name="Textfeld 34">
            <a:extLst>
              <a:ext uri="{FF2B5EF4-FFF2-40B4-BE49-F238E27FC236}">
                <a16:creationId xmlns:a16="http://schemas.microsoft.com/office/drawing/2014/main" id="{03138F81-924D-4195-A74F-7C5C3DAB6A54}"/>
              </a:ext>
            </a:extLst>
          </p:cNvPr>
          <p:cNvSpPr txBox="1"/>
          <p:nvPr/>
        </p:nvSpPr>
        <p:spPr bwMode="auto">
          <a:xfrm>
            <a:off x="3648000" y="5659065"/>
            <a:ext cx="1080000" cy="435590"/>
          </a:xfrm>
          <a:prstGeom prst="rect">
            <a:avLst/>
          </a:prstGeom>
          <a:solidFill>
            <a:srgbClr val="646464"/>
          </a:solid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b="1">
                <a:solidFill>
                  <a:schemeClr val="bg1"/>
                </a:solidFill>
              </a:rPr>
              <a:t>MAE</a:t>
            </a:r>
            <a:endParaRPr lang="de-DE" sz="1400" b="1" baseline="30000">
              <a:solidFill>
                <a:schemeClr val="bg1"/>
              </a:solidFill>
            </a:endParaRPr>
          </a:p>
        </p:txBody>
      </p:sp>
      <p:sp>
        <p:nvSpPr>
          <p:cNvPr id="42" name="Textfeld 41">
            <a:extLst>
              <a:ext uri="{FF2B5EF4-FFF2-40B4-BE49-F238E27FC236}">
                <a16:creationId xmlns:a16="http://schemas.microsoft.com/office/drawing/2014/main" id="{572D10F5-6730-4090-87C7-D0B3AC5B29B4}"/>
              </a:ext>
            </a:extLst>
          </p:cNvPr>
          <p:cNvSpPr txBox="1"/>
          <p:nvPr/>
        </p:nvSpPr>
        <p:spPr bwMode="auto">
          <a:xfrm>
            <a:off x="7381100" y="5659789"/>
            <a:ext cx="1573100" cy="43559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a:t>0.8069</a:t>
            </a:r>
          </a:p>
        </p:txBody>
      </p:sp>
      <p:sp>
        <p:nvSpPr>
          <p:cNvPr id="43" name="Textfeld 42">
            <a:extLst>
              <a:ext uri="{FF2B5EF4-FFF2-40B4-BE49-F238E27FC236}">
                <a16:creationId xmlns:a16="http://schemas.microsoft.com/office/drawing/2014/main" id="{00139C5B-DA21-4C28-AAD9-4839301E8229}"/>
              </a:ext>
            </a:extLst>
          </p:cNvPr>
          <p:cNvSpPr txBox="1"/>
          <p:nvPr/>
        </p:nvSpPr>
        <p:spPr bwMode="auto">
          <a:xfrm>
            <a:off x="6301100" y="5659789"/>
            <a:ext cx="1080000" cy="435590"/>
          </a:xfrm>
          <a:prstGeom prst="rect">
            <a:avLst/>
          </a:prstGeom>
          <a:solidFill>
            <a:srgbClr val="646464"/>
          </a:solid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b="1">
                <a:solidFill>
                  <a:schemeClr val="bg1"/>
                </a:solidFill>
              </a:rPr>
              <a:t>MAPE</a:t>
            </a:r>
            <a:endParaRPr lang="de-DE" sz="1400" b="1" baseline="30000">
              <a:solidFill>
                <a:schemeClr val="bg1"/>
              </a:solidFill>
            </a:endParaRPr>
          </a:p>
        </p:txBody>
      </p:sp>
      <p:sp>
        <p:nvSpPr>
          <p:cNvPr id="44" name="Textfeld 43">
            <a:extLst>
              <a:ext uri="{FF2B5EF4-FFF2-40B4-BE49-F238E27FC236}">
                <a16:creationId xmlns:a16="http://schemas.microsoft.com/office/drawing/2014/main" id="{C8B3C514-8714-4C4E-9956-1581B5B9A3E9}"/>
              </a:ext>
            </a:extLst>
          </p:cNvPr>
          <p:cNvSpPr txBox="1"/>
          <p:nvPr/>
        </p:nvSpPr>
        <p:spPr bwMode="auto">
          <a:xfrm>
            <a:off x="10047412" y="5668964"/>
            <a:ext cx="1573100" cy="43559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a:t>118.8774</a:t>
            </a:r>
          </a:p>
        </p:txBody>
      </p:sp>
      <p:sp>
        <p:nvSpPr>
          <p:cNvPr id="45" name="Textfeld 44">
            <a:extLst>
              <a:ext uri="{FF2B5EF4-FFF2-40B4-BE49-F238E27FC236}">
                <a16:creationId xmlns:a16="http://schemas.microsoft.com/office/drawing/2014/main" id="{9DA12234-E7DE-4A9A-B826-2238F41A59C8}"/>
              </a:ext>
            </a:extLst>
          </p:cNvPr>
          <p:cNvSpPr txBox="1"/>
          <p:nvPr/>
        </p:nvSpPr>
        <p:spPr bwMode="auto">
          <a:xfrm>
            <a:off x="8967412" y="5668964"/>
            <a:ext cx="1080000" cy="435590"/>
          </a:xfrm>
          <a:prstGeom prst="rect">
            <a:avLst/>
          </a:prstGeom>
          <a:solidFill>
            <a:srgbClr val="646464"/>
          </a:solid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1400" b="1" err="1">
                <a:solidFill>
                  <a:schemeClr val="bg1"/>
                </a:solidFill>
              </a:rPr>
              <a:t>pValue</a:t>
            </a:r>
            <a:endParaRPr lang="de-DE" sz="1400" b="1" baseline="30000">
              <a:solidFill>
                <a:schemeClr val="bg1"/>
              </a:solidFill>
            </a:endParaRPr>
          </a:p>
        </p:txBody>
      </p:sp>
    </p:spTree>
    <p:extLst>
      <p:ext uri="{BB962C8B-B14F-4D97-AF65-F5344CB8AC3E}">
        <p14:creationId xmlns:p14="http://schemas.microsoft.com/office/powerpoint/2010/main" val="758491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5" grpId="0" animBg="1"/>
      <p:bldP spid="42" grpId="0" animBg="1"/>
      <p:bldP spid="43" grpId="0" animBg="1"/>
      <p:bldP spid="44" grpId="0" animBg="1"/>
      <p:bldP spid="4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09AAFC-332E-4EFA-BDF1-9D971036FBF2}"/>
              </a:ext>
            </a:extLst>
          </p:cNvPr>
          <p:cNvSpPr>
            <a:spLocks noGrp="1"/>
          </p:cNvSpPr>
          <p:nvPr>
            <p:ph type="title"/>
          </p:nvPr>
        </p:nvSpPr>
        <p:spPr/>
        <p:txBody>
          <a:bodyPr/>
          <a:lstStyle/>
          <a:p>
            <a:r>
              <a:rPr lang="de-DE"/>
              <a:t>Modellierung</a:t>
            </a:r>
          </a:p>
        </p:txBody>
      </p:sp>
      <p:sp>
        <p:nvSpPr>
          <p:cNvPr id="4" name="Fußzeilenplatzhalter 3">
            <a:extLst>
              <a:ext uri="{FF2B5EF4-FFF2-40B4-BE49-F238E27FC236}">
                <a16:creationId xmlns:a16="http://schemas.microsoft.com/office/drawing/2014/main" id="{35B834A6-5023-4B4F-885E-BCB450B14B08}"/>
              </a:ext>
            </a:extLst>
          </p:cNvPr>
          <p:cNvSpPr>
            <a:spLocks noGrp="1"/>
          </p:cNvSpPr>
          <p:nvPr>
            <p:ph type="ftr" sz="quarter" idx="11"/>
          </p:nvPr>
        </p:nvSpPr>
        <p:spPr/>
        <p:txBody>
          <a:bodyPr/>
          <a:lstStyle/>
          <a:p>
            <a:pPr>
              <a:spcBef>
                <a:spcPct val="20000"/>
              </a:spcBef>
            </a:pPr>
            <a:r>
              <a:rPr lang="de-DE"/>
              <a:t>SCA Case Study – 28.07.2021</a:t>
            </a:r>
          </a:p>
        </p:txBody>
      </p:sp>
      <p:sp>
        <p:nvSpPr>
          <p:cNvPr id="16" name="Rechteck: abgerundete Ecken 15">
            <a:extLst>
              <a:ext uri="{FF2B5EF4-FFF2-40B4-BE49-F238E27FC236}">
                <a16:creationId xmlns:a16="http://schemas.microsoft.com/office/drawing/2014/main" id="{F34B617A-4275-4F6A-ACB7-8DC5DFE1E298}"/>
              </a:ext>
            </a:extLst>
          </p:cNvPr>
          <p:cNvSpPr/>
          <p:nvPr/>
        </p:nvSpPr>
        <p:spPr>
          <a:xfrm>
            <a:off x="5667386" y="-450198"/>
            <a:ext cx="1293853" cy="37357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20" name="Freihandform 21">
            <a:extLst>
              <a:ext uri="{FF2B5EF4-FFF2-40B4-BE49-F238E27FC236}">
                <a16:creationId xmlns:a16="http://schemas.microsoft.com/office/drawing/2014/main" id="{F2ECF94E-4AAA-447B-A08C-822536F6440C}"/>
              </a:ext>
            </a:extLst>
          </p:cNvPr>
          <p:cNvSpPr/>
          <p:nvPr/>
        </p:nvSpPr>
        <p:spPr>
          <a:xfrm>
            <a:off x="3652189" y="1154185"/>
            <a:ext cx="6418731" cy="395288"/>
          </a:xfrm>
          <a:prstGeom prst="round2SameRect">
            <a:avLst>
              <a:gd name="adj1" fmla="val 2646"/>
              <a:gd name="adj2" fmla="val 2646"/>
            </a:avLst>
          </a:prstGeom>
          <a:solidFill>
            <a:schemeClr val="accent4">
              <a:alpha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b="1" i="0" u="none" strike="noStrike" kern="1200" cap="all" spc="0" normalizeH="0" noProof="0">
                <a:ln>
                  <a:noFill/>
                </a:ln>
                <a:solidFill>
                  <a:schemeClr val="bg1"/>
                </a:solidFill>
                <a:effectLst/>
                <a:uLnTx/>
                <a:uFillTx/>
                <a:latin typeface="Helvetica Light"/>
                <a:ea typeface="Arial"/>
                <a:cs typeface="Arial" pitchFamily="34" charset="0"/>
              </a:rPr>
              <a:t>Vergleich der Modelle</a:t>
            </a:r>
          </a:p>
        </p:txBody>
      </p:sp>
      <p:sp>
        <p:nvSpPr>
          <p:cNvPr id="21" name="Oval 7">
            <a:extLst>
              <a:ext uri="{FF2B5EF4-FFF2-40B4-BE49-F238E27FC236}">
                <a16:creationId xmlns:a16="http://schemas.microsoft.com/office/drawing/2014/main" id="{F0B50E2D-AD20-48F1-807D-7DD550BBB553}"/>
              </a:ext>
            </a:extLst>
          </p:cNvPr>
          <p:cNvSpPr/>
          <p:nvPr/>
        </p:nvSpPr>
        <p:spPr>
          <a:xfrm>
            <a:off x="3648000" y="4449961"/>
            <a:ext cx="6418732" cy="1528286"/>
          </a:xfrm>
          <a:prstGeom prst="roundRect">
            <a:avLst/>
          </a:prstGeom>
          <a:solidFill>
            <a:schemeClr val="accent4"/>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pPr algn="ctr"/>
            <a:endParaRPr lang="de-DE" sz="1400">
              <a:solidFill>
                <a:schemeClr val="bg1"/>
              </a:solidFill>
            </a:endParaRPr>
          </a:p>
        </p:txBody>
      </p:sp>
      <p:sp>
        <p:nvSpPr>
          <p:cNvPr id="25" name="Pfeil: nach rechts 24">
            <a:extLst>
              <a:ext uri="{FF2B5EF4-FFF2-40B4-BE49-F238E27FC236}">
                <a16:creationId xmlns:a16="http://schemas.microsoft.com/office/drawing/2014/main" id="{0A6BFE49-6C5C-4EC7-A7A2-CD1494E410C2}"/>
              </a:ext>
            </a:extLst>
          </p:cNvPr>
          <p:cNvSpPr/>
          <p:nvPr/>
        </p:nvSpPr>
        <p:spPr>
          <a:xfrm rot="5400000">
            <a:off x="5286751" y="2576387"/>
            <a:ext cx="3149600" cy="1293779"/>
          </a:xfrm>
          <a:prstGeom prst="rightArrow">
            <a:avLst>
              <a:gd name="adj1" fmla="val 50000"/>
              <a:gd name="adj2" fmla="val 30689"/>
            </a:avLst>
          </a:prstGeom>
          <a:solidFill>
            <a:schemeClr val="accent6">
              <a:lumMod val="75000"/>
            </a:schemeClr>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26" name="Grafik 25" descr="Glühlampe mit einfarbiger Füllung">
            <a:extLst>
              <a:ext uri="{FF2B5EF4-FFF2-40B4-BE49-F238E27FC236}">
                <a16:creationId xmlns:a16="http://schemas.microsoft.com/office/drawing/2014/main" id="{F312B1ED-5AA0-4DD2-BA4D-00953B1A91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53629" y="2090562"/>
            <a:ext cx="232199" cy="232199"/>
          </a:xfrm>
          <a:prstGeom prst="rect">
            <a:avLst/>
          </a:prstGeom>
        </p:spPr>
      </p:pic>
      <p:sp>
        <p:nvSpPr>
          <p:cNvPr id="28" name="Textfeld 27">
            <a:extLst>
              <a:ext uri="{FF2B5EF4-FFF2-40B4-BE49-F238E27FC236}">
                <a16:creationId xmlns:a16="http://schemas.microsoft.com/office/drawing/2014/main" id="{039D18AC-A1F8-4E6C-86F7-D047AE4FDCAB}"/>
              </a:ext>
            </a:extLst>
          </p:cNvPr>
          <p:cNvSpPr txBox="1"/>
          <p:nvPr/>
        </p:nvSpPr>
        <p:spPr bwMode="auto">
          <a:xfrm>
            <a:off x="5202020" y="5107528"/>
            <a:ext cx="3800847" cy="369332"/>
          </a:xfrm>
          <a:prstGeom prst="rect">
            <a:avLst/>
          </a:prstGeom>
          <a:noFill/>
          <a:ln w="6350">
            <a:noFill/>
            <a:prstDash val="solid"/>
            <a:miter lim="800000"/>
            <a:headEnd/>
            <a:tailEnd/>
          </a:ln>
        </p:spPr>
        <p:txBody>
          <a:bodyPr wrap="square">
            <a:spAutoFit/>
          </a:bodyPr>
          <a:lstStyle/>
          <a:p>
            <a:r>
              <a:rPr lang="de-DE">
                <a:solidFill>
                  <a:schemeClr val="bg1"/>
                </a:solidFill>
              </a:rPr>
              <a:t>JAHRESZAHL vs. STUNDEN</a:t>
            </a:r>
          </a:p>
        </p:txBody>
      </p:sp>
      <p:graphicFrame>
        <p:nvGraphicFramePr>
          <p:cNvPr id="5" name="Tabelle 5">
            <a:extLst>
              <a:ext uri="{FF2B5EF4-FFF2-40B4-BE49-F238E27FC236}">
                <a16:creationId xmlns:a16="http://schemas.microsoft.com/office/drawing/2014/main" id="{5F3BA694-6422-40E4-80A3-39942A326F61}"/>
              </a:ext>
            </a:extLst>
          </p:cNvPr>
          <p:cNvGraphicFramePr>
            <a:graphicFrameLocks noGrp="1"/>
          </p:cNvGraphicFramePr>
          <p:nvPr>
            <p:extLst>
              <p:ext uri="{D42A27DB-BD31-4B8C-83A1-F6EECF244321}">
                <p14:modId xmlns:p14="http://schemas.microsoft.com/office/powerpoint/2010/main" val="3030816858"/>
              </p:ext>
            </p:extLst>
          </p:nvPr>
        </p:nvGraphicFramePr>
        <p:xfrm>
          <a:off x="3652188" y="1542998"/>
          <a:ext cx="6418732" cy="2494280"/>
        </p:xfrm>
        <a:graphic>
          <a:graphicData uri="http://schemas.openxmlformats.org/drawingml/2006/table">
            <a:tbl>
              <a:tblPr firstRow="1" bandRow="1">
                <a:tableStyleId>{F2DE63D5-997A-4646-A377-4702673A728D}</a:tableStyleId>
              </a:tblPr>
              <a:tblGrid>
                <a:gridCol w="3209366">
                  <a:extLst>
                    <a:ext uri="{9D8B030D-6E8A-4147-A177-3AD203B41FA5}">
                      <a16:colId xmlns:a16="http://schemas.microsoft.com/office/drawing/2014/main" val="2686754315"/>
                    </a:ext>
                  </a:extLst>
                </a:gridCol>
                <a:gridCol w="3209366">
                  <a:extLst>
                    <a:ext uri="{9D8B030D-6E8A-4147-A177-3AD203B41FA5}">
                      <a16:colId xmlns:a16="http://schemas.microsoft.com/office/drawing/2014/main" val="659321296"/>
                    </a:ext>
                  </a:extLst>
                </a:gridCol>
              </a:tblGrid>
              <a:tr h="370840">
                <a:tc>
                  <a:txBody>
                    <a:bodyPr/>
                    <a:lstStyle/>
                    <a:p>
                      <a:r>
                        <a:rPr kumimoji="0" lang="de-DE" b="1" u="none" strike="noStrike" kern="1200" cap="all" spc="0" normalizeH="0" noProof="0">
                          <a:ln>
                            <a:noFill/>
                          </a:ln>
                          <a:solidFill>
                            <a:schemeClr val="bg1"/>
                          </a:solidFill>
                          <a:effectLst/>
                          <a:uLnTx/>
                          <a:uFillTx/>
                        </a:rPr>
                        <a:t>Statisches Modell </a:t>
                      </a:r>
                    </a:p>
                    <a:p>
                      <a:r>
                        <a:rPr kumimoji="0" lang="de-DE" b="1" u="none" strike="noStrike" kern="1200" cap="all" spc="0" normalizeH="0" noProof="0">
                          <a:ln>
                            <a:noFill/>
                          </a:ln>
                          <a:solidFill>
                            <a:schemeClr val="bg1"/>
                          </a:solidFill>
                          <a:effectLst/>
                          <a:uLnTx/>
                          <a:uFillTx/>
                        </a:rPr>
                        <a:t>(PORT-TO-PORT ANALYSE)</a:t>
                      </a:r>
                      <a:endParaRPr lang="de-D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u="none" strike="noStrike" kern="1200" cap="all" spc="0" normalizeH="0" noProof="0" err="1">
                          <a:ln>
                            <a:noFill/>
                          </a:ln>
                          <a:solidFill>
                            <a:schemeClr val="bg1"/>
                          </a:solidFill>
                          <a:effectLst/>
                          <a:uLnTx/>
                          <a:uFillTx/>
                        </a:rPr>
                        <a:t>DyNamisches</a:t>
                      </a:r>
                      <a:r>
                        <a:rPr kumimoji="0" lang="de-DE" b="1" u="none" strike="noStrike" kern="1200" cap="all" spc="0" normalizeH="0" noProof="0">
                          <a:ln>
                            <a:noFill/>
                          </a:ln>
                          <a:solidFill>
                            <a:schemeClr val="bg1"/>
                          </a:solidFill>
                          <a:effectLst/>
                          <a:uLnTx/>
                          <a:uFillTx/>
                        </a:rPr>
                        <a:t> Mod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b="1" u="none" strike="noStrike" kern="1200" cap="all" spc="0" normalizeH="0" noProof="0">
                          <a:ln>
                            <a:noFill/>
                          </a:ln>
                          <a:solidFill>
                            <a:schemeClr val="bg1"/>
                          </a:solidFill>
                          <a:effectLst/>
                          <a:uLnTx/>
                          <a:uFillTx/>
                        </a:rPr>
                        <a:t>( *-</a:t>
                      </a:r>
                      <a:r>
                        <a:rPr kumimoji="0" lang="de-DE" b="1" u="none" strike="noStrike" kern="1200" cap="all" spc="0" normalizeH="0" noProof="0" err="1">
                          <a:ln>
                            <a:noFill/>
                          </a:ln>
                          <a:solidFill>
                            <a:schemeClr val="bg1"/>
                          </a:solidFill>
                          <a:effectLst/>
                          <a:uLnTx/>
                          <a:uFillTx/>
                        </a:rPr>
                        <a:t>to-Rotterdamm</a:t>
                      </a:r>
                      <a:r>
                        <a:rPr kumimoji="0" lang="de-DE" b="1" u="none" strike="noStrike" kern="1200" cap="all" spc="0" normalizeH="0" noProof="0">
                          <a:ln>
                            <a:noFill/>
                          </a:ln>
                          <a:solidFill>
                            <a:schemeClr val="bg1"/>
                          </a:solidFill>
                          <a:effectLst/>
                          <a:uLnTx/>
                          <a:uFillTx/>
                        </a:rPr>
                        <a:t> )</a:t>
                      </a:r>
                      <a:endParaRPr lang="de-DE"/>
                    </a:p>
                  </a:txBody>
                  <a:tcPr/>
                </a:tc>
                <a:extLst>
                  <a:ext uri="{0D108BD9-81ED-4DB2-BD59-A6C34878D82A}">
                    <a16:rowId xmlns:a16="http://schemas.microsoft.com/office/drawing/2014/main" val="3341419929"/>
                  </a:ext>
                </a:extLst>
              </a:tr>
              <a:tr h="370840">
                <a:tc>
                  <a:txBody>
                    <a:bodyPr/>
                    <a:lstStyle/>
                    <a:p>
                      <a:pPr algn="ctr"/>
                      <a:r>
                        <a:rPr lang="de-DE"/>
                        <a:t>Ankunftszeit (Datum)</a:t>
                      </a:r>
                    </a:p>
                  </a:txBody>
                  <a:tcPr/>
                </a:tc>
                <a:tc>
                  <a:txBody>
                    <a:bodyPr/>
                    <a:lstStyle/>
                    <a:p>
                      <a:pPr algn="ctr"/>
                      <a:r>
                        <a:rPr lang="de-DE"/>
                        <a:t>Tripdauer (in Stunden)</a:t>
                      </a:r>
                    </a:p>
                  </a:txBody>
                  <a:tcPr/>
                </a:tc>
                <a:extLst>
                  <a:ext uri="{0D108BD9-81ED-4DB2-BD59-A6C34878D82A}">
                    <a16:rowId xmlns:a16="http://schemas.microsoft.com/office/drawing/2014/main" val="1687227145"/>
                  </a:ext>
                </a:extLst>
              </a:tr>
              <a:tr h="370840">
                <a:tc>
                  <a:txBody>
                    <a:bodyPr/>
                    <a:lstStyle/>
                    <a:p>
                      <a:pPr algn="ctr"/>
                      <a:r>
                        <a:rPr lang="de-DE" err="1"/>
                        <a:t>tripsAggregated</a:t>
                      </a:r>
                      <a:endParaRPr lang="de-DE"/>
                    </a:p>
                  </a:txBody>
                  <a:tcPr/>
                </a:tc>
                <a:tc>
                  <a:txBody>
                    <a:bodyPr/>
                    <a:lstStyle/>
                    <a:p>
                      <a:pPr algn="ctr"/>
                      <a:r>
                        <a:rPr lang="de-DE" err="1"/>
                        <a:t>tripsRaw</a:t>
                      </a:r>
                      <a:endParaRPr lang="de-DE"/>
                    </a:p>
                  </a:txBody>
                  <a:tcPr/>
                </a:tc>
                <a:extLst>
                  <a:ext uri="{0D108BD9-81ED-4DB2-BD59-A6C34878D82A}">
                    <a16:rowId xmlns:a16="http://schemas.microsoft.com/office/drawing/2014/main" val="983759985"/>
                  </a:ext>
                </a:extLst>
              </a:tr>
              <a:tr h="370840">
                <a:tc>
                  <a:txBody>
                    <a:bodyPr/>
                    <a:lstStyle/>
                    <a:p>
                      <a:pPr algn="ctr"/>
                      <a:r>
                        <a:rPr lang="de-DE"/>
                        <a:t>3</a:t>
                      </a:r>
                    </a:p>
                  </a:txBody>
                  <a:tcPr/>
                </a:tc>
                <a:tc>
                  <a:txBody>
                    <a:bodyPr/>
                    <a:lstStyle/>
                    <a:p>
                      <a:pPr algn="ctr"/>
                      <a:r>
                        <a:rPr lang="de-DE"/>
                        <a:t>4</a:t>
                      </a:r>
                    </a:p>
                  </a:txBody>
                  <a:tcPr/>
                </a:tc>
                <a:extLst>
                  <a:ext uri="{0D108BD9-81ED-4DB2-BD59-A6C34878D82A}">
                    <a16:rowId xmlns:a16="http://schemas.microsoft.com/office/drawing/2014/main" val="943779525"/>
                  </a:ext>
                </a:extLst>
              </a:tr>
              <a:tr h="370840">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408426369"/>
                  </a:ext>
                </a:extLst>
              </a:tr>
              <a:tr h="370840">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3057302392"/>
                  </a:ext>
                </a:extLst>
              </a:tr>
            </a:tbl>
          </a:graphicData>
        </a:graphic>
      </p:graphicFrame>
      <p:sp>
        <p:nvSpPr>
          <p:cNvPr id="6" name="Pfeil: nach rechts 5">
            <a:extLst>
              <a:ext uri="{FF2B5EF4-FFF2-40B4-BE49-F238E27FC236}">
                <a16:creationId xmlns:a16="http://schemas.microsoft.com/office/drawing/2014/main" id="{C86237F0-F43D-4D00-BB5F-258E8D75A407}"/>
              </a:ext>
            </a:extLst>
          </p:cNvPr>
          <p:cNvSpPr/>
          <p:nvPr/>
        </p:nvSpPr>
        <p:spPr>
          <a:xfrm rot="18938575">
            <a:off x="5071008" y="3362216"/>
            <a:ext cx="338857" cy="206925"/>
          </a:xfrm>
          <a:prstGeom prst="rightArrow">
            <a:avLst/>
          </a:pr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0" name="Pfeil: nach rechts 29">
            <a:extLst>
              <a:ext uri="{FF2B5EF4-FFF2-40B4-BE49-F238E27FC236}">
                <a16:creationId xmlns:a16="http://schemas.microsoft.com/office/drawing/2014/main" id="{8DE440E3-0792-498E-A6CC-25E344B57A21}"/>
              </a:ext>
            </a:extLst>
          </p:cNvPr>
          <p:cNvSpPr/>
          <p:nvPr/>
        </p:nvSpPr>
        <p:spPr>
          <a:xfrm rot="18938575">
            <a:off x="8354627" y="3747071"/>
            <a:ext cx="338857" cy="206925"/>
          </a:xfrm>
          <a:prstGeom prst="rightArrow">
            <a:avLst/>
          </a:pr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1" name="Pfeil: nach rechts 30">
            <a:extLst>
              <a:ext uri="{FF2B5EF4-FFF2-40B4-BE49-F238E27FC236}">
                <a16:creationId xmlns:a16="http://schemas.microsoft.com/office/drawing/2014/main" id="{98F2AA01-AF0F-4F43-B519-A72F07EDA131}"/>
              </a:ext>
            </a:extLst>
          </p:cNvPr>
          <p:cNvSpPr/>
          <p:nvPr/>
        </p:nvSpPr>
        <p:spPr>
          <a:xfrm rot="7922632">
            <a:off x="5067834" y="3762960"/>
            <a:ext cx="338857" cy="206925"/>
          </a:xfrm>
          <a:prstGeom prst="rightArrow">
            <a:avLst/>
          </a:prstGeom>
          <a:solidFill>
            <a:schemeClr val="accent2">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2" name="Pfeil: nach rechts 31">
            <a:extLst>
              <a:ext uri="{FF2B5EF4-FFF2-40B4-BE49-F238E27FC236}">
                <a16:creationId xmlns:a16="http://schemas.microsoft.com/office/drawing/2014/main" id="{010C29FA-E5A6-4193-99C4-59D65A6C924F}"/>
              </a:ext>
            </a:extLst>
          </p:cNvPr>
          <p:cNvSpPr/>
          <p:nvPr/>
        </p:nvSpPr>
        <p:spPr>
          <a:xfrm rot="7922632">
            <a:off x="8357801" y="3385450"/>
            <a:ext cx="338857" cy="206925"/>
          </a:xfrm>
          <a:prstGeom prst="rightArrow">
            <a:avLst/>
          </a:prstGeom>
          <a:solidFill>
            <a:schemeClr val="accent2">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3" name="Freihandform 21">
            <a:extLst>
              <a:ext uri="{FF2B5EF4-FFF2-40B4-BE49-F238E27FC236}">
                <a16:creationId xmlns:a16="http://schemas.microsoft.com/office/drawing/2014/main" id="{23C3FF0A-22C6-4CA2-B50A-728E614C7632}"/>
              </a:ext>
            </a:extLst>
          </p:cNvPr>
          <p:cNvSpPr/>
          <p:nvPr/>
        </p:nvSpPr>
        <p:spPr>
          <a:xfrm>
            <a:off x="1489947" y="2182465"/>
            <a:ext cx="2160000" cy="360000"/>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b="1" cap="all">
                <a:solidFill>
                  <a:schemeClr val="bg1"/>
                </a:solidFill>
                <a:latin typeface="Helvetica Light"/>
                <a:ea typeface="Arial"/>
                <a:cs typeface="Arial" pitchFamily="34" charset="0"/>
              </a:rPr>
              <a:t>Zielgröße</a:t>
            </a:r>
            <a:endParaRPr kumimoji="0" lang="de-DE" b="1" i="0" u="none" strike="noStrike" kern="1200" cap="all" spc="0" normalizeH="0" noProof="0">
              <a:ln>
                <a:noFill/>
              </a:ln>
              <a:solidFill>
                <a:schemeClr val="bg1"/>
              </a:solidFill>
              <a:effectLst/>
              <a:uLnTx/>
              <a:uFillTx/>
              <a:latin typeface="Helvetica Light"/>
              <a:ea typeface="Arial"/>
              <a:cs typeface="Arial" pitchFamily="34" charset="0"/>
            </a:endParaRPr>
          </a:p>
        </p:txBody>
      </p:sp>
      <p:sp>
        <p:nvSpPr>
          <p:cNvPr id="37" name="Freihandform 21">
            <a:extLst>
              <a:ext uri="{FF2B5EF4-FFF2-40B4-BE49-F238E27FC236}">
                <a16:creationId xmlns:a16="http://schemas.microsoft.com/office/drawing/2014/main" id="{5CC2BDED-070B-4794-9D1E-E2C36D8DCFB4}"/>
              </a:ext>
            </a:extLst>
          </p:cNvPr>
          <p:cNvSpPr/>
          <p:nvPr/>
        </p:nvSpPr>
        <p:spPr>
          <a:xfrm>
            <a:off x="1487999" y="2551934"/>
            <a:ext cx="2160000" cy="360000"/>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b="1" i="0" u="none" strike="noStrike" kern="1200" cap="all" spc="0" normalizeH="0" noProof="0">
                <a:ln>
                  <a:noFill/>
                </a:ln>
                <a:solidFill>
                  <a:schemeClr val="bg1"/>
                </a:solidFill>
                <a:effectLst/>
                <a:uLnTx/>
                <a:uFillTx/>
                <a:latin typeface="Helvetica Light"/>
                <a:ea typeface="Arial"/>
                <a:cs typeface="Arial" pitchFamily="34" charset="0"/>
              </a:rPr>
              <a:t>Datenquelle</a:t>
            </a:r>
          </a:p>
        </p:txBody>
      </p:sp>
      <p:sp>
        <p:nvSpPr>
          <p:cNvPr id="38" name="Freihandform 21">
            <a:extLst>
              <a:ext uri="{FF2B5EF4-FFF2-40B4-BE49-F238E27FC236}">
                <a16:creationId xmlns:a16="http://schemas.microsoft.com/office/drawing/2014/main" id="{E1075BAE-FF87-4802-8851-0031BF8CB0B3}"/>
              </a:ext>
            </a:extLst>
          </p:cNvPr>
          <p:cNvSpPr/>
          <p:nvPr/>
        </p:nvSpPr>
        <p:spPr>
          <a:xfrm>
            <a:off x="1487999" y="2921403"/>
            <a:ext cx="2160000" cy="360000"/>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de-DE" b="1" cap="all">
                <a:solidFill>
                  <a:schemeClr val="bg1"/>
                </a:solidFill>
                <a:latin typeface="Helvetica Light"/>
                <a:ea typeface="Arial"/>
                <a:cs typeface="Arial" pitchFamily="34" charset="0"/>
              </a:rPr>
              <a:t>Anzahl Features</a:t>
            </a:r>
            <a:endParaRPr kumimoji="0" lang="de-DE" b="1" i="0" u="none" strike="noStrike" kern="1200" cap="all" spc="0" normalizeH="0" noProof="0">
              <a:ln>
                <a:noFill/>
              </a:ln>
              <a:solidFill>
                <a:schemeClr val="bg1"/>
              </a:solidFill>
              <a:effectLst/>
              <a:uLnTx/>
              <a:uFillTx/>
              <a:latin typeface="Helvetica Light"/>
              <a:ea typeface="Arial"/>
              <a:cs typeface="Arial" pitchFamily="34" charset="0"/>
            </a:endParaRPr>
          </a:p>
        </p:txBody>
      </p:sp>
      <p:sp>
        <p:nvSpPr>
          <p:cNvPr id="39" name="Freihandform 21">
            <a:extLst>
              <a:ext uri="{FF2B5EF4-FFF2-40B4-BE49-F238E27FC236}">
                <a16:creationId xmlns:a16="http://schemas.microsoft.com/office/drawing/2014/main" id="{01A54F44-3FBA-4349-9DCD-92ED25412080}"/>
              </a:ext>
            </a:extLst>
          </p:cNvPr>
          <p:cNvSpPr/>
          <p:nvPr/>
        </p:nvSpPr>
        <p:spPr>
          <a:xfrm>
            <a:off x="1487999" y="3288636"/>
            <a:ext cx="2160000" cy="360000"/>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b="1" i="0" u="none" strike="noStrike" kern="1200" cap="all" spc="0" normalizeH="0" noProof="0">
                <a:ln>
                  <a:noFill/>
                </a:ln>
                <a:solidFill>
                  <a:schemeClr val="bg1"/>
                </a:solidFill>
                <a:effectLst/>
                <a:uLnTx/>
                <a:uFillTx/>
                <a:latin typeface="Helvetica Light"/>
                <a:ea typeface="Arial"/>
                <a:cs typeface="Arial" pitchFamily="34" charset="0"/>
              </a:rPr>
              <a:t>Regression</a:t>
            </a:r>
          </a:p>
        </p:txBody>
      </p:sp>
      <p:sp>
        <p:nvSpPr>
          <p:cNvPr id="40" name="Freihandform 21">
            <a:extLst>
              <a:ext uri="{FF2B5EF4-FFF2-40B4-BE49-F238E27FC236}">
                <a16:creationId xmlns:a16="http://schemas.microsoft.com/office/drawing/2014/main" id="{97DB55DA-05D9-4BDE-9106-0CC252AE0FA6}"/>
              </a:ext>
            </a:extLst>
          </p:cNvPr>
          <p:cNvSpPr/>
          <p:nvPr/>
        </p:nvSpPr>
        <p:spPr>
          <a:xfrm>
            <a:off x="1487999" y="3658105"/>
            <a:ext cx="2160000" cy="360000"/>
          </a:xfrm>
          <a:prstGeom prst="round2SameRect">
            <a:avLst>
              <a:gd name="adj1" fmla="val 2646"/>
              <a:gd name="adj2" fmla="val 2646"/>
            </a:avLst>
          </a:prstGeom>
          <a:solidFill>
            <a:srgbClr val="3E8A83">
              <a:alpha val="80000"/>
            </a:srgb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00" tIns="36286" rIns="50800" bIns="3628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de-DE" b="1" i="0" u="none" strike="noStrike" kern="1200" cap="all" spc="0" normalizeH="0" noProof="0">
                <a:ln>
                  <a:noFill/>
                </a:ln>
                <a:solidFill>
                  <a:schemeClr val="bg1"/>
                </a:solidFill>
                <a:effectLst/>
                <a:uLnTx/>
                <a:uFillTx/>
                <a:latin typeface="Helvetica Light"/>
                <a:ea typeface="Arial"/>
                <a:cs typeface="Arial" pitchFamily="34" charset="0"/>
              </a:rPr>
              <a:t>Korrelation</a:t>
            </a:r>
          </a:p>
        </p:txBody>
      </p:sp>
    </p:spTree>
    <p:extLst>
      <p:ext uri="{BB962C8B-B14F-4D97-AF65-F5344CB8AC3E}">
        <p14:creationId xmlns:p14="http://schemas.microsoft.com/office/powerpoint/2010/main" val="42911883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165C2-57C1-4B05-A4D9-6760615B6766}"/>
              </a:ext>
            </a:extLst>
          </p:cNvPr>
          <p:cNvSpPr>
            <a:spLocks noGrp="1"/>
          </p:cNvSpPr>
          <p:nvPr>
            <p:ph type="title"/>
          </p:nvPr>
        </p:nvSpPr>
        <p:spPr/>
        <p:txBody>
          <a:bodyPr/>
          <a:lstStyle/>
          <a:p>
            <a:r>
              <a:rPr lang="de-DE"/>
              <a:t>Ergebniskommunikation &amp; Bereitstellung</a:t>
            </a:r>
          </a:p>
        </p:txBody>
      </p:sp>
      <p:sp>
        <p:nvSpPr>
          <p:cNvPr id="4" name="Fußzeilenplatzhalter 3">
            <a:extLst>
              <a:ext uri="{FF2B5EF4-FFF2-40B4-BE49-F238E27FC236}">
                <a16:creationId xmlns:a16="http://schemas.microsoft.com/office/drawing/2014/main" id="{C04364C3-C7A0-429F-9C0A-88061F85D8EF}"/>
              </a:ext>
            </a:extLst>
          </p:cNvPr>
          <p:cNvSpPr>
            <a:spLocks noGrp="1"/>
          </p:cNvSpPr>
          <p:nvPr>
            <p:ph type="ftr" sz="quarter" idx="11"/>
          </p:nvPr>
        </p:nvSpPr>
        <p:spPr/>
        <p:txBody>
          <a:bodyPr/>
          <a:lstStyle/>
          <a:p>
            <a:pPr>
              <a:spcBef>
                <a:spcPct val="20000"/>
              </a:spcBef>
            </a:pPr>
            <a:r>
              <a:rPr lang="de-DE"/>
              <a:t>SCA Case Study – 28.07.2021</a:t>
            </a:r>
          </a:p>
        </p:txBody>
      </p:sp>
      <p:sp>
        <p:nvSpPr>
          <p:cNvPr id="5" name="Rechteck 4">
            <a:extLst>
              <a:ext uri="{FF2B5EF4-FFF2-40B4-BE49-F238E27FC236}">
                <a16:creationId xmlns:a16="http://schemas.microsoft.com/office/drawing/2014/main" id="{83643B6D-A1D8-4650-883D-4AFBBAA55316}"/>
              </a:ext>
            </a:extLst>
          </p:cNvPr>
          <p:cNvSpPr/>
          <p:nvPr/>
        </p:nvSpPr>
        <p:spPr>
          <a:xfrm>
            <a:off x="0" y="1537047"/>
            <a:ext cx="12192000" cy="4005914"/>
          </a:xfrm>
          <a:prstGeom prst="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6" name="Pfeil: Chevron 5">
            <a:extLst>
              <a:ext uri="{FF2B5EF4-FFF2-40B4-BE49-F238E27FC236}">
                <a16:creationId xmlns:a16="http://schemas.microsoft.com/office/drawing/2014/main" id="{3E8164AD-6ACD-473A-B22F-94D455D1BF7B}"/>
              </a:ext>
            </a:extLst>
          </p:cNvPr>
          <p:cNvSpPr/>
          <p:nvPr/>
        </p:nvSpPr>
        <p:spPr>
          <a:xfrm>
            <a:off x="1036948"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7" name="Pfeil: Chevron 6">
            <a:extLst>
              <a:ext uri="{FF2B5EF4-FFF2-40B4-BE49-F238E27FC236}">
                <a16:creationId xmlns:a16="http://schemas.microsoft.com/office/drawing/2014/main" id="{84FDE608-9A7D-4775-9297-7D07559650FC}"/>
              </a:ext>
            </a:extLst>
          </p:cNvPr>
          <p:cNvSpPr/>
          <p:nvPr/>
        </p:nvSpPr>
        <p:spPr>
          <a:xfrm>
            <a:off x="1538140"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8" name="Pfeil: Chevron 7">
            <a:extLst>
              <a:ext uri="{FF2B5EF4-FFF2-40B4-BE49-F238E27FC236}">
                <a16:creationId xmlns:a16="http://schemas.microsoft.com/office/drawing/2014/main" id="{158F25F3-E1B1-432B-884F-C9E677E1D132}"/>
              </a:ext>
            </a:extLst>
          </p:cNvPr>
          <p:cNvSpPr/>
          <p:nvPr/>
        </p:nvSpPr>
        <p:spPr>
          <a:xfrm>
            <a:off x="2039332"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 name="Pfeil: Chevron 8">
            <a:extLst>
              <a:ext uri="{FF2B5EF4-FFF2-40B4-BE49-F238E27FC236}">
                <a16:creationId xmlns:a16="http://schemas.microsoft.com/office/drawing/2014/main" id="{991E1234-05E4-4F38-8913-13EC9BCEE127}"/>
              </a:ext>
            </a:extLst>
          </p:cNvPr>
          <p:cNvSpPr/>
          <p:nvPr/>
        </p:nvSpPr>
        <p:spPr>
          <a:xfrm>
            <a:off x="9398523"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 name="Pfeil: Chevron 9">
            <a:extLst>
              <a:ext uri="{FF2B5EF4-FFF2-40B4-BE49-F238E27FC236}">
                <a16:creationId xmlns:a16="http://schemas.microsoft.com/office/drawing/2014/main" id="{FBB256BF-A7DA-4956-A791-1372F48B3D36}"/>
              </a:ext>
            </a:extLst>
          </p:cNvPr>
          <p:cNvSpPr/>
          <p:nvPr/>
        </p:nvSpPr>
        <p:spPr>
          <a:xfrm>
            <a:off x="9899715"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1" name="Pfeil: Chevron 10">
            <a:extLst>
              <a:ext uri="{FF2B5EF4-FFF2-40B4-BE49-F238E27FC236}">
                <a16:creationId xmlns:a16="http://schemas.microsoft.com/office/drawing/2014/main" id="{3A24C3F0-FFA1-4C08-9EF0-B9BA53D0473B}"/>
              </a:ext>
            </a:extLst>
          </p:cNvPr>
          <p:cNvSpPr/>
          <p:nvPr/>
        </p:nvSpPr>
        <p:spPr>
          <a:xfrm>
            <a:off x="10400907" y="2703136"/>
            <a:ext cx="754145" cy="1451728"/>
          </a:xfrm>
          <a:prstGeom prst="chevron">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2" name="Textfeld 11">
            <a:extLst>
              <a:ext uri="{FF2B5EF4-FFF2-40B4-BE49-F238E27FC236}">
                <a16:creationId xmlns:a16="http://schemas.microsoft.com/office/drawing/2014/main" id="{22E57885-E216-480D-9112-7435FB318FB0}"/>
              </a:ext>
            </a:extLst>
          </p:cNvPr>
          <p:cNvSpPr txBox="1"/>
          <p:nvPr/>
        </p:nvSpPr>
        <p:spPr bwMode="auto">
          <a:xfrm>
            <a:off x="3433332" y="2507541"/>
            <a:ext cx="5159335" cy="1842917"/>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de-DE" sz="6600" b="1">
                <a:solidFill>
                  <a:schemeClr val="bg1"/>
                </a:solidFill>
              </a:rPr>
              <a:t>Dashboard</a:t>
            </a:r>
          </a:p>
          <a:p>
            <a:pPr algn="ctr">
              <a:lnSpc>
                <a:spcPct val="125000"/>
              </a:lnSpc>
              <a:spcAft>
                <a:spcPts val="400"/>
              </a:spcAft>
              <a:buClr>
                <a:schemeClr val="accent1"/>
              </a:buClr>
            </a:pPr>
            <a:r>
              <a:rPr lang="de-DE" sz="6600" b="1">
                <a:solidFill>
                  <a:schemeClr val="bg1"/>
                </a:solidFill>
              </a:rPr>
              <a:t>Mock-Up</a:t>
            </a:r>
            <a:endParaRPr lang="de-DE" sz="1400" b="1">
              <a:solidFill>
                <a:schemeClr val="bg1"/>
              </a:solidFill>
            </a:endParaRPr>
          </a:p>
          <a:p>
            <a:pPr algn="ctr">
              <a:lnSpc>
                <a:spcPct val="125000"/>
              </a:lnSpc>
              <a:spcAft>
                <a:spcPts val="400"/>
              </a:spcAft>
              <a:buClr>
                <a:schemeClr val="accent1"/>
              </a:buClr>
            </a:pPr>
            <a:endParaRPr lang="de-DE" sz="1300"/>
          </a:p>
        </p:txBody>
      </p:sp>
    </p:spTree>
    <p:extLst>
      <p:ext uri="{BB962C8B-B14F-4D97-AF65-F5344CB8AC3E}">
        <p14:creationId xmlns:p14="http://schemas.microsoft.com/office/powerpoint/2010/main" val="31178100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49947" y="3802813"/>
            <a:ext cx="300000" cy="300000"/>
          </a:xfrm>
          <a:prstGeom prst="rect">
            <a:avLst/>
          </a:prstGeom>
        </p:spPr>
      </p:pic>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10884" y="3841158"/>
            <a:ext cx="376267" cy="376267"/>
          </a:xfrm>
          <a:prstGeom prst="rect">
            <a:avLst/>
          </a:prstGeom>
        </p:spPr>
      </p:pic>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30"/>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31"/>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122A4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932674" y="3824450"/>
            <a:ext cx="355635" cy="355635"/>
          </a:xfrm>
          <a:prstGeom prst="rect">
            <a:avLst/>
          </a:prstGeom>
        </p:spPr>
      </p:pic>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75997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withEffect">
                                  <p:stCondLst>
                                    <p:cond delay="0"/>
                                  </p:stCondLst>
                                  <p:childTnLst>
                                    <p:animMotion origin="layout" path="M 0.00404 0.00625 C -0.00013 0.00834 0.00182 0.00718 -0.00195 0.00949 L -0.00339 0.01019 L -0.00469 0.01111 C -0.00755 0.01621 -0.00339 0.00926 -0.00703 0.01343 C -0.00911 0.01598 -0.00755 0.01574 -0.00977 0.0176 C -0.00977 0.0176 -0.01315 0.01968 -0.0138 0.01991 L -0.01797 0.02246 C -0.01836 0.02269 -0.01888 0.02315 -0.01927 0.02315 C -0.02188 0.02431 -0.02057 0.02385 -0.02344 0.025 C -0.028 0.02454 -0.0306 0.025 -0.03438 0.02315 C -0.0349 0.02315 -0.03529 0.02269 -0.03581 0.02246 C -0.03672 0.01736 -0.03685 0.01783 -0.03711 0.01273 C -0.03724 0.01204 -0.03711 0.01158 -0.03711 0.01111 " pathEditMode="relative" ptsTypes="AAAAAAAAAAAAAA">
                                      <p:cBhvr>
                                        <p:cTn id="6" dur="20000" fill="hold"/>
                                        <p:tgtEl>
                                          <p:spTgt spid="116"/>
                                        </p:tgtEl>
                                        <p:attrNameLst>
                                          <p:attrName>ppt_x</p:attrName>
                                          <p:attrName>ppt_y</p:attrName>
                                        </p:attrNameLst>
                                      </p:cBhvr>
                                    </p:animMotion>
                                  </p:childTnLst>
                                </p:cTn>
                              </p:par>
                              <p:par>
                                <p:cTn id="7" presetID="0" presetClass="path" presetSubtype="0" accel="50000" decel="50000" fill="hold" nodeType="withEffect">
                                  <p:stCondLst>
                                    <p:cond delay="0"/>
                                  </p:stCondLst>
                                  <p:childTnLst>
                                    <p:animMotion origin="layout" path="M -0.00339 0.0044 C -0.00456 0.00325 -0.00573 0.00255 -0.00664 0.00093 C -0.00742 -0.00023 -0.00886 -0.00486 -0.00938 -0.00717 C -0.00951 -0.00787 -0.00964 -0.00879 -0.0099 -0.00949 C -0.01042 -0.0118 -0.0112 -0.01365 -0.01159 -0.01597 L -0.01302 -0.02337 C -0.01328 -0.025 -0.01354 -0.02685 -0.01445 -0.02824 C -0.01823 -0.03425 -0.01576 -0.02986 -0.01849 -0.03217 C -0.01901 -0.03263 -0.0194 -0.03333 -0.01979 -0.03379 C -0.02005 -0.03472 -0.02005 -0.03564 -0.02031 -0.03634 C -0.02214 -0.04259 -0.02057 -0.03495 -0.02175 -0.0412 C -0.02188 -0.04305 -0.02175 -0.04513 -0.02214 -0.04675 C -0.02227 -0.04768 -0.02279 -0.04791 -0.02305 -0.04837 C -0.02474 -0.05231 -0.02292 -0.04976 -0.02539 -0.05254 C -0.02617 -0.05671 -0.02526 -0.05347 -0.02669 -0.05648 C -0.02708 -0.0574 -0.02721 -0.05833 -0.02761 -0.05902 C -0.02813 -0.05995 -0.02917 -0.06087 -0.02982 -0.06134 " pathEditMode="relative" ptsTypes="AAAAAAAAAAAAAAAAA">
                                      <p:cBhvr>
                                        <p:cTn id="8" dur="20000" fill="hold"/>
                                        <p:tgtEl>
                                          <p:spTgt spid="126"/>
                                        </p:tgtEl>
                                        <p:attrNameLst>
                                          <p:attrName>ppt_x</p:attrName>
                                          <p:attrName>ppt_y</p:attrName>
                                        </p:attrNameLst>
                                      </p:cBhvr>
                                    </p:animMotion>
                                  </p:childTnLst>
                                </p:cTn>
                              </p:par>
                              <p:par>
                                <p:cTn id="9" presetID="0" presetClass="path" presetSubtype="0" accel="50000" decel="50000" fill="hold" nodeType="withEffect">
                                  <p:stCondLst>
                                    <p:cond delay="0"/>
                                  </p:stCondLst>
                                  <p:childTnLst>
                                    <p:animMotion origin="layout" path="M -0.00078 0.0037 C -0.00104 -7.40741E-7 -0.0013 -0.00486 -0.00182 -0.00856 C -0.00182 -0.00949 -0.00195 -0.01018 -0.00221 -0.01111 C -0.00247 -0.0118 -0.00286 -0.01204 -0.00312 -0.01273 C -0.00351 -0.01343 -0.00364 -0.01435 -0.00403 -0.01505 C -0.00481 -0.01643 -0.00572 -0.01759 -0.00638 -0.01921 C -0.00664 -0.01991 -0.00703 -0.02083 -0.00729 -0.02153 C -0.00742 -0.02245 -0.00729 -0.02361 -0.00768 -0.02407 C -0.00846 -0.025 -0.01041 -0.02569 -0.01041 -0.02569 C -0.01184 -0.02963 -0.0108 -0.02778 -0.01406 -0.02963 L -0.01549 -0.03055 C -0.01757 -0.03611 -0.01653 -0.03403 -0.01822 -0.03704 C -0.01875 -0.04051 -0.01862 -0.03912 -0.01862 -0.04097 " pathEditMode="relative" ptsTypes="AAAAAAAAAAAAA">
                                      <p:cBhvr>
                                        <p:cTn id="10" dur="20000" fill="hold"/>
                                        <p:tgtEl>
                                          <p:spTgt spid="115"/>
                                        </p:tgtEl>
                                        <p:attrNameLst>
                                          <p:attrName>ppt_x</p:attrName>
                                          <p:attrName>ppt_y</p:attrName>
                                        </p:attrNameLst>
                                      </p:cBhvr>
                                    </p:animMotion>
                                  </p:childTnLst>
                                </p:cTn>
                              </p:par>
                              <p:par>
                                <p:cTn id="11" presetID="0" presetClass="path" presetSubtype="0" fill="hold" nodeType="withEffect">
                                  <p:stCondLst>
                                    <p:cond delay="0"/>
                                  </p:stCondLst>
                                  <p:childTnLst>
                                    <p:animMotion origin="layout" path="M 0.00053 0.0044 C -0.00026 0.00301 -0.00104 0.00162 -0.00195 0.00046 C -0.00221 0.00023 -0.0026 0.00023 -0.00299 2.59259E-6 C -0.00338 -0.00023 -0.00494 -0.00093 -0.00546 -0.00139 L -0.00859 -0.0051 L -0.00963 -0.00625 C -0.00989 -0.00695 -0.01054 -0.00741 -0.01028 -0.0081 C -0.00989 -0.00903 -0.00885 -0.0088 -0.0082 -0.00926 C -0.00781 -0.00949 -0.00755 -0.00996 -0.00716 -0.00996 L 0.00196 -0.01065 C 0.00157 -0.01088 0.00105 -0.01111 0.00079 -0.01181 C 0.00039 -0.01297 0.00079 -0.01482 0.00013 -0.01551 C -0.00026 -0.01597 -0.00052 -0.01621 -0.00091 -0.01667 C -0.00117 -0.01713 -0.0013 -0.0176 -0.00156 -0.01806 C -0.00221 -0.01898 -0.00312 -0.01945 -0.00364 -0.02037 C -0.00507 -0.02292 -0.00429 -0.02176 -0.00572 -0.02361 C -0.00586 -0.02408 -0.00599 -0.02477 -0.00612 -0.02547 C -0.00625 -0.02616 -0.00664 -0.02662 -0.00677 -0.02732 C -0.00716 -0.02847 -0.00729 -0.02963 -0.00755 -0.03102 L -0.00781 -0.03287 C -0.00703 -0.03704 -0.00794 -0.03172 -0.00716 -0.03773 C -0.0069 -0.03935 -0.00677 -0.03959 -0.00651 -0.04074 " pathEditMode="relative" ptsTypes="AAAAAAAAAAAAAAAAAAAAAA">
                                      <p:cBhvr>
                                        <p:cTn id="12" dur="20000" fill="hold"/>
                                        <p:tgtEl>
                                          <p:spTgt spid="127"/>
                                        </p:tgtEl>
                                        <p:attrNameLst>
                                          <p:attrName>ppt_x</p:attrName>
                                          <p:attrName>ppt_y</p:attrName>
                                        </p:attrNameLst>
                                      </p:cBhvr>
                                    </p:animMotion>
                                  </p:childTnLst>
                                </p:cTn>
                              </p:par>
                              <p:par>
                                <p:cTn id="13" presetID="0" presetClass="path" presetSubtype="0" fill="hold" nodeType="withEffect">
                                  <p:stCondLst>
                                    <p:cond delay="0"/>
                                  </p:stCondLst>
                                  <p:childTnLst>
                                    <p:animMotion origin="layout" path="M 0.00221 0.00926 C 0.00208 0.00718 0.00208 0.00533 0.00182 0.00324 C 0.0013 -0.00254 0.00143 0.00255 0.00104 -0.00115 C 0.00091 -0.00185 0.00091 -0.00277 0.00078 -0.00347 C 0.00065 -0.00416 0.00052 -0.00463 0.00026 -0.00509 C -0.00026 -0.00555 -0.00144 -0.00602 -0.00144 -0.00602 L -0.00391 -0.00902 C -0.00417 -0.00926 -0.00443 -0.00972 -0.00469 -0.00995 C -0.00664 -0.01111 -0.0043 -0.00949 -0.00664 -0.01134 C -0.00691 -0.01157 -0.0073 -0.01157 -0.00756 -0.0118 C -0.00808 -0.0125 -0.00847 -0.01342 -0.00912 -0.01389 L -0.01081 -0.01481 C -0.01107 -0.01504 -0.01133 -0.01504 -0.01159 -0.01527 C -0.01276 -0.01643 -0.01211 -0.01597 -0.01329 -0.01666 C -0.0142 -0.01782 -0.01472 -0.01828 -0.01524 -0.0206 C -0.01537 -0.02176 -0.0155 -0.02291 -0.01602 -0.02361 C -0.01654 -0.0243 -0.01719 -0.025 -0.01771 -0.02546 L -0.01849 -0.02662 C -0.01875 -0.02685 -0.01901 -0.02731 -0.01941 -0.02754 C -0.02149 -0.0287 -0.01888 -0.02708 -0.02097 -0.02893 C -0.02123 -0.02916 -0.02162 -0.02916 -0.02188 -0.0294 C -0.0224 -0.03009 -0.02344 -0.03148 -0.02344 -0.03148 C -0.02357 -0.03194 -0.0237 -0.0324 -0.0237 -0.03287 C -0.0237 -0.03541 -0.02305 -0.03402 -0.02214 -0.03379 C -0.02175 -0.03379 -0.02136 -0.03379 -0.02097 -0.03379 " pathEditMode="relative" ptsTypes="AAAAAAAAAAAAAAAAAAAAAAAAA">
                                      <p:cBhvr>
                                        <p:cTn id="14" dur="20000" fill="hold"/>
                                        <p:tgtEl>
                                          <p:spTgt spid="103"/>
                                        </p:tgtEl>
                                        <p:attrNameLst>
                                          <p:attrName>ppt_x</p:attrName>
                                          <p:attrName>ppt_y</p:attrName>
                                        </p:attrNameLst>
                                      </p:cBhvr>
                                    </p:animMotion>
                                  </p:childTnLst>
                                </p:cTn>
                              </p:par>
                              <p:par>
                                <p:cTn id="15" presetID="0" presetClass="path" presetSubtype="0" fill="hold" nodeType="withEffect">
                                  <p:stCondLst>
                                    <p:cond delay="0"/>
                                  </p:stCondLst>
                                  <p:childTnLst>
                                    <p:animMotion origin="layout" path="M -0.00104 0.0044 C -0.00169 0.00371 -0.00234 0.00301 -0.00299 0.00232 C -0.00364 0.00162 -0.00403 0.00047 -0.00468 0.00023 L -0.00638 -0.00023 C -0.00807 -0.00115 -0.00742 -0.00115 -0.01041 -0.00023 C -0.01041 -0.00023 -0.0125 0.00116 -0.01289 0.00139 L -0.01458 0.00232 C -0.01484 0.00255 -0.0151 0.00278 -0.01549 0.00278 C -0.01575 0.00301 -0.01614 0.00301 -0.01653 0.00324 C -0.01927 0.00463 -0.01497 0.00278 -0.01849 0.0044 C -0.01953 0.00417 -0.0207 0.00417 -0.02174 0.00371 C -0.02239 0.00371 -0.02343 0.00278 -0.02343 0.00278 C -0.02369 0.00232 -0.02396 0.00185 -0.02422 0.00139 C -0.02448 0.00093 -0.02487 0.00093 -0.02513 0.00023 C -0.02539 -0.00046 -0.02513 -0.00208 -0.02565 -0.00254 C -0.02591 -0.00301 -0.02617 -0.00347 -0.02643 -0.0037 C -0.02825 -0.00509 -0.0289 -0.00463 -0.03112 -0.00509 L -0.03359 -0.00648 C -0.03385 -0.00671 -0.03411 -0.00694 -0.0345 -0.00694 L -0.03724 -0.00764 C -0.03763 -0.00856 -0.03763 -0.01018 -0.03828 -0.01041 L -0.03906 -0.01088 " pathEditMode="relative" ptsTypes="AAAAAAAAAAAAAAAAAAAAAA">
                                      <p:cBhvr>
                                        <p:cTn id="16" dur="20000" fill="hold"/>
                                        <p:tgtEl>
                                          <p:spTgt spid="12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hteck 122">
            <a:extLst>
              <a:ext uri="{FF2B5EF4-FFF2-40B4-BE49-F238E27FC236}">
                <a16:creationId xmlns:a16="http://schemas.microsoft.com/office/drawing/2014/main" id="{4E0440BE-EC92-DB41-8549-0DF26D7B20DE}"/>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49947" y="3802813"/>
            <a:ext cx="300000" cy="300000"/>
          </a:xfrm>
          <a:prstGeom prst="rect">
            <a:avLst/>
          </a:prstGeom>
        </p:spPr>
      </p:pic>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10884" y="3841158"/>
            <a:ext cx="376267" cy="376267"/>
          </a:xfrm>
          <a:prstGeom prst="rect">
            <a:avLst/>
          </a:prstGeom>
        </p:spPr>
      </p:pic>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22"/>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23"/>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2644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932674" y="3824450"/>
            <a:ext cx="355635" cy="355635"/>
          </a:xfrm>
          <a:prstGeom prst="rect">
            <a:avLst/>
          </a:prstGeom>
        </p:spPr>
      </p:pic>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A2795E7B-9C09-E249-A3C8-774EF87601FD}"/>
              </a:ext>
            </a:extLst>
          </p:cNvPr>
          <p:cNvSpPr/>
          <p:nvPr/>
        </p:nvSpPr>
        <p:spPr>
          <a:xfrm>
            <a:off x="0" y="-172707"/>
            <a:ext cx="12192000" cy="7010400"/>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36">
            <a:extLst>
              <a:ext uri="{BEBA8EAE-BF5A-486C-A8C5-ECC9F3942E4B}">
                <a14:imgProps xmlns:a14="http://schemas.microsoft.com/office/drawing/2010/main">
                  <a14:imgLayer r:embed="rId37">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6898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hteck 127">
            <a:extLst>
              <a:ext uri="{FF2B5EF4-FFF2-40B4-BE49-F238E27FC236}">
                <a16:creationId xmlns:a16="http://schemas.microsoft.com/office/drawing/2014/main" id="{008EE8E4-2F8E-E744-87B5-9C51F7216404}"/>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49947" y="3802813"/>
            <a:ext cx="300000" cy="300000"/>
          </a:xfrm>
          <a:prstGeom prst="rect">
            <a:avLst/>
          </a:prstGeom>
        </p:spPr>
      </p:pic>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0884" y="3841158"/>
            <a:ext cx="376267" cy="376267"/>
          </a:xfrm>
          <a:prstGeom prst="rect">
            <a:avLst/>
          </a:prstGeom>
        </p:spPr>
      </p:pic>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24"/>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25"/>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2644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932674" y="3824450"/>
            <a:ext cx="355635" cy="355635"/>
          </a:xfrm>
          <a:prstGeom prst="rect">
            <a:avLst/>
          </a:prstGeom>
        </p:spPr>
      </p:pic>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A2795E7B-9C09-E249-A3C8-774EF87601FD}"/>
              </a:ext>
            </a:extLst>
          </p:cNvPr>
          <p:cNvSpPr/>
          <p:nvPr/>
        </p:nvSpPr>
        <p:spPr>
          <a:xfrm>
            <a:off x="-14580" y="-171746"/>
            <a:ext cx="12192000" cy="7010400"/>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439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hteck 122">
            <a:extLst>
              <a:ext uri="{FF2B5EF4-FFF2-40B4-BE49-F238E27FC236}">
                <a16:creationId xmlns:a16="http://schemas.microsoft.com/office/drawing/2014/main" id="{EA2AFA38-2B1C-384B-BAF7-E1D3D098CD68}"/>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49947" y="3802813"/>
            <a:ext cx="300000" cy="300000"/>
          </a:xfrm>
          <a:prstGeom prst="rect">
            <a:avLst/>
          </a:prstGeom>
        </p:spPr>
      </p:pic>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20"/>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2644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932674" y="3824450"/>
            <a:ext cx="355635" cy="355635"/>
          </a:xfrm>
          <a:prstGeom prst="rect">
            <a:avLst/>
          </a:prstGeom>
        </p:spPr>
      </p:pic>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33">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A2795E7B-9C09-E249-A3C8-774EF87601FD}"/>
              </a:ext>
            </a:extLst>
          </p:cNvPr>
          <p:cNvSpPr/>
          <p:nvPr/>
        </p:nvSpPr>
        <p:spPr>
          <a:xfrm>
            <a:off x="0" y="-172707"/>
            <a:ext cx="12192000" cy="7010400"/>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210884" y="3841158"/>
            <a:ext cx="376267" cy="376267"/>
          </a:xfrm>
          <a:prstGeom prst="rect">
            <a:avLst/>
          </a:prstGeom>
        </p:spPr>
      </p:pic>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41"/>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0097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hteck 122">
            <a:extLst>
              <a:ext uri="{FF2B5EF4-FFF2-40B4-BE49-F238E27FC236}">
                <a16:creationId xmlns:a16="http://schemas.microsoft.com/office/drawing/2014/main" id="{362C393A-C55F-0F4E-B835-6F717225F733}"/>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32674" y="3824450"/>
            <a:ext cx="355635" cy="355635"/>
          </a:xfrm>
          <a:prstGeom prst="rect">
            <a:avLst/>
          </a:prstGeom>
        </p:spPr>
      </p:pic>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28">
            <a:extLst>
              <a:ext uri="{BEBA8EAE-BF5A-486C-A8C5-ECC9F3942E4B}">
                <a14:imgProps xmlns:a14="http://schemas.microsoft.com/office/drawing/2010/main">
                  <a14:imgLayer r:embed="rId29">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10884" y="3841158"/>
            <a:ext cx="376267" cy="376267"/>
          </a:xfrm>
          <a:prstGeom prst="rect">
            <a:avLst/>
          </a:prstGeom>
        </p:spPr>
      </p:pic>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36"/>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A2795E7B-9C09-E249-A3C8-774EF87601FD}"/>
              </a:ext>
            </a:extLst>
          </p:cNvPr>
          <p:cNvSpPr/>
          <p:nvPr/>
        </p:nvSpPr>
        <p:spPr>
          <a:xfrm>
            <a:off x="-10222" y="-150283"/>
            <a:ext cx="12192000" cy="7010400"/>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049947" y="3802813"/>
            <a:ext cx="300000" cy="300000"/>
          </a:xfrm>
          <a:prstGeom prst="rect">
            <a:avLst/>
          </a:prstGeom>
        </p:spPr>
      </p:pic>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41"/>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122A4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665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152400"/>
            <a:ext cx="12192000" cy="7010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abgerundete Ecken 71">
            <a:extLst>
              <a:ext uri="{FF2B5EF4-FFF2-40B4-BE49-F238E27FC236}">
                <a16:creationId xmlns:a16="http://schemas.microsoft.com/office/drawing/2014/main" id="{1672B93A-8793-49F0-B87C-751C4AD76A0C}"/>
              </a:ext>
            </a:extLst>
          </p:cNvPr>
          <p:cNvSpPr/>
          <p:nvPr/>
        </p:nvSpPr>
        <p:spPr>
          <a:xfrm>
            <a:off x="106759" y="722150"/>
            <a:ext cx="4906528" cy="3039097"/>
          </a:xfrm>
          <a:prstGeom prst="roundRect">
            <a:avLst>
              <a:gd name="adj" fmla="val 1012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a:p>
            <a:pPr algn="ctr"/>
            <a:endParaRPr lang="de-DE">
              <a:latin typeface="Helvetica" panose="020B0604020202020204" pitchFamily="34" charset="0"/>
              <a:cs typeface="Helvetica" panose="020B0604020202020204" pitchFamily="34" charset="0"/>
            </a:endParaRPr>
          </a:p>
        </p:txBody>
      </p:sp>
      <p:sp>
        <p:nvSpPr>
          <p:cNvPr id="151" name="Rechteck: abgerundete Ecken 150">
            <a:extLst>
              <a:ext uri="{FF2B5EF4-FFF2-40B4-BE49-F238E27FC236}">
                <a16:creationId xmlns:a16="http://schemas.microsoft.com/office/drawing/2014/main" id="{21D71E80-6F1F-4521-8929-C9F87298DA44}"/>
              </a:ext>
            </a:extLst>
          </p:cNvPr>
          <p:cNvSpPr/>
          <p:nvPr/>
        </p:nvSpPr>
        <p:spPr>
          <a:xfrm>
            <a:off x="213862" y="1447550"/>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54" name="Rechteck: abgerundete Ecken 53">
            <a:extLst>
              <a:ext uri="{FF2B5EF4-FFF2-40B4-BE49-F238E27FC236}">
                <a16:creationId xmlns:a16="http://schemas.microsoft.com/office/drawing/2014/main" id="{03933955-A08F-41A6-AF22-0383763FCBF2}"/>
              </a:ext>
            </a:extLst>
          </p:cNvPr>
          <p:cNvSpPr/>
          <p:nvPr/>
        </p:nvSpPr>
        <p:spPr>
          <a:xfrm>
            <a:off x="5124663" y="43662"/>
            <a:ext cx="4678654" cy="3649541"/>
          </a:xfrm>
          <a:prstGeom prst="roundRect">
            <a:avLst>
              <a:gd name="adj" fmla="val 9454"/>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36" name="Rechteck: obere Ecken abgerundet 135">
            <a:extLst>
              <a:ext uri="{FF2B5EF4-FFF2-40B4-BE49-F238E27FC236}">
                <a16:creationId xmlns:a16="http://schemas.microsoft.com/office/drawing/2014/main" id="{7B6F994D-372D-4305-AF09-E1A4913FF760}"/>
              </a:ext>
            </a:extLst>
          </p:cNvPr>
          <p:cNvSpPr/>
          <p:nvPr/>
        </p:nvSpPr>
        <p:spPr>
          <a:xfrm>
            <a:off x="5116552" y="19346"/>
            <a:ext cx="46875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80811" y="12894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1025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56" name="Gleichschenkliges Dreieck 55">
            <a:extLst>
              <a:ext uri="{FF2B5EF4-FFF2-40B4-BE49-F238E27FC236}">
                <a16:creationId xmlns:a16="http://schemas.microsoft.com/office/drawing/2014/main" id="{374252B7-C4B2-48FE-A27E-CA3D9DC326A5}"/>
              </a:ext>
            </a:extLst>
          </p:cNvPr>
          <p:cNvSpPr/>
          <p:nvPr/>
        </p:nvSpPr>
        <p:spPr>
          <a:xfrm rot="5400000">
            <a:off x="9329677" y="3406581"/>
            <a:ext cx="154076" cy="13766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rgbClr val="002060"/>
              </a:solidFill>
            </a:endParaRPr>
          </a:p>
        </p:txBody>
      </p:sp>
      <p:sp>
        <p:nvSpPr>
          <p:cNvPr id="57" name="Textfeld 56">
            <a:extLst>
              <a:ext uri="{FF2B5EF4-FFF2-40B4-BE49-F238E27FC236}">
                <a16:creationId xmlns:a16="http://schemas.microsoft.com/office/drawing/2014/main" id="{0CB7389C-A23C-454D-B6A3-43C402E4435E}"/>
              </a:ext>
            </a:extLst>
          </p:cNvPr>
          <p:cNvSpPr txBox="1"/>
          <p:nvPr/>
        </p:nvSpPr>
        <p:spPr>
          <a:xfrm>
            <a:off x="8628827" y="3347471"/>
            <a:ext cx="841422"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Next Day</a:t>
            </a:r>
          </a:p>
        </p:txBody>
      </p:sp>
      <p:sp>
        <p:nvSpPr>
          <p:cNvPr id="63" name="Rechteck: abgerundete Ecken 62">
            <a:extLst>
              <a:ext uri="{FF2B5EF4-FFF2-40B4-BE49-F238E27FC236}">
                <a16:creationId xmlns:a16="http://schemas.microsoft.com/office/drawing/2014/main" id="{832ADF3A-2E12-4552-ADB1-E2226F9FF1E3}"/>
              </a:ext>
            </a:extLst>
          </p:cNvPr>
          <p:cNvSpPr/>
          <p:nvPr/>
        </p:nvSpPr>
        <p:spPr>
          <a:xfrm>
            <a:off x="5337204" y="849671"/>
            <a:ext cx="4155802" cy="311158"/>
          </a:xfrm>
          <a:prstGeom prst="roundRect">
            <a:avLst/>
          </a:prstGeom>
          <a:solidFill>
            <a:srgbClr val="002060">
              <a:alpha val="25000"/>
            </a:srgb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aphicFrame>
        <p:nvGraphicFramePr>
          <p:cNvPr id="71" name="Tabelle 4">
            <a:extLst>
              <a:ext uri="{FF2B5EF4-FFF2-40B4-BE49-F238E27FC236}">
                <a16:creationId xmlns:a16="http://schemas.microsoft.com/office/drawing/2014/main" id="{986FCF31-8A3B-487A-8D3E-E595D6E0873C}"/>
              </a:ext>
            </a:extLst>
          </p:cNvPr>
          <p:cNvGraphicFramePr>
            <a:graphicFrameLocks noGrp="1"/>
          </p:cNvGraphicFramePr>
          <p:nvPr/>
        </p:nvGraphicFramePr>
        <p:xfrm>
          <a:off x="5363507" y="70282"/>
          <a:ext cx="4155801" cy="3116580"/>
        </p:xfrm>
        <a:graphic>
          <a:graphicData uri="http://schemas.openxmlformats.org/drawingml/2006/table">
            <a:tbl>
              <a:tblPr firstRow="1" bandRow="1">
                <a:tableStyleId>{5C22544A-7EE6-4342-B048-85BDC9FD1C3A}</a:tableStyleId>
              </a:tblPr>
              <a:tblGrid>
                <a:gridCol w="1385267">
                  <a:extLst>
                    <a:ext uri="{9D8B030D-6E8A-4147-A177-3AD203B41FA5}">
                      <a16:colId xmlns:a16="http://schemas.microsoft.com/office/drawing/2014/main" val="2991778072"/>
                    </a:ext>
                  </a:extLst>
                </a:gridCol>
                <a:gridCol w="1385267">
                  <a:extLst>
                    <a:ext uri="{9D8B030D-6E8A-4147-A177-3AD203B41FA5}">
                      <a16:colId xmlns:a16="http://schemas.microsoft.com/office/drawing/2014/main" val="293995898"/>
                    </a:ext>
                  </a:extLst>
                </a:gridCol>
                <a:gridCol w="1385267">
                  <a:extLst>
                    <a:ext uri="{9D8B030D-6E8A-4147-A177-3AD203B41FA5}">
                      <a16:colId xmlns:a16="http://schemas.microsoft.com/office/drawing/2014/main" val="2386529089"/>
                    </a:ext>
                  </a:extLst>
                </a:gridCol>
              </a:tblGrid>
              <a:tr h="333173">
                <a:tc>
                  <a:txBody>
                    <a:bodyPr/>
                    <a:lstStyle/>
                    <a:p>
                      <a:pPr algn="ctr"/>
                      <a:r>
                        <a:rPr lang="de-DE" sz="1200" err="1">
                          <a:solidFill>
                            <a:schemeClr val="bg1">
                              <a:lumMod val="95000"/>
                            </a:schemeClr>
                          </a:solidFill>
                          <a:latin typeface="Helvetica" panose="020B0604020202020204" pitchFamily="34" charset="0"/>
                          <a:cs typeface="Helvetica" panose="020B0604020202020204" pitchFamily="34" charset="0"/>
                        </a:rPr>
                        <a:t>Vessel</a:t>
                      </a:r>
                      <a:r>
                        <a:rPr lang="de-DE" sz="1200">
                          <a:solidFill>
                            <a:schemeClr val="bg1">
                              <a:lumMod val="95000"/>
                            </a:schemeClr>
                          </a:solidFill>
                          <a:latin typeface="Helvetica" panose="020B0604020202020204" pitchFamily="34" charset="0"/>
                          <a:cs typeface="Helvetica" panose="020B0604020202020204" pitchFamily="34" charset="0"/>
                        </a:rPr>
                        <a:t> Na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ETA</a:t>
                      </a:r>
                    </a:p>
                    <a:p>
                      <a:pPr algn="ctr"/>
                      <a:r>
                        <a:rPr lang="de-DE" sz="1050" b="0">
                          <a:solidFill>
                            <a:schemeClr val="bg1">
                              <a:lumMod val="95000"/>
                            </a:schemeClr>
                          </a:solidFill>
                          <a:latin typeface="Helvetica" panose="020B0604020202020204" pitchFamily="34" charset="0"/>
                          <a:cs typeface="Helvetica" panose="020B0604020202020204" pitchFamily="34" charset="0"/>
                        </a:rPr>
                        <a:t>2021-07-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a:solidFill>
                            <a:schemeClr val="bg1">
                              <a:lumMod val="95000"/>
                            </a:schemeClr>
                          </a:solidFill>
                          <a:latin typeface="Helvetica" panose="020B0604020202020204" pitchFamily="34" charset="0"/>
                          <a:cs typeface="Helvetica" panose="020B0604020202020204" pitchFamily="34" charset="0"/>
                        </a:rPr>
                        <a:t>Change </a:t>
                      </a:r>
                      <a:r>
                        <a:rPr lang="de-DE" sz="1200" err="1">
                          <a:solidFill>
                            <a:schemeClr val="bg1">
                              <a:lumMod val="95000"/>
                            </a:schemeClr>
                          </a:solidFill>
                          <a:latin typeface="Helvetica" panose="020B0604020202020204" pitchFamily="34" charset="0"/>
                          <a:cs typeface="Helvetica" panose="020B0604020202020204" pitchFamily="34" charset="0"/>
                        </a:rPr>
                        <a:t>of</a:t>
                      </a:r>
                      <a:r>
                        <a:rPr lang="de-DE" sz="1200">
                          <a:solidFill>
                            <a:schemeClr val="bg1">
                              <a:lumMod val="95000"/>
                            </a:schemeClr>
                          </a:solidFill>
                          <a:latin typeface="Helvetica" panose="020B0604020202020204" pitchFamily="34" charset="0"/>
                          <a:cs typeface="Helvetica" panose="020B0604020202020204" pitchFamily="34" charset="0"/>
                        </a:rPr>
                        <a:t> E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14822"/>
                  </a:ext>
                </a:extLst>
              </a:tr>
              <a:tr h="298712">
                <a:tc>
                  <a:txBody>
                    <a:bodyPr/>
                    <a:lstStyle/>
                    <a:p>
                      <a:pPr algn="ctr"/>
                      <a:r>
                        <a:rPr lang="de-DE" sz="1200" err="1">
                          <a:solidFill>
                            <a:schemeClr val="tx1"/>
                          </a:solidFill>
                          <a:latin typeface="Helvetica" panose="020B0604020202020204" pitchFamily="34" charset="0"/>
                          <a:cs typeface="Helvetica" panose="020B0604020202020204" pitchFamily="34" charset="0"/>
                        </a:rPr>
                        <a:t>Vessel</a:t>
                      </a:r>
                      <a:r>
                        <a:rPr lang="de-DE" sz="1200">
                          <a:solidFill>
                            <a:schemeClr val="tx1"/>
                          </a:solidFill>
                          <a:latin typeface="Helvetica" panose="020B0604020202020204" pitchFamily="34" charset="0"/>
                          <a:cs typeface="Helvetica" panose="020B0604020202020204" pitchFamily="34" charset="0"/>
                        </a:rPr>
                        <a:t>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0: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1:5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0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06768"/>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2:30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8805326"/>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3: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667689"/>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5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4: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348951"/>
                  </a:ext>
                </a:extLst>
              </a:tr>
              <a:tr h="298712">
                <a:tc>
                  <a:txBody>
                    <a:bodyPr/>
                    <a:lstStyle/>
                    <a:p>
                      <a:pPr marL="0" algn="ctr" defTabSz="914400" rtl="0" eaLnBrk="1" latinLnBrk="0" hangingPunct="1"/>
                      <a:r>
                        <a:rPr lang="de-DE" sz="1200" kern="1200" err="1">
                          <a:solidFill>
                            <a:schemeClr val="tx1"/>
                          </a:solidFill>
                          <a:latin typeface="Helvetica" panose="020B0604020202020204" pitchFamily="34" charset="0"/>
                          <a:ea typeface="+mn-ea"/>
                          <a:cs typeface="Helvetica" panose="020B0604020202020204" pitchFamily="34" charset="0"/>
                        </a:rPr>
                        <a:t>Vessel</a:t>
                      </a:r>
                      <a:r>
                        <a:rPr lang="de-DE" sz="1200" kern="1200">
                          <a:solidFill>
                            <a:schemeClr val="tx1"/>
                          </a:solidFill>
                          <a:latin typeface="Helvetica" panose="020B0604020202020204" pitchFamily="34" charset="0"/>
                          <a:ea typeface="+mn-ea"/>
                          <a:cs typeface="Helvetica" panose="020B0604020202020204" pitchFamily="34" charset="0"/>
                        </a:rPr>
                        <a:t>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kern="1200">
                          <a:solidFill>
                            <a:schemeClr val="tx1"/>
                          </a:solidFill>
                          <a:latin typeface="Helvetica" panose="020B0604020202020204" pitchFamily="34" charset="0"/>
                          <a:ea typeface="+mn-ea"/>
                          <a:cs typeface="Helvetica" panose="020B0604020202020204" pitchFamily="34" charset="0"/>
                        </a:rPr>
                        <a:t>05:25 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600" kern="1200">
                        <a:solidFill>
                          <a:schemeClr val="tx1"/>
                        </a:solidFill>
                        <a:latin typeface="Helvetica" panose="020B0604020202020204" pitchFamily="34" charset="0"/>
                        <a:ea typeface="+mn-ea"/>
                        <a:cs typeface="Helvetica"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77208"/>
                  </a:ext>
                </a:extLst>
              </a:tr>
            </a:tbl>
          </a:graphicData>
        </a:graphic>
      </p:graphicFrame>
      <p:sp>
        <p:nvSpPr>
          <p:cNvPr id="76" name="Textfeld 75">
            <a:extLst>
              <a:ext uri="{FF2B5EF4-FFF2-40B4-BE49-F238E27FC236}">
                <a16:creationId xmlns:a16="http://schemas.microsoft.com/office/drawing/2014/main" id="{EBA12192-A476-484C-A1AB-748346DCD4C4}"/>
              </a:ext>
            </a:extLst>
          </p:cNvPr>
          <p:cNvSpPr txBox="1"/>
          <p:nvPr/>
        </p:nvSpPr>
        <p:spPr>
          <a:xfrm>
            <a:off x="934130" y="721443"/>
            <a:ext cx="3353064" cy="400110"/>
          </a:xfrm>
          <a:prstGeom prst="rect">
            <a:avLst/>
          </a:prstGeom>
          <a:noFill/>
        </p:spPr>
        <p:txBody>
          <a:bodyPr wrap="square" rtlCol="0">
            <a:spAutoFit/>
          </a:bodyPr>
          <a:lstStyle/>
          <a:p>
            <a:r>
              <a:rPr lang="de-DE" sz="2000" u="sng">
                <a:solidFill>
                  <a:schemeClr val="bg1">
                    <a:lumMod val="75000"/>
                  </a:schemeClr>
                </a:solidFill>
                <a:latin typeface="Helvetica" panose="020B0604020202020204" pitchFamily="34" charset="0"/>
                <a:cs typeface="Helvetica" panose="020B0604020202020204" pitchFamily="34" charset="0"/>
              </a:rPr>
              <a:t>ALERT INFORMATION</a:t>
            </a:r>
          </a:p>
        </p:txBody>
      </p:sp>
      <p:sp>
        <p:nvSpPr>
          <p:cNvPr id="78" name="Pfeil: nach rechts 77">
            <a:extLst>
              <a:ext uri="{FF2B5EF4-FFF2-40B4-BE49-F238E27FC236}">
                <a16:creationId xmlns:a16="http://schemas.microsoft.com/office/drawing/2014/main" id="{9DC535BA-33A8-4B63-B517-4BAA968C0B75}"/>
              </a:ext>
            </a:extLst>
          </p:cNvPr>
          <p:cNvSpPr/>
          <p:nvPr/>
        </p:nvSpPr>
        <p:spPr>
          <a:xfrm rot="16200000">
            <a:off x="8683499" y="918437"/>
            <a:ext cx="204882" cy="192648"/>
          </a:xfrm>
          <a:prstGeom prst="rightArrow">
            <a:avLst/>
          </a:prstGeom>
          <a:solidFill>
            <a:srgbClr val="8F2727"/>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2" name="Pfeil: nach rechts 81">
            <a:extLst>
              <a:ext uri="{FF2B5EF4-FFF2-40B4-BE49-F238E27FC236}">
                <a16:creationId xmlns:a16="http://schemas.microsoft.com/office/drawing/2014/main" id="{90E17B92-C2AE-4AE6-AEBD-2A827989F0B5}"/>
              </a:ext>
            </a:extLst>
          </p:cNvPr>
          <p:cNvSpPr/>
          <p:nvPr/>
        </p:nvSpPr>
        <p:spPr>
          <a:xfrm rot="19384889">
            <a:off x="8681029" y="2584174"/>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3" name="Pfeil: nach rechts 82">
            <a:extLst>
              <a:ext uri="{FF2B5EF4-FFF2-40B4-BE49-F238E27FC236}">
                <a16:creationId xmlns:a16="http://schemas.microsoft.com/office/drawing/2014/main" id="{DFF4FFAE-9BEE-4B18-9887-08B48C34DEF5}"/>
              </a:ext>
            </a:extLst>
          </p:cNvPr>
          <p:cNvSpPr/>
          <p:nvPr/>
        </p:nvSpPr>
        <p:spPr>
          <a:xfrm rot="2445112">
            <a:off x="8680447" y="2982362"/>
            <a:ext cx="209822" cy="188112"/>
          </a:xfrm>
          <a:prstGeom prst="rightArrow">
            <a:avLst/>
          </a:prstGeom>
          <a:solidFill>
            <a:srgbClr val="FFC0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6" name="Minuszeichen 85">
            <a:extLst>
              <a:ext uri="{FF2B5EF4-FFF2-40B4-BE49-F238E27FC236}">
                <a16:creationId xmlns:a16="http://schemas.microsoft.com/office/drawing/2014/main" id="{4729847D-3D74-45EE-BC99-C33075C52160}"/>
              </a:ext>
            </a:extLst>
          </p:cNvPr>
          <p:cNvSpPr/>
          <p:nvPr/>
        </p:nvSpPr>
        <p:spPr>
          <a:xfrm>
            <a:off x="8643586" y="2233536"/>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8" name="Minuszeichen 87">
            <a:extLst>
              <a:ext uri="{FF2B5EF4-FFF2-40B4-BE49-F238E27FC236}">
                <a16:creationId xmlns:a16="http://schemas.microsoft.com/office/drawing/2014/main" id="{746D5C5F-CD78-4B7D-98A7-B6C5A9533FC0}"/>
              </a:ext>
            </a:extLst>
          </p:cNvPr>
          <p:cNvSpPr/>
          <p:nvPr/>
        </p:nvSpPr>
        <p:spPr>
          <a:xfrm>
            <a:off x="8643586" y="1882898"/>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0" name="Minuszeichen 89">
            <a:extLst>
              <a:ext uri="{FF2B5EF4-FFF2-40B4-BE49-F238E27FC236}">
                <a16:creationId xmlns:a16="http://schemas.microsoft.com/office/drawing/2014/main" id="{7265909F-3F28-47B1-A120-9D5685724A4E}"/>
              </a:ext>
            </a:extLst>
          </p:cNvPr>
          <p:cNvSpPr/>
          <p:nvPr/>
        </p:nvSpPr>
        <p:spPr>
          <a:xfrm>
            <a:off x="8643586" y="153226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3" name="Rechteck: abgerundete Ecken 92">
            <a:extLst>
              <a:ext uri="{FF2B5EF4-FFF2-40B4-BE49-F238E27FC236}">
                <a16:creationId xmlns:a16="http://schemas.microsoft.com/office/drawing/2014/main" id="{3D5DCAD0-AF2B-45D3-BCEC-C1825B76FC12}"/>
              </a:ext>
            </a:extLst>
          </p:cNvPr>
          <p:cNvSpPr/>
          <p:nvPr/>
        </p:nvSpPr>
        <p:spPr>
          <a:xfrm>
            <a:off x="9572895" y="644944"/>
            <a:ext cx="145189" cy="2679954"/>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6" name="Rechteck: abgerundete Ecken 95">
            <a:extLst>
              <a:ext uri="{FF2B5EF4-FFF2-40B4-BE49-F238E27FC236}">
                <a16:creationId xmlns:a16="http://schemas.microsoft.com/office/drawing/2014/main" id="{D158747E-7C42-4E57-9D34-7674F2E3D6C9}"/>
              </a:ext>
            </a:extLst>
          </p:cNvPr>
          <p:cNvSpPr/>
          <p:nvPr/>
        </p:nvSpPr>
        <p:spPr>
          <a:xfrm>
            <a:off x="9572895" y="644944"/>
            <a:ext cx="145189" cy="123197"/>
          </a:xfrm>
          <a:prstGeom prst="roundRect">
            <a:avLst>
              <a:gd name="adj" fmla="val 12833"/>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cxnSp>
        <p:nvCxnSpPr>
          <p:cNvPr id="107" name="Gerader Verbinder 106">
            <a:extLst>
              <a:ext uri="{FF2B5EF4-FFF2-40B4-BE49-F238E27FC236}">
                <a16:creationId xmlns:a16="http://schemas.microsoft.com/office/drawing/2014/main" id="{9876DF1C-9C6D-4AB6-AC40-CC6902BB1A4F}"/>
              </a:ext>
            </a:extLst>
          </p:cNvPr>
          <p:cNvCxnSpPr>
            <a:cxnSpLocks/>
          </p:cNvCxnSpPr>
          <p:nvPr/>
        </p:nvCxnSpPr>
        <p:spPr>
          <a:xfrm flipV="1">
            <a:off x="9585982" y="394081"/>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E5FF5EBA-260A-4C50-88AC-75467622B38F}"/>
              </a:ext>
            </a:extLst>
          </p:cNvPr>
          <p:cNvCxnSpPr>
            <a:cxnSpLocks/>
          </p:cNvCxnSpPr>
          <p:nvPr/>
        </p:nvCxnSpPr>
        <p:spPr>
          <a:xfrm flipH="1" flipV="1">
            <a:off x="9625823" y="824430"/>
            <a:ext cx="8306" cy="730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39F1D8BC-9FCA-4CDD-9FAB-FAAC6079B948}"/>
              </a:ext>
            </a:extLst>
          </p:cNvPr>
          <p:cNvGrpSpPr/>
          <p:nvPr/>
        </p:nvGrpSpPr>
        <p:grpSpPr>
          <a:xfrm>
            <a:off x="9603422" y="684985"/>
            <a:ext cx="82267" cy="45508"/>
            <a:chOff x="12489101" y="2576976"/>
            <a:chExt cx="82267" cy="45508"/>
          </a:xfrm>
        </p:grpSpPr>
        <p:cxnSp>
          <p:nvCxnSpPr>
            <p:cNvPr id="105" name="Gerader Verbinder 104">
              <a:extLst>
                <a:ext uri="{FF2B5EF4-FFF2-40B4-BE49-F238E27FC236}">
                  <a16:creationId xmlns:a16="http://schemas.microsoft.com/office/drawing/2014/main" id="{6EF9AECF-C296-450A-885D-59A9DC27DE62}"/>
                </a:ext>
              </a:extLst>
            </p:cNvPr>
            <p:cNvCxnSpPr>
              <a:cxnSpLocks/>
            </p:cNvCxnSpPr>
            <p:nvPr/>
          </p:nvCxnSpPr>
          <p:spPr>
            <a:xfrm flipH="1" flipV="1">
              <a:off x="12539009" y="2576976"/>
              <a:ext cx="32359" cy="3716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E7B37F5-2E8A-4E95-80BE-28E5A035996A}"/>
                </a:ext>
              </a:extLst>
            </p:cNvPr>
            <p:cNvCxnSpPr>
              <a:cxnSpLocks/>
            </p:cNvCxnSpPr>
            <p:nvPr/>
          </p:nvCxnSpPr>
          <p:spPr>
            <a:xfrm flipV="1">
              <a:off x="12489101" y="2585357"/>
              <a:ext cx="42645" cy="3712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4" name="Rechteck: abgerundete Ecken 103">
            <a:extLst>
              <a:ext uri="{FF2B5EF4-FFF2-40B4-BE49-F238E27FC236}">
                <a16:creationId xmlns:a16="http://schemas.microsoft.com/office/drawing/2014/main" id="{622EFDDC-0258-466F-9C6B-16F61D6EF56A}"/>
              </a:ext>
            </a:extLst>
          </p:cNvPr>
          <p:cNvSpPr/>
          <p:nvPr/>
        </p:nvSpPr>
        <p:spPr>
          <a:xfrm>
            <a:off x="9588364" y="1351230"/>
            <a:ext cx="108000" cy="1256608"/>
          </a:xfrm>
          <a:prstGeom prst="roundRect">
            <a:avLst>
              <a:gd name="adj" fmla="val 1283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9" name="Minuszeichen 108">
            <a:extLst>
              <a:ext uri="{FF2B5EF4-FFF2-40B4-BE49-F238E27FC236}">
                <a16:creationId xmlns:a16="http://schemas.microsoft.com/office/drawing/2014/main" id="{D690BF86-A54A-4257-9513-ECD26EA58078}"/>
              </a:ext>
            </a:extLst>
          </p:cNvPr>
          <p:cNvSpPr/>
          <p:nvPr/>
        </p:nvSpPr>
        <p:spPr>
          <a:xfrm>
            <a:off x="8643586" y="1201942"/>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10" name="Minuszeichen 109">
            <a:extLst>
              <a:ext uri="{FF2B5EF4-FFF2-40B4-BE49-F238E27FC236}">
                <a16:creationId xmlns:a16="http://schemas.microsoft.com/office/drawing/2014/main" id="{4E2C55B7-2267-482A-B326-7FED9C0A8535}"/>
              </a:ext>
            </a:extLst>
          </p:cNvPr>
          <p:cNvSpPr/>
          <p:nvPr/>
        </p:nvSpPr>
        <p:spPr>
          <a:xfrm>
            <a:off x="8643586" y="551710"/>
            <a:ext cx="284708" cy="276246"/>
          </a:xfrm>
          <a:prstGeom prst="mathMinus">
            <a:avLst/>
          </a:prstGeom>
          <a:solidFill>
            <a:srgbClr val="92D05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2" name="Gruppieren 1">
            <a:extLst>
              <a:ext uri="{FF2B5EF4-FFF2-40B4-BE49-F238E27FC236}">
                <a16:creationId xmlns:a16="http://schemas.microsoft.com/office/drawing/2014/main" id="{DC1C91C3-C17C-4E3E-868D-72E5C1E26E86}"/>
              </a:ext>
            </a:extLst>
          </p:cNvPr>
          <p:cNvGrpSpPr/>
          <p:nvPr/>
        </p:nvGrpSpPr>
        <p:grpSpPr>
          <a:xfrm>
            <a:off x="9718084" y="28622"/>
            <a:ext cx="2155317" cy="2990463"/>
            <a:chOff x="9718084" y="404542"/>
            <a:chExt cx="2155317" cy="2990463"/>
          </a:xfrm>
        </p:grpSpPr>
        <p:sp>
          <p:nvSpPr>
            <p:cNvPr id="111" name="Freihandform: Form 110">
              <a:extLst>
                <a:ext uri="{FF2B5EF4-FFF2-40B4-BE49-F238E27FC236}">
                  <a16:creationId xmlns:a16="http://schemas.microsoft.com/office/drawing/2014/main" id="{45B3DBFE-7B07-48D0-83C4-217CB86A4791}"/>
                </a:ext>
              </a:extLst>
            </p:cNvPr>
            <p:cNvSpPr/>
            <p:nvPr/>
          </p:nvSpPr>
          <p:spPr>
            <a:xfrm flipH="1">
              <a:off x="9718084" y="404542"/>
              <a:ext cx="2155317" cy="2852293"/>
            </a:xfrm>
            <a:custGeom>
              <a:avLst/>
              <a:gdLst>
                <a:gd name="connsiteX0" fmla="*/ 442962 w 3071848"/>
                <a:gd name="connsiteY0" fmla="*/ 0 h 4625266"/>
                <a:gd name="connsiteX1" fmla="*/ 2214755 w 3071848"/>
                <a:gd name="connsiteY1" fmla="*/ 0 h 4625266"/>
                <a:gd name="connsiteX2" fmla="*/ 2657717 w 3071848"/>
                <a:gd name="connsiteY2" fmla="*/ 442962 h 4625266"/>
                <a:gd name="connsiteX3" fmla="*/ 2657717 w 3071848"/>
                <a:gd name="connsiteY3" fmla="*/ 1251160 h 4625266"/>
                <a:gd name="connsiteX4" fmla="*/ 3071848 w 3071848"/>
                <a:gd name="connsiteY4" fmla="*/ 1594586 h 4625266"/>
                <a:gd name="connsiteX5" fmla="*/ 2657717 w 3071848"/>
                <a:gd name="connsiteY5" fmla="*/ 1938012 h 4625266"/>
                <a:gd name="connsiteX6" fmla="*/ 2657717 w 3071848"/>
                <a:gd name="connsiteY6" fmla="*/ 4182304 h 4625266"/>
                <a:gd name="connsiteX7" fmla="*/ 2214755 w 3071848"/>
                <a:gd name="connsiteY7" fmla="*/ 4625266 h 4625266"/>
                <a:gd name="connsiteX8" fmla="*/ 442962 w 3071848"/>
                <a:gd name="connsiteY8" fmla="*/ 4625266 h 4625266"/>
                <a:gd name="connsiteX9" fmla="*/ 0 w 3071848"/>
                <a:gd name="connsiteY9" fmla="*/ 4182304 h 4625266"/>
                <a:gd name="connsiteX10" fmla="*/ 0 w 3071848"/>
                <a:gd name="connsiteY10" fmla="*/ 442962 h 4625266"/>
                <a:gd name="connsiteX11" fmla="*/ 442962 w 3071848"/>
                <a:gd name="connsiteY11" fmla="*/ 0 h 462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1848" h="4625266">
                  <a:moveTo>
                    <a:pt x="442962" y="0"/>
                  </a:moveTo>
                  <a:lnTo>
                    <a:pt x="2214755" y="0"/>
                  </a:lnTo>
                  <a:cubicBezTo>
                    <a:pt x="2459396" y="0"/>
                    <a:pt x="2657717" y="198321"/>
                    <a:pt x="2657717" y="442962"/>
                  </a:cubicBezTo>
                  <a:lnTo>
                    <a:pt x="2657717" y="1251160"/>
                  </a:lnTo>
                  <a:lnTo>
                    <a:pt x="3071848" y="1594586"/>
                  </a:lnTo>
                  <a:lnTo>
                    <a:pt x="2657717" y="1938012"/>
                  </a:lnTo>
                  <a:lnTo>
                    <a:pt x="2657717" y="4182304"/>
                  </a:lnTo>
                  <a:cubicBezTo>
                    <a:pt x="2657717" y="4426945"/>
                    <a:pt x="2459396" y="4625266"/>
                    <a:pt x="2214755" y="4625266"/>
                  </a:cubicBezTo>
                  <a:lnTo>
                    <a:pt x="442962" y="4625266"/>
                  </a:lnTo>
                  <a:cubicBezTo>
                    <a:pt x="198321" y="4625266"/>
                    <a:pt x="0" y="4426945"/>
                    <a:pt x="0" y="4182304"/>
                  </a:cubicBezTo>
                  <a:lnTo>
                    <a:pt x="0" y="442962"/>
                  </a:lnTo>
                  <a:cubicBezTo>
                    <a:pt x="0" y="198321"/>
                    <a:pt x="198321" y="0"/>
                    <a:pt x="442962" y="0"/>
                  </a:cubicBezTo>
                  <a:close/>
                </a:path>
              </a:pathLst>
            </a:custGeom>
            <a:solidFill>
              <a:schemeClr val="accent1">
                <a:lumMod val="5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2" name="Ellipse 111">
              <a:extLst>
                <a:ext uri="{FF2B5EF4-FFF2-40B4-BE49-F238E27FC236}">
                  <a16:creationId xmlns:a16="http://schemas.microsoft.com/office/drawing/2014/main" id="{CEC39F8A-CB05-4301-A08A-D1E27EF96716}"/>
                </a:ext>
              </a:extLst>
            </p:cNvPr>
            <p:cNvSpPr/>
            <p:nvPr/>
          </p:nvSpPr>
          <p:spPr>
            <a:xfrm>
              <a:off x="10171237" y="634741"/>
              <a:ext cx="1544320" cy="1510790"/>
            </a:xfrm>
            <a:prstGeom prst="ellipse">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Textfeld 113">
              <a:extLst>
                <a:ext uri="{FF2B5EF4-FFF2-40B4-BE49-F238E27FC236}">
                  <a16:creationId xmlns:a16="http://schemas.microsoft.com/office/drawing/2014/main" id="{0AD8F644-6A6A-4AC4-A979-86BA474A3260}"/>
                </a:ext>
              </a:extLst>
            </p:cNvPr>
            <p:cNvSpPr txBox="1"/>
            <p:nvPr/>
          </p:nvSpPr>
          <p:spPr>
            <a:xfrm>
              <a:off x="10277616" y="1066971"/>
              <a:ext cx="1331559" cy="584775"/>
            </a:xfrm>
            <a:prstGeom prst="rect">
              <a:avLst/>
            </a:prstGeom>
            <a:noFill/>
          </p:spPr>
          <p:txBody>
            <a:bodyPr wrap="square">
              <a:spAutoFit/>
            </a:bodyPr>
            <a:lstStyle/>
            <a:p>
              <a:pPr algn="ctr"/>
              <a:r>
                <a:rPr lang="de-DE" sz="1600" b="1" err="1">
                  <a:solidFill>
                    <a:srgbClr val="262626"/>
                  </a:solidFill>
                  <a:latin typeface="Helvetica" panose="020B0604020202020204" pitchFamily="34" charset="0"/>
                  <a:cs typeface="Helvetica" panose="020B0604020202020204" pitchFamily="34" charset="0"/>
                </a:rPr>
                <a:t>Ship</a:t>
              </a:r>
              <a:endParaRPr lang="de-DE" sz="1600" b="1">
                <a:solidFill>
                  <a:srgbClr val="262626"/>
                </a:solidFill>
                <a:latin typeface="Helvetica" panose="020B0604020202020204" pitchFamily="34" charset="0"/>
                <a:cs typeface="Helvetica" panose="020B0604020202020204" pitchFamily="34" charset="0"/>
              </a:endParaRPr>
            </a:p>
            <a:p>
              <a:pPr algn="ctr"/>
              <a:r>
                <a:rPr lang="de-DE" sz="1600" b="1">
                  <a:solidFill>
                    <a:srgbClr val="262626"/>
                  </a:solidFill>
                  <a:latin typeface="Helvetica" panose="020B0604020202020204" pitchFamily="34" charset="0"/>
                  <a:cs typeface="Helvetica" panose="020B0604020202020204" pitchFamily="34" charset="0"/>
                </a:rPr>
                <a:t>Information</a:t>
              </a:r>
            </a:p>
          </p:txBody>
        </p:sp>
        <p:pic>
          <p:nvPicPr>
            <p:cNvPr id="117" name="Grafik 116" descr="Cursor mit einfarbiger Füllung">
              <a:extLst>
                <a:ext uri="{FF2B5EF4-FFF2-40B4-BE49-F238E27FC236}">
                  <a16:creationId xmlns:a16="http://schemas.microsoft.com/office/drawing/2014/main" id="{C72DD96F-9D0C-4A8A-9428-6666D3C959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259539">
              <a:off x="11197233" y="1800312"/>
              <a:ext cx="434948" cy="434948"/>
            </a:xfrm>
            <a:prstGeom prst="rect">
              <a:avLst/>
            </a:prstGeom>
          </p:spPr>
        </p:pic>
        <p:pic>
          <p:nvPicPr>
            <p:cNvPr id="118" name="Grafik 117" descr="Fracht mit einfarbiger Füllung">
              <a:extLst>
                <a:ext uri="{FF2B5EF4-FFF2-40B4-BE49-F238E27FC236}">
                  <a16:creationId xmlns:a16="http://schemas.microsoft.com/office/drawing/2014/main" id="{AD5DAADF-CB91-417E-A2E9-2BA777756C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83834" y="2791693"/>
              <a:ext cx="603312" cy="603312"/>
            </a:xfrm>
            <a:prstGeom prst="rect">
              <a:avLst/>
            </a:prstGeom>
          </p:spPr>
        </p:pic>
        <p:sp>
          <p:nvSpPr>
            <p:cNvPr id="8" name="Rechteck 7">
              <a:extLst>
                <a:ext uri="{FF2B5EF4-FFF2-40B4-BE49-F238E27FC236}">
                  <a16:creationId xmlns:a16="http://schemas.microsoft.com/office/drawing/2014/main" id="{92157967-62E7-4A6C-A0C4-EF0B57C1DAA0}"/>
                </a:ext>
              </a:extLst>
            </p:cNvPr>
            <p:cNvSpPr/>
            <p:nvPr/>
          </p:nvSpPr>
          <p:spPr>
            <a:xfrm>
              <a:off x="10342287" y="3233976"/>
              <a:ext cx="396000" cy="45719"/>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Freihandform: Form 119">
              <a:extLst>
                <a:ext uri="{FF2B5EF4-FFF2-40B4-BE49-F238E27FC236}">
                  <a16:creationId xmlns:a16="http://schemas.microsoft.com/office/drawing/2014/main" id="{F35F92A2-6A19-4E7E-9F00-6753DD108977}"/>
                </a:ext>
              </a:extLst>
            </p:cNvPr>
            <p:cNvSpPr/>
            <p:nvPr/>
          </p:nvSpPr>
          <p:spPr>
            <a:xfrm rot="5400000">
              <a:off x="10537789" y="1840205"/>
              <a:ext cx="441769" cy="1515268"/>
            </a:xfrm>
            <a:custGeom>
              <a:avLst/>
              <a:gdLst>
                <a:gd name="connsiteX0" fmla="*/ 0 w 441769"/>
                <a:gd name="connsiteY0" fmla="*/ 1361112 h 1361112"/>
                <a:gd name="connsiteX1" fmla="*/ 0 w 441769"/>
                <a:gd name="connsiteY1" fmla="*/ 143080 h 1361112"/>
                <a:gd name="connsiteX2" fmla="*/ 143080 w 441769"/>
                <a:gd name="connsiteY2" fmla="*/ 0 h 1361112"/>
                <a:gd name="connsiteX3" fmla="*/ 298689 w 441769"/>
                <a:gd name="connsiteY3" fmla="*/ 0 h 1361112"/>
                <a:gd name="connsiteX4" fmla="*/ 441769 w 441769"/>
                <a:gd name="connsiteY4" fmla="*/ 143080 h 1361112"/>
                <a:gd name="connsiteX5" fmla="*/ 441769 w 441769"/>
                <a:gd name="connsiteY5" fmla="*/ 1361112 h 1361112"/>
                <a:gd name="connsiteX6" fmla="*/ 0 w 441769"/>
                <a:gd name="connsiteY6" fmla="*/ 1361112 h 13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769" h="1361112">
                  <a:moveTo>
                    <a:pt x="0" y="1361112"/>
                  </a:moveTo>
                  <a:lnTo>
                    <a:pt x="0" y="143080"/>
                  </a:lnTo>
                  <a:cubicBezTo>
                    <a:pt x="0" y="64059"/>
                    <a:pt x="64059" y="0"/>
                    <a:pt x="143080" y="0"/>
                  </a:cubicBezTo>
                  <a:lnTo>
                    <a:pt x="298689" y="0"/>
                  </a:lnTo>
                  <a:cubicBezTo>
                    <a:pt x="377710" y="0"/>
                    <a:pt x="441769" y="64059"/>
                    <a:pt x="441769" y="143080"/>
                  </a:cubicBezTo>
                  <a:lnTo>
                    <a:pt x="441769" y="1361112"/>
                  </a:lnTo>
                  <a:lnTo>
                    <a:pt x="0" y="1361112"/>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3" name="Textfeld 112">
              <a:extLst>
                <a:ext uri="{FF2B5EF4-FFF2-40B4-BE49-F238E27FC236}">
                  <a16:creationId xmlns:a16="http://schemas.microsoft.com/office/drawing/2014/main" id="{3CCDCADA-0392-4CFF-94C4-D43969AAD1FA}"/>
                </a:ext>
              </a:extLst>
            </p:cNvPr>
            <p:cNvSpPr txBox="1"/>
            <p:nvPr/>
          </p:nvSpPr>
          <p:spPr>
            <a:xfrm>
              <a:off x="9965411" y="2428265"/>
              <a:ext cx="1550896" cy="369332"/>
            </a:xfrm>
            <a:prstGeom prst="rect">
              <a:avLst/>
            </a:prstGeom>
            <a:noFill/>
          </p:spPr>
          <p:txBody>
            <a:bodyPr wrap="square">
              <a:spAutoFit/>
            </a:bodyPr>
            <a:lstStyle/>
            <a:p>
              <a:pPr algn="ctr"/>
              <a:r>
                <a:rPr lang="de-DE">
                  <a:solidFill>
                    <a:schemeClr val="bg1"/>
                  </a:solidFill>
                  <a:latin typeface="Helvetica" panose="020B0604020202020204" pitchFamily="34" charset="0"/>
                  <a:cs typeface="Helvetica" panose="020B0604020202020204" pitchFamily="34" charset="0"/>
                </a:rPr>
                <a:t>VESSEL 10</a:t>
              </a:r>
            </a:p>
          </p:txBody>
        </p:sp>
      </p:grpSp>
      <p:sp>
        <p:nvSpPr>
          <p:cNvPr id="95" name="Rechteck: abgerundete Ecken 94">
            <a:extLst>
              <a:ext uri="{FF2B5EF4-FFF2-40B4-BE49-F238E27FC236}">
                <a16:creationId xmlns:a16="http://schemas.microsoft.com/office/drawing/2014/main" id="{65EFD0CC-A82F-42A3-81E2-D64E4A2FE8D1}"/>
              </a:ext>
            </a:extLst>
          </p:cNvPr>
          <p:cNvSpPr/>
          <p:nvPr/>
        </p:nvSpPr>
        <p:spPr>
          <a:xfrm>
            <a:off x="4879816" y="3792101"/>
            <a:ext cx="4918422" cy="2856038"/>
          </a:xfrm>
          <a:prstGeom prst="roundRect">
            <a:avLst>
              <a:gd name="adj" fmla="val 84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4AED67AF-1C75-4E20-A87B-AD78E49F9266}"/>
              </a:ext>
            </a:extLst>
          </p:cNvPr>
          <p:cNvSpPr/>
          <p:nvPr/>
        </p:nvSpPr>
        <p:spPr>
          <a:xfrm>
            <a:off x="4879818" y="3786559"/>
            <a:ext cx="4918420"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abgerundete Ecken 99">
            <a:extLst>
              <a:ext uri="{FF2B5EF4-FFF2-40B4-BE49-F238E27FC236}">
                <a16:creationId xmlns:a16="http://schemas.microsoft.com/office/drawing/2014/main" id="{AE932272-31F0-4618-9115-1BD3779B9E41}"/>
              </a:ext>
            </a:extLst>
          </p:cNvPr>
          <p:cNvSpPr/>
          <p:nvPr/>
        </p:nvSpPr>
        <p:spPr>
          <a:xfrm>
            <a:off x="83495" y="3809379"/>
            <a:ext cx="4712025" cy="2856038"/>
          </a:xfrm>
          <a:prstGeom prst="roundRect">
            <a:avLst>
              <a:gd name="adj" fmla="val 8841"/>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1" name="Rechteck: obere Ecken abgerundet 100">
            <a:extLst>
              <a:ext uri="{FF2B5EF4-FFF2-40B4-BE49-F238E27FC236}">
                <a16:creationId xmlns:a16="http://schemas.microsoft.com/office/drawing/2014/main" id="{4101EA46-2CEB-4133-BA51-4CE43869C20D}"/>
              </a:ext>
            </a:extLst>
          </p:cNvPr>
          <p:cNvSpPr/>
          <p:nvPr/>
        </p:nvSpPr>
        <p:spPr>
          <a:xfrm>
            <a:off x="83282" y="3803837"/>
            <a:ext cx="4712225"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9" name="Grafik 118" descr="Schlepper mit einfarbiger Füllung">
            <a:extLst>
              <a:ext uri="{FF2B5EF4-FFF2-40B4-BE49-F238E27FC236}">
                <a16:creationId xmlns:a16="http://schemas.microsoft.com/office/drawing/2014/main" id="{2BD05F4C-8D95-428E-8DCE-6D213B17D0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81298" y="3879781"/>
            <a:ext cx="300001" cy="300001"/>
          </a:xfrm>
          <a:prstGeom prst="rect">
            <a:avLst/>
          </a:prstGeom>
        </p:spPr>
      </p:pic>
      <p:pic>
        <p:nvPicPr>
          <p:cNvPr id="121" name="Grafik 120" descr="Fracht mit einfarbiger Füllung">
            <a:extLst>
              <a:ext uri="{FF2B5EF4-FFF2-40B4-BE49-F238E27FC236}">
                <a16:creationId xmlns:a16="http://schemas.microsoft.com/office/drawing/2014/main" id="{966677C5-2A47-47CB-86E2-679C130CBEE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49947" y="3802813"/>
            <a:ext cx="300000" cy="300000"/>
          </a:xfrm>
          <a:prstGeom prst="rect">
            <a:avLst/>
          </a:prstGeom>
        </p:spPr>
      </p:pic>
      <p:pic>
        <p:nvPicPr>
          <p:cNvPr id="122" name="Grafik 121" descr="Uhr mit einfarbiger Füllung">
            <a:extLst>
              <a:ext uri="{FF2B5EF4-FFF2-40B4-BE49-F238E27FC236}">
                <a16:creationId xmlns:a16="http://schemas.microsoft.com/office/drawing/2014/main" id="{263F061B-82E3-4465-85BA-565AC7EFC84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0884" y="3841158"/>
            <a:ext cx="376267" cy="376267"/>
          </a:xfrm>
          <a:prstGeom prst="rect">
            <a:avLst/>
          </a:prstGeom>
        </p:spPr>
      </p:pic>
      <p:pic>
        <p:nvPicPr>
          <p:cNvPr id="20" name="Grafik 19" descr="Filter mit einfarbiger Füllung">
            <a:extLst>
              <a:ext uri="{FF2B5EF4-FFF2-40B4-BE49-F238E27FC236}">
                <a16:creationId xmlns:a16="http://schemas.microsoft.com/office/drawing/2014/main" id="{655074C8-8C37-4282-87A4-03F8B832ADD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46355" y="3344003"/>
            <a:ext cx="246222" cy="246222"/>
          </a:xfrm>
          <a:prstGeom prst="rect">
            <a:avLst/>
          </a:prstGeom>
        </p:spPr>
      </p:pic>
      <p:sp>
        <p:nvSpPr>
          <p:cNvPr id="135" name="Textfeld 134">
            <a:extLst>
              <a:ext uri="{FF2B5EF4-FFF2-40B4-BE49-F238E27FC236}">
                <a16:creationId xmlns:a16="http://schemas.microsoft.com/office/drawing/2014/main" id="{7F9E2938-7044-4173-8385-0DB266DE14D2}"/>
              </a:ext>
            </a:extLst>
          </p:cNvPr>
          <p:cNvSpPr txBox="1"/>
          <p:nvPr/>
        </p:nvSpPr>
        <p:spPr>
          <a:xfrm>
            <a:off x="5539454" y="3346267"/>
            <a:ext cx="1092648" cy="246221"/>
          </a:xfrm>
          <a:prstGeom prst="rect">
            <a:avLst/>
          </a:prstGeom>
          <a:noFill/>
        </p:spPr>
        <p:txBody>
          <a:bodyPr wrap="square" rtlCol="0">
            <a:spAutoFit/>
          </a:bodyPr>
          <a:lstStyle/>
          <a:p>
            <a:r>
              <a:rPr lang="de-DE" sz="1000">
                <a:solidFill>
                  <a:schemeClr val="bg1">
                    <a:lumMod val="95000"/>
                  </a:schemeClr>
                </a:solidFill>
                <a:latin typeface="Helvetica" panose="020B0604020202020204" pitchFamily="34" charset="0"/>
                <a:cs typeface="Helvetica" panose="020B0604020202020204" pitchFamily="34" charset="0"/>
              </a:rPr>
              <a:t>Filter Options</a:t>
            </a:r>
          </a:p>
        </p:txBody>
      </p:sp>
      <p:sp>
        <p:nvSpPr>
          <p:cNvPr id="23" name="Textfeld 22">
            <a:extLst>
              <a:ext uri="{FF2B5EF4-FFF2-40B4-BE49-F238E27FC236}">
                <a16:creationId xmlns:a16="http://schemas.microsoft.com/office/drawing/2014/main" id="{90677A49-7E52-4AE4-BB24-98D0276886E3}"/>
              </a:ext>
            </a:extLst>
          </p:cNvPr>
          <p:cNvSpPr txBox="1"/>
          <p:nvPr/>
        </p:nvSpPr>
        <p:spPr>
          <a:xfrm>
            <a:off x="476443" y="1169290"/>
            <a:ext cx="437225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Change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ETA </a:t>
            </a:r>
            <a:r>
              <a:rPr lang="de-DE" sz="1300" err="1">
                <a:solidFill>
                  <a:schemeClr val="bg1">
                    <a:lumMod val="85000"/>
                  </a:schemeClr>
                </a:solidFill>
                <a:latin typeface="Helvetica" panose="020B0604020202020204" pitchFamily="34" charset="0"/>
                <a:cs typeface="Helvetica" panose="020B0604020202020204" pitchFamily="34" charset="0"/>
              </a:rPr>
              <a:t>fo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10,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210 and </a:t>
            </a:r>
            <a:r>
              <a:rPr lang="de-DE" sz="1300" err="1">
                <a:solidFill>
                  <a:schemeClr val="bg1">
                    <a:lumMod val="85000"/>
                  </a:schemeClr>
                </a:solidFill>
                <a:latin typeface="Helvetica" panose="020B0604020202020204" pitchFamily="34" charset="0"/>
                <a:cs typeface="Helvetica" panose="020B0604020202020204" pitchFamily="34" charset="0"/>
              </a:rPr>
              <a:t>vessel</a:t>
            </a:r>
            <a:r>
              <a:rPr lang="de-DE" sz="1300">
                <a:solidFill>
                  <a:schemeClr val="bg1">
                    <a:lumMod val="85000"/>
                  </a:schemeClr>
                </a:solidFill>
                <a:latin typeface="Helvetica" panose="020B0604020202020204" pitchFamily="34" charset="0"/>
                <a:cs typeface="Helvetica" panose="020B0604020202020204" pitchFamily="34" charset="0"/>
              </a:rPr>
              <a:t> 345</a:t>
            </a:r>
          </a:p>
        </p:txBody>
      </p:sp>
      <p:sp>
        <p:nvSpPr>
          <p:cNvPr id="137" name="Rechteck: abgerundete Ecken 136">
            <a:extLst>
              <a:ext uri="{FF2B5EF4-FFF2-40B4-BE49-F238E27FC236}">
                <a16:creationId xmlns:a16="http://schemas.microsoft.com/office/drawing/2014/main" id="{D5A41EB0-EBF9-400E-9117-8F5272F47AAD}"/>
              </a:ext>
            </a:extLst>
          </p:cNvPr>
          <p:cNvSpPr/>
          <p:nvPr/>
        </p:nvSpPr>
        <p:spPr>
          <a:xfrm>
            <a:off x="3179961" y="43663"/>
            <a:ext cx="1830541" cy="545329"/>
          </a:xfrm>
          <a:prstGeom prst="roundRect">
            <a:avLst>
              <a:gd name="adj" fmla="val 24119"/>
            </a:avLst>
          </a:prstGeom>
          <a:solidFill>
            <a:schemeClr val="tx1">
              <a:lumMod val="65000"/>
              <a:lumOff val="3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bg1">
                    <a:lumMod val="65000"/>
                  </a:schemeClr>
                </a:solidFill>
                <a:latin typeface="Helvetica" panose="020B0604020202020204" pitchFamily="34" charset="0"/>
                <a:cs typeface="Helvetica" panose="020B0604020202020204" pitchFamily="34" charset="0"/>
              </a:rPr>
              <a:t>2021-07-16, Thu</a:t>
            </a:r>
          </a:p>
          <a:p>
            <a:pPr algn="ctr"/>
            <a:r>
              <a:rPr lang="de-DE" sz="2000">
                <a:solidFill>
                  <a:schemeClr val="bg1">
                    <a:lumMod val="65000"/>
                  </a:schemeClr>
                </a:solidFill>
                <a:latin typeface="Helvetica" panose="020B0604020202020204" pitchFamily="34" charset="0"/>
                <a:cs typeface="Helvetica" panose="020B0604020202020204" pitchFamily="34" charset="0"/>
              </a:rPr>
              <a:t>8:00 PM</a:t>
            </a:r>
          </a:p>
        </p:txBody>
      </p:sp>
      <p:sp>
        <p:nvSpPr>
          <p:cNvPr id="142" name="Rechteck: abgerundete Ecken 141">
            <a:extLst>
              <a:ext uri="{FF2B5EF4-FFF2-40B4-BE49-F238E27FC236}">
                <a16:creationId xmlns:a16="http://schemas.microsoft.com/office/drawing/2014/main" id="{9E91729A-F381-4676-B7D4-235A3D722F8C}"/>
              </a:ext>
            </a:extLst>
          </p:cNvPr>
          <p:cNvSpPr/>
          <p:nvPr/>
        </p:nvSpPr>
        <p:spPr>
          <a:xfrm>
            <a:off x="838083" y="4573271"/>
            <a:ext cx="136567" cy="1666525"/>
          </a:xfrm>
          <a:prstGeom prst="roundRect">
            <a:avLst>
              <a:gd name="adj" fmla="val 24119"/>
            </a:avLst>
          </a:prstGeom>
          <a:noFill/>
          <a:ln>
            <a:solidFill>
              <a:srgbClr val="4C4C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solidFill>
                <a:schemeClr val="bg1">
                  <a:lumMod val="65000"/>
                </a:schemeClr>
              </a:solidFill>
              <a:latin typeface="Helvetica" panose="020B0604020202020204" pitchFamily="34" charset="0"/>
              <a:cs typeface="Helvetica" panose="020B0604020202020204" pitchFamily="34" charset="0"/>
            </a:endParaRPr>
          </a:p>
        </p:txBody>
      </p:sp>
      <p:graphicFrame>
        <p:nvGraphicFramePr>
          <p:cNvPr id="7" name="Diagramm 6">
            <a:extLst>
              <a:ext uri="{FF2B5EF4-FFF2-40B4-BE49-F238E27FC236}">
                <a16:creationId xmlns:a16="http://schemas.microsoft.com/office/drawing/2014/main" id="{3DE12398-449E-4095-9DA7-83D008A77784}"/>
              </a:ext>
            </a:extLst>
          </p:cNvPr>
          <p:cNvGraphicFramePr/>
          <p:nvPr/>
        </p:nvGraphicFramePr>
        <p:xfrm>
          <a:off x="189760" y="4305661"/>
          <a:ext cx="4307055" cy="2337489"/>
        </p:xfrm>
        <a:graphic>
          <a:graphicData uri="http://schemas.openxmlformats.org/drawingml/2006/chart">
            <c:chart xmlns:c="http://schemas.openxmlformats.org/drawingml/2006/chart" xmlns:r="http://schemas.openxmlformats.org/officeDocument/2006/relationships" r:id="rId17"/>
          </a:graphicData>
        </a:graphic>
      </p:graphicFrame>
      <p:sp>
        <p:nvSpPr>
          <p:cNvPr id="73" name="Textfeld 72">
            <a:extLst>
              <a:ext uri="{FF2B5EF4-FFF2-40B4-BE49-F238E27FC236}">
                <a16:creationId xmlns:a16="http://schemas.microsoft.com/office/drawing/2014/main" id="{861838D3-C59F-4236-B634-D0D7B2D83ACA}"/>
              </a:ext>
            </a:extLst>
          </p:cNvPr>
          <p:cNvSpPr txBox="1"/>
          <p:nvPr/>
        </p:nvSpPr>
        <p:spPr>
          <a:xfrm>
            <a:off x="601657" y="3857838"/>
            <a:ext cx="4126510"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Predicted</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nd Departures (</a:t>
            </a:r>
            <a:r>
              <a:rPr lang="de-DE" sz="1400" u="sng" err="1">
                <a:solidFill>
                  <a:schemeClr val="bg1">
                    <a:lumMod val="75000"/>
                  </a:schemeClr>
                </a:solidFill>
                <a:latin typeface="Helvetica" panose="020B0604020202020204" pitchFamily="34" charset="0"/>
                <a:cs typeface="Helvetica" panose="020B0604020202020204" pitchFamily="34" charset="0"/>
              </a:rPr>
              <a:t>next</a:t>
            </a:r>
            <a:r>
              <a:rPr lang="de-DE" sz="1400" u="sng">
                <a:solidFill>
                  <a:schemeClr val="bg1">
                    <a:lumMod val="75000"/>
                  </a:schemeClr>
                </a:solidFill>
                <a:latin typeface="Helvetica" panose="020B0604020202020204" pitchFamily="34" charset="0"/>
                <a:cs typeface="Helvetica" panose="020B0604020202020204" pitchFamily="34" charset="0"/>
              </a:rPr>
              <a:t> 24h)</a:t>
            </a:r>
          </a:p>
        </p:txBody>
      </p:sp>
      <p:sp>
        <p:nvSpPr>
          <p:cNvPr id="9" name="Textfeld 8">
            <a:extLst>
              <a:ext uri="{FF2B5EF4-FFF2-40B4-BE49-F238E27FC236}">
                <a16:creationId xmlns:a16="http://schemas.microsoft.com/office/drawing/2014/main" id="{20DF3654-3A4C-4DA4-84CE-85D05E014CB5}"/>
              </a:ext>
            </a:extLst>
          </p:cNvPr>
          <p:cNvSpPr txBox="1"/>
          <p:nvPr/>
        </p:nvSpPr>
        <p:spPr>
          <a:xfrm>
            <a:off x="1019955" y="6188967"/>
            <a:ext cx="347686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PM 	       AM		PM</a:t>
            </a:r>
          </a:p>
        </p:txBody>
      </p:sp>
      <p:cxnSp>
        <p:nvCxnSpPr>
          <p:cNvPr id="12" name="Gerader Verbinder 11">
            <a:extLst>
              <a:ext uri="{FF2B5EF4-FFF2-40B4-BE49-F238E27FC236}">
                <a16:creationId xmlns:a16="http://schemas.microsoft.com/office/drawing/2014/main" id="{31787C08-0FF9-449E-A687-E7AE276B1F9A}"/>
              </a:ext>
            </a:extLst>
          </p:cNvPr>
          <p:cNvCxnSpPr/>
          <p:nvPr/>
        </p:nvCxnSpPr>
        <p:spPr>
          <a:xfrm>
            <a:off x="1615440" y="5925367"/>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CFCB99A-17FB-40B1-B410-451897B4FD43}"/>
              </a:ext>
            </a:extLst>
          </p:cNvPr>
          <p:cNvCxnSpPr/>
          <p:nvPr/>
        </p:nvCxnSpPr>
        <p:spPr>
          <a:xfrm>
            <a:off x="3434080" y="5910174"/>
            <a:ext cx="0" cy="3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ADF0B91A-DB09-435C-B721-04526BBA1524}"/>
              </a:ext>
            </a:extLst>
          </p:cNvPr>
          <p:cNvSpPr txBox="1"/>
          <p:nvPr/>
        </p:nvSpPr>
        <p:spPr>
          <a:xfrm>
            <a:off x="684235" y="4339668"/>
            <a:ext cx="488880" cy="230832"/>
          </a:xfrm>
          <a:prstGeom prst="rect">
            <a:avLst/>
          </a:prstGeom>
          <a:noFill/>
        </p:spPr>
        <p:txBody>
          <a:bodyPr wrap="square" rtlCol="0">
            <a:spAutoFit/>
          </a:bodyPr>
          <a:lstStyle/>
          <a:p>
            <a:r>
              <a:rPr lang="de-DE" sz="900">
                <a:latin typeface="Helvetica" panose="020B0604020202020204" pitchFamily="34" charset="0"/>
                <a:cs typeface="Helvetica" panose="020B0604020202020204" pitchFamily="34" charset="0"/>
              </a:rPr>
              <a:t>NOW</a:t>
            </a:r>
          </a:p>
        </p:txBody>
      </p:sp>
      <p:graphicFrame>
        <p:nvGraphicFramePr>
          <p:cNvPr id="10" name="Diagramm 9">
            <a:extLst>
              <a:ext uri="{FF2B5EF4-FFF2-40B4-BE49-F238E27FC236}">
                <a16:creationId xmlns:a16="http://schemas.microsoft.com/office/drawing/2014/main" id="{881AA49A-40A6-4A4B-B661-B3DE63C71C66}"/>
              </a:ext>
            </a:extLst>
          </p:cNvPr>
          <p:cNvGraphicFramePr/>
          <p:nvPr/>
        </p:nvGraphicFramePr>
        <p:xfrm>
          <a:off x="4967267" y="3284639"/>
          <a:ext cx="4793471" cy="3284773"/>
        </p:xfrm>
        <a:graphic>
          <a:graphicData uri="http://schemas.openxmlformats.org/drawingml/2006/chart">
            <c:chart xmlns:c="http://schemas.openxmlformats.org/drawingml/2006/chart" xmlns:r="http://schemas.openxmlformats.org/officeDocument/2006/relationships" r:id="rId18"/>
          </a:graphicData>
        </a:graphic>
      </p:graphicFrame>
      <p:sp>
        <p:nvSpPr>
          <p:cNvPr id="80" name="Textfeld 79">
            <a:extLst>
              <a:ext uri="{FF2B5EF4-FFF2-40B4-BE49-F238E27FC236}">
                <a16:creationId xmlns:a16="http://schemas.microsoft.com/office/drawing/2014/main" id="{33418F57-58A5-457B-9C1E-527F2573341C}"/>
              </a:ext>
            </a:extLst>
          </p:cNvPr>
          <p:cNvSpPr txBox="1"/>
          <p:nvPr/>
        </p:nvSpPr>
        <p:spPr>
          <a:xfrm>
            <a:off x="5617880" y="3848380"/>
            <a:ext cx="3760206" cy="307777"/>
          </a:xfrm>
          <a:prstGeom prst="rect">
            <a:avLst/>
          </a:prstGeom>
          <a:noFill/>
        </p:spPr>
        <p:txBody>
          <a:bodyPr wrap="square" rtlCol="0">
            <a:spAutoFit/>
          </a:bodyPr>
          <a:lstStyle/>
          <a:p>
            <a:r>
              <a:rPr lang="de-DE" sz="1400" u="sng" err="1">
                <a:solidFill>
                  <a:schemeClr val="bg1">
                    <a:lumMod val="75000"/>
                  </a:schemeClr>
                </a:solidFill>
                <a:latin typeface="Helvetica" panose="020B0604020202020204" pitchFamily="34" charset="0"/>
                <a:cs typeface="Helvetica" panose="020B0604020202020204" pitchFamily="34" charset="0"/>
              </a:rPr>
              <a:t>Arrivals</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by</a:t>
            </a:r>
            <a:r>
              <a:rPr lang="de-DE" sz="1400" u="sng">
                <a:solidFill>
                  <a:schemeClr val="bg1">
                    <a:lumMod val="75000"/>
                  </a:schemeClr>
                </a:solidFill>
                <a:latin typeface="Helvetica" panose="020B0604020202020204" pitchFamily="34" charset="0"/>
                <a:cs typeface="Helvetica" panose="020B0604020202020204" pitchFamily="34" charset="0"/>
              </a:rPr>
              <a:t> </a:t>
            </a:r>
            <a:r>
              <a:rPr lang="de-DE" sz="1400" u="sng" err="1">
                <a:solidFill>
                  <a:schemeClr val="bg1">
                    <a:lumMod val="75000"/>
                  </a:schemeClr>
                </a:solidFill>
                <a:latin typeface="Helvetica" panose="020B0604020202020204" pitchFamily="34" charset="0"/>
                <a:cs typeface="Helvetica" panose="020B0604020202020204" pitchFamily="34" charset="0"/>
              </a:rPr>
              <a:t>Ship</a:t>
            </a:r>
            <a:r>
              <a:rPr lang="de-DE" sz="1400" u="sng">
                <a:solidFill>
                  <a:schemeClr val="bg1">
                    <a:lumMod val="75000"/>
                  </a:schemeClr>
                </a:solidFill>
                <a:latin typeface="Helvetica" panose="020B0604020202020204" pitchFamily="34" charset="0"/>
                <a:cs typeface="Helvetica" panose="020B0604020202020204" pitchFamily="34" charset="0"/>
              </a:rPr>
              <a:t> Type</a:t>
            </a:r>
          </a:p>
        </p:txBody>
      </p:sp>
      <p:grpSp>
        <p:nvGrpSpPr>
          <p:cNvPr id="16" name="Gruppieren 15">
            <a:extLst>
              <a:ext uri="{FF2B5EF4-FFF2-40B4-BE49-F238E27FC236}">
                <a16:creationId xmlns:a16="http://schemas.microsoft.com/office/drawing/2014/main" id="{1205C021-00BA-40DA-8CAF-80FFB05119F6}"/>
              </a:ext>
            </a:extLst>
          </p:cNvPr>
          <p:cNvGrpSpPr/>
          <p:nvPr/>
        </p:nvGrpSpPr>
        <p:grpSpPr>
          <a:xfrm>
            <a:off x="8082130" y="4380347"/>
            <a:ext cx="1715249" cy="2228420"/>
            <a:chOff x="8137546" y="4291567"/>
            <a:chExt cx="1715249" cy="2228420"/>
          </a:xfrm>
        </p:grpSpPr>
        <p:grpSp>
          <p:nvGrpSpPr>
            <p:cNvPr id="14" name="Gruppieren 13">
              <a:extLst>
                <a:ext uri="{FF2B5EF4-FFF2-40B4-BE49-F238E27FC236}">
                  <a16:creationId xmlns:a16="http://schemas.microsoft.com/office/drawing/2014/main" id="{648B793F-AE65-4252-B68D-5C130733FC1D}"/>
                </a:ext>
              </a:extLst>
            </p:cNvPr>
            <p:cNvGrpSpPr/>
            <p:nvPr/>
          </p:nvGrpSpPr>
          <p:grpSpPr>
            <a:xfrm>
              <a:off x="8137546" y="4291567"/>
              <a:ext cx="1715249" cy="2228420"/>
              <a:chOff x="8137546" y="4383927"/>
              <a:chExt cx="1715249" cy="2228420"/>
            </a:xfrm>
          </p:grpSpPr>
          <p:sp>
            <p:nvSpPr>
              <p:cNvPr id="81" name="Textfeld 80">
                <a:extLst>
                  <a:ext uri="{FF2B5EF4-FFF2-40B4-BE49-F238E27FC236}">
                    <a16:creationId xmlns:a16="http://schemas.microsoft.com/office/drawing/2014/main" id="{4779EA11-6F5E-46EB-8A60-222106D095E6}"/>
                  </a:ext>
                </a:extLst>
              </p:cNvPr>
              <p:cNvSpPr txBox="1"/>
              <p:nvPr/>
            </p:nvSpPr>
            <p:spPr>
              <a:xfrm>
                <a:off x="8254417" y="4419439"/>
                <a:ext cx="1598378" cy="2192908"/>
              </a:xfrm>
              <a:prstGeom prst="rect">
                <a:avLst/>
              </a:prstGeom>
              <a:noFill/>
              <a:ln>
                <a:noFill/>
              </a:ln>
            </p:spPr>
            <p:txBody>
              <a:bodyPr wrap="square" rtlCol="0">
                <a:spAutoFit/>
              </a:bodyPr>
              <a:lstStyle/>
              <a:p>
                <a:endParaRPr lang="de-DE" sz="1050">
                  <a:solidFill>
                    <a:schemeClr val="bg1">
                      <a:lumMod val="85000"/>
                    </a:schemeClr>
                  </a:solidFill>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br>
                  <a:rPr lang="de-DE" sz="1050">
                    <a:latin typeface="Helvetica" panose="020B0604020202020204" pitchFamily="34" charset="0"/>
                    <a:cs typeface="Helvetica" panose="020B0604020202020204" pitchFamily="34" charset="0"/>
                  </a:rPr>
                </a:br>
                <a:r>
                  <a:rPr lang="de-DE" sz="1050" err="1">
                    <a:latin typeface="Helvetica" panose="020B0604020202020204" pitchFamily="34" charset="0"/>
                    <a:cs typeface="Helvetica" panose="020B0604020202020204" pitchFamily="34" charset="0"/>
                  </a:rPr>
                  <a:t>Hazardous</a:t>
                </a:r>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Type B</a:t>
                </a:r>
              </a:p>
              <a:p>
                <a:r>
                  <a:rPr lang="de-DE" sz="1050">
                    <a:latin typeface="Helvetica" panose="020B0604020202020204" pitchFamily="34" charset="0"/>
                    <a:cs typeface="Helvetica" panose="020B0604020202020204" pitchFamily="34" charset="0"/>
                  </a:rPr>
                  <a:t>     Type C</a:t>
                </a:r>
              </a:p>
              <a:p>
                <a:r>
                  <a:rPr lang="de-DE" sz="1050">
                    <a:latin typeface="Helvetica" panose="020B0604020202020204" pitchFamily="34" charset="0"/>
                    <a:cs typeface="Helvetica" panose="020B0604020202020204" pitchFamily="34" charset="0"/>
                  </a:rPr>
                  <a:t>     Type D</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a:p>
                <a:endParaRPr lang="de-DE" sz="1050">
                  <a:latin typeface="Helvetica" panose="020B0604020202020204" pitchFamily="34" charset="0"/>
                  <a:cs typeface="Helvetica" panose="020B0604020202020204" pitchFamily="34" charset="0"/>
                </a:endParaRPr>
              </a:p>
              <a:p>
                <a:r>
                  <a:rPr lang="de-DE" sz="1050">
                    <a:latin typeface="Helvetica" panose="020B0604020202020204" pitchFamily="34" charset="0"/>
                    <a:cs typeface="Helvetica" panose="020B0604020202020204" pitchFamily="34" charset="0"/>
                  </a:rPr>
                  <a:t>   </a:t>
                </a:r>
              </a:p>
              <a:p>
                <a:r>
                  <a:rPr lang="de-DE" sz="1050">
                    <a:latin typeface="Helvetica" panose="020B0604020202020204" pitchFamily="34" charset="0"/>
                    <a:cs typeface="Helvetica" panose="020B0604020202020204" pitchFamily="34" charset="0"/>
                  </a:rPr>
                  <a:t>   All </a:t>
                </a:r>
                <a:r>
                  <a:rPr lang="de-DE" sz="1050" err="1">
                    <a:latin typeface="Helvetica" panose="020B0604020202020204" pitchFamily="34" charset="0"/>
                    <a:cs typeface="Helvetica" panose="020B0604020202020204" pitchFamily="34" charset="0"/>
                  </a:rPr>
                  <a:t>ship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of</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this</a:t>
                </a:r>
                <a:r>
                  <a:rPr lang="de-DE" sz="1050">
                    <a:latin typeface="Helvetica" panose="020B0604020202020204" pitchFamily="34" charset="0"/>
                    <a:cs typeface="Helvetica" panose="020B0604020202020204" pitchFamily="34" charset="0"/>
                  </a:rPr>
                  <a:t> type</a:t>
                </a:r>
              </a:p>
              <a:p>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No</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addtional</a:t>
                </a:r>
                <a:r>
                  <a:rPr lang="de-DE" sz="1050">
                    <a:latin typeface="Helvetica" panose="020B0604020202020204" pitchFamily="34" charset="0"/>
                    <a:cs typeface="Helvetica" panose="020B0604020202020204" pitchFamily="34" charset="0"/>
                  </a:rPr>
                  <a:t>  </a:t>
                </a:r>
                <a:br>
                  <a:rPr lang="de-DE" sz="1050">
                    <a:latin typeface="Helvetica" panose="020B0604020202020204" pitchFamily="34" charset="0"/>
                    <a:cs typeface="Helvetica" panose="020B0604020202020204" pitchFamily="34" charset="0"/>
                  </a:rPr>
                </a:b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84" name="Rechteck: abgerundete Ecken 83">
                <a:extLst>
                  <a:ext uri="{FF2B5EF4-FFF2-40B4-BE49-F238E27FC236}">
                    <a16:creationId xmlns:a16="http://schemas.microsoft.com/office/drawing/2014/main" id="{C9EFD8A0-0DE9-4E1E-ADE9-FF2A69E87F27}"/>
                  </a:ext>
                </a:extLst>
              </p:cNvPr>
              <p:cNvSpPr/>
              <p:nvPr/>
            </p:nvSpPr>
            <p:spPr>
              <a:xfrm>
                <a:off x="8137547" y="4383927"/>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Tanker</a:t>
                </a:r>
              </a:p>
            </p:txBody>
          </p:sp>
          <p:sp>
            <p:nvSpPr>
              <p:cNvPr id="85" name="Rechteck: abgerundete Ecken 84">
                <a:extLst>
                  <a:ext uri="{FF2B5EF4-FFF2-40B4-BE49-F238E27FC236}">
                    <a16:creationId xmlns:a16="http://schemas.microsoft.com/office/drawing/2014/main" id="{A05D5FFD-3542-4BE4-80DD-48C47C524A16}"/>
                  </a:ext>
                </a:extLst>
              </p:cNvPr>
              <p:cNvSpPr/>
              <p:nvPr/>
            </p:nvSpPr>
            <p:spPr>
              <a:xfrm>
                <a:off x="8137546" y="5841640"/>
                <a:ext cx="712425" cy="208338"/>
              </a:xfrm>
              <a:prstGeom prst="roundRect">
                <a:avLst>
                  <a:gd name="adj" fmla="val 24119"/>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solidFill>
                      <a:schemeClr val="bg1">
                        <a:lumMod val="85000"/>
                      </a:schemeClr>
                    </a:solidFill>
                    <a:latin typeface="Helvetica" panose="020B0604020202020204" pitchFamily="34" charset="0"/>
                    <a:cs typeface="Helvetica" panose="020B0604020202020204" pitchFamily="34" charset="0"/>
                  </a:rPr>
                  <a:t>Cargo</a:t>
                </a:r>
              </a:p>
            </p:txBody>
          </p:sp>
        </p:grpSp>
        <p:sp>
          <p:nvSpPr>
            <p:cNvPr id="15" name="Rechteck 14">
              <a:extLst>
                <a:ext uri="{FF2B5EF4-FFF2-40B4-BE49-F238E27FC236}">
                  <a16:creationId xmlns:a16="http://schemas.microsoft.com/office/drawing/2014/main" id="{C6761216-745B-4A0F-A7A0-525F8F784498}"/>
                </a:ext>
              </a:extLst>
            </p:cNvPr>
            <p:cNvSpPr/>
            <p:nvPr/>
          </p:nvSpPr>
          <p:spPr>
            <a:xfrm>
              <a:off x="8180681" y="4572596"/>
              <a:ext cx="147472" cy="64658"/>
            </a:xfrm>
            <a:prstGeom prst="rect">
              <a:avLst/>
            </a:prstGeom>
            <a:solidFill>
              <a:srgbClr val="2644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7" name="Rechteck 86">
              <a:extLst>
                <a:ext uri="{FF2B5EF4-FFF2-40B4-BE49-F238E27FC236}">
                  <a16:creationId xmlns:a16="http://schemas.microsoft.com/office/drawing/2014/main" id="{9176BD0B-2C87-449D-8534-663AB752184E}"/>
                </a:ext>
              </a:extLst>
            </p:cNvPr>
            <p:cNvSpPr/>
            <p:nvPr/>
          </p:nvSpPr>
          <p:spPr>
            <a:xfrm>
              <a:off x="8297059" y="4914271"/>
              <a:ext cx="147472" cy="64658"/>
            </a:xfrm>
            <a:prstGeom prst="rect">
              <a:avLst/>
            </a:prstGeom>
            <a:solidFill>
              <a:srgbClr val="8FAADC"/>
            </a:solidFill>
            <a:ln>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89" name="Rechteck 88">
              <a:extLst>
                <a:ext uri="{FF2B5EF4-FFF2-40B4-BE49-F238E27FC236}">
                  <a16:creationId xmlns:a16="http://schemas.microsoft.com/office/drawing/2014/main" id="{CD53C5FD-4EEE-4F8C-859C-4C772047535B}"/>
                </a:ext>
              </a:extLst>
            </p:cNvPr>
            <p:cNvSpPr/>
            <p:nvPr/>
          </p:nvSpPr>
          <p:spPr>
            <a:xfrm>
              <a:off x="8297059" y="5066669"/>
              <a:ext cx="147472" cy="64658"/>
            </a:xfrm>
            <a:prstGeom prst="rect">
              <a:avLst/>
            </a:prstGeom>
            <a:solidFill>
              <a:srgbClr val="B4C7E7"/>
            </a:solidFill>
            <a:ln>
              <a:solidFill>
                <a:srgbClr val="B4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1" name="Rechteck 90">
              <a:extLst>
                <a:ext uri="{FF2B5EF4-FFF2-40B4-BE49-F238E27FC236}">
                  <a16:creationId xmlns:a16="http://schemas.microsoft.com/office/drawing/2014/main" id="{C7D9A397-C7DE-4556-B145-9556107CAD60}"/>
                </a:ext>
              </a:extLst>
            </p:cNvPr>
            <p:cNvSpPr/>
            <p:nvPr/>
          </p:nvSpPr>
          <p:spPr>
            <a:xfrm>
              <a:off x="8297059" y="5215853"/>
              <a:ext cx="147472" cy="64658"/>
            </a:xfrm>
            <a:prstGeom prst="rect">
              <a:avLst/>
            </a:prstGeom>
            <a:solidFill>
              <a:srgbClr val="2E75B6"/>
            </a:solid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2" name="Rechteck 91">
              <a:extLst>
                <a:ext uri="{FF2B5EF4-FFF2-40B4-BE49-F238E27FC236}">
                  <a16:creationId xmlns:a16="http://schemas.microsoft.com/office/drawing/2014/main" id="{75CC3F88-6433-4DD0-97AE-8B3FCB4532A8}"/>
                </a:ext>
              </a:extLst>
            </p:cNvPr>
            <p:cNvSpPr/>
            <p:nvPr/>
          </p:nvSpPr>
          <p:spPr>
            <a:xfrm>
              <a:off x="8175818" y="5408581"/>
              <a:ext cx="147472" cy="64658"/>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4" name="Rechteck 93">
              <a:extLst>
                <a:ext uri="{FF2B5EF4-FFF2-40B4-BE49-F238E27FC236}">
                  <a16:creationId xmlns:a16="http://schemas.microsoft.com/office/drawing/2014/main" id="{51B33D37-4BAF-4FAA-8A11-D15AA9230512}"/>
                </a:ext>
              </a:extLst>
            </p:cNvPr>
            <p:cNvSpPr/>
            <p:nvPr/>
          </p:nvSpPr>
          <p:spPr>
            <a:xfrm>
              <a:off x="8175818" y="6045447"/>
              <a:ext cx="147472" cy="6465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8" name="Rechteck 97">
              <a:extLst>
                <a:ext uri="{FF2B5EF4-FFF2-40B4-BE49-F238E27FC236}">
                  <a16:creationId xmlns:a16="http://schemas.microsoft.com/office/drawing/2014/main" id="{F1A1F853-6B44-460F-ABEF-7773BFF85AEF}"/>
                </a:ext>
              </a:extLst>
            </p:cNvPr>
            <p:cNvSpPr/>
            <p:nvPr/>
          </p:nvSpPr>
          <p:spPr>
            <a:xfrm>
              <a:off x="8175818" y="6189784"/>
              <a:ext cx="147472" cy="64658"/>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sp>
        <p:nvSpPr>
          <p:cNvPr id="138" name="Textfeld 137">
            <a:extLst>
              <a:ext uri="{FF2B5EF4-FFF2-40B4-BE49-F238E27FC236}">
                <a16:creationId xmlns:a16="http://schemas.microsoft.com/office/drawing/2014/main" id="{3475AC6E-5B2E-4D85-BAC7-9AE238E028B4}"/>
              </a:ext>
            </a:extLst>
          </p:cNvPr>
          <p:cNvSpPr txBox="1"/>
          <p:nvPr/>
        </p:nvSpPr>
        <p:spPr>
          <a:xfrm>
            <a:off x="476443" y="1854535"/>
            <a:ext cx="4327792" cy="492443"/>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High </a:t>
            </a:r>
            <a:r>
              <a:rPr lang="de-DE" sz="1300" err="1">
                <a:solidFill>
                  <a:schemeClr val="bg1">
                    <a:lumMod val="85000"/>
                  </a:schemeClr>
                </a:solidFill>
                <a:latin typeface="Helvetica" panose="020B0604020202020204" pitchFamily="34" charset="0"/>
                <a:cs typeface="Helvetica" panose="020B0604020202020204" pitchFamily="34" charset="0"/>
              </a:rPr>
              <a:t>number</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arzadous</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vessels</a:t>
            </a:r>
            <a:r>
              <a:rPr lang="de-DE" sz="1300">
                <a:solidFill>
                  <a:schemeClr val="bg1">
                    <a:lumMod val="85000"/>
                  </a:schemeClr>
                </a:solidFill>
                <a:latin typeface="Helvetica" panose="020B0604020202020204" pitchFamily="34" charset="0"/>
                <a:cs typeface="Helvetica" panose="020B0604020202020204" pitchFamily="34" charset="0"/>
              </a:rPr>
              <a:t>, type B </a:t>
            </a:r>
            <a:r>
              <a:rPr lang="de-DE" sz="1300" err="1">
                <a:solidFill>
                  <a:schemeClr val="bg1">
                    <a:lumMod val="85000"/>
                  </a:schemeClr>
                </a:solidFill>
                <a:latin typeface="Helvetica" panose="020B0604020202020204" pitchFamily="34" charset="0"/>
                <a:cs typeface="Helvetica" panose="020B0604020202020204" pitchFamily="34" charset="0"/>
              </a:rPr>
              <a:t>arriving</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tomorrow</a:t>
            </a:r>
            <a:r>
              <a:rPr lang="de-DE" sz="1300">
                <a:solidFill>
                  <a:schemeClr val="bg1">
                    <a:lumMod val="85000"/>
                  </a:schemeClr>
                </a:solidFill>
                <a:latin typeface="Helvetica" panose="020B0604020202020204" pitchFamily="34" charset="0"/>
                <a:cs typeface="Helvetica" panose="020B0604020202020204" pitchFamily="34" charset="0"/>
              </a:rPr>
              <a:t>, Jul 17th</a:t>
            </a:r>
          </a:p>
        </p:txBody>
      </p:sp>
      <p:sp>
        <p:nvSpPr>
          <p:cNvPr id="139" name="Textfeld 138">
            <a:extLst>
              <a:ext uri="{FF2B5EF4-FFF2-40B4-BE49-F238E27FC236}">
                <a16:creationId xmlns:a16="http://schemas.microsoft.com/office/drawing/2014/main" id="{1C27384B-7D72-4DD9-B0D8-3A40C2504BE7}"/>
              </a:ext>
            </a:extLst>
          </p:cNvPr>
          <p:cNvSpPr txBox="1"/>
          <p:nvPr/>
        </p:nvSpPr>
        <p:spPr>
          <a:xfrm>
            <a:off x="476443" y="3062529"/>
            <a:ext cx="4010615" cy="292388"/>
          </a:xfrm>
          <a:prstGeom prst="rect">
            <a:avLst/>
          </a:prstGeom>
          <a:noFill/>
          <a:ln>
            <a:noFill/>
          </a:ln>
        </p:spPr>
        <p:txBody>
          <a:bodyPr wrap="square" rtlCol="0">
            <a:spAutoFit/>
          </a:bodyPr>
          <a:lstStyle/>
          <a:p>
            <a:r>
              <a:rPr lang="de-DE" sz="1300">
                <a:solidFill>
                  <a:schemeClr val="bg1">
                    <a:lumMod val="85000"/>
                  </a:schemeClr>
                </a:solidFill>
                <a:latin typeface="Helvetica" panose="020B0604020202020204" pitchFamily="34" charset="0"/>
                <a:cs typeface="Helvetica" panose="020B0604020202020204" pitchFamily="34" charset="0"/>
              </a:rPr>
              <a:t>End </a:t>
            </a:r>
            <a:r>
              <a:rPr lang="de-DE" sz="1300" err="1">
                <a:solidFill>
                  <a:schemeClr val="bg1">
                    <a:lumMod val="85000"/>
                  </a:schemeClr>
                </a:solidFill>
                <a:latin typeface="Helvetica" panose="020B0604020202020204" pitchFamily="34" charset="0"/>
                <a:cs typeface="Helvetica" panose="020B0604020202020204" pitchFamily="34" charset="0"/>
              </a:rPr>
              <a:t>of</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holidays</a:t>
            </a:r>
            <a:r>
              <a:rPr lang="de-DE" sz="1300">
                <a:solidFill>
                  <a:schemeClr val="bg1">
                    <a:lumMod val="85000"/>
                  </a:schemeClr>
                </a:solidFill>
                <a:latin typeface="Helvetica" panose="020B0604020202020204" pitchFamily="34" charset="0"/>
                <a:cs typeface="Helvetica" panose="020B0604020202020204" pitchFamily="34" charset="0"/>
              </a:rPr>
              <a:t> in Germany </a:t>
            </a:r>
            <a:r>
              <a:rPr lang="de-DE" sz="1300" err="1">
                <a:solidFill>
                  <a:schemeClr val="bg1">
                    <a:lumMod val="85000"/>
                  </a:schemeClr>
                </a:solidFill>
                <a:latin typeface="Helvetica" panose="020B0604020202020204" pitchFamily="34" charset="0"/>
                <a:cs typeface="Helvetica" panose="020B0604020202020204" pitchFamily="34" charset="0"/>
              </a:rPr>
              <a:t>next</a:t>
            </a:r>
            <a:r>
              <a:rPr lang="de-DE" sz="1300">
                <a:solidFill>
                  <a:schemeClr val="bg1">
                    <a:lumMod val="85000"/>
                  </a:schemeClr>
                </a:solidFill>
                <a:latin typeface="Helvetica" panose="020B0604020202020204" pitchFamily="34" charset="0"/>
                <a:cs typeface="Helvetica" panose="020B0604020202020204" pitchFamily="34" charset="0"/>
              </a:rPr>
              <a:t> </a:t>
            </a:r>
            <a:r>
              <a:rPr lang="de-DE" sz="1300" err="1">
                <a:solidFill>
                  <a:schemeClr val="bg1">
                    <a:lumMod val="85000"/>
                  </a:schemeClr>
                </a:solidFill>
                <a:latin typeface="Helvetica" panose="020B0604020202020204" pitchFamily="34" charset="0"/>
                <a:cs typeface="Helvetica" panose="020B0604020202020204" pitchFamily="34" charset="0"/>
              </a:rPr>
              <a:t>week</a:t>
            </a:r>
            <a:endParaRPr lang="de-DE" sz="1300">
              <a:solidFill>
                <a:schemeClr val="bg1">
                  <a:lumMod val="85000"/>
                </a:schemeClr>
              </a:solidFill>
              <a:latin typeface="Helvetica" panose="020B0604020202020204" pitchFamily="34" charset="0"/>
              <a:cs typeface="Helvetica" panose="020B0604020202020204" pitchFamily="34" charset="0"/>
            </a:endParaRPr>
          </a:p>
        </p:txBody>
      </p:sp>
      <p:pic>
        <p:nvPicPr>
          <p:cNvPr id="144" name="Grafik 143" descr="Warnung mit einfarbiger Füllung">
            <a:extLst>
              <a:ext uri="{FF2B5EF4-FFF2-40B4-BE49-F238E27FC236}">
                <a16:creationId xmlns:a16="http://schemas.microsoft.com/office/drawing/2014/main" id="{AC702FC9-95DF-43C7-885D-3008BE81922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37659" y="1169291"/>
            <a:ext cx="256434" cy="256434"/>
          </a:xfrm>
          <a:prstGeom prst="rect">
            <a:avLst/>
          </a:prstGeom>
        </p:spPr>
      </p:pic>
      <p:pic>
        <p:nvPicPr>
          <p:cNvPr id="145" name="Grafik 144" descr="Warnung mit einfarbiger Füllung">
            <a:extLst>
              <a:ext uri="{FF2B5EF4-FFF2-40B4-BE49-F238E27FC236}">
                <a16:creationId xmlns:a16="http://schemas.microsoft.com/office/drawing/2014/main" id="{0F053075-46A2-4CDF-9414-D8E295916D8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37659" y="1859222"/>
            <a:ext cx="256434" cy="256434"/>
          </a:xfrm>
          <a:prstGeom prst="rect">
            <a:avLst/>
          </a:prstGeom>
        </p:spPr>
      </p:pic>
      <p:pic>
        <p:nvPicPr>
          <p:cNvPr id="146" name="Grafik 145" descr="Warnung mit einfarbiger Füllung">
            <a:extLst>
              <a:ext uri="{FF2B5EF4-FFF2-40B4-BE49-F238E27FC236}">
                <a16:creationId xmlns:a16="http://schemas.microsoft.com/office/drawing/2014/main" id="{5292BFC5-26EA-47EF-98A1-BAE905691BF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35716" y="3076059"/>
            <a:ext cx="256434" cy="256434"/>
          </a:xfrm>
          <a:prstGeom prst="rect">
            <a:avLst/>
          </a:prstGeom>
        </p:spPr>
      </p:pic>
      <p:pic>
        <p:nvPicPr>
          <p:cNvPr id="149" name="Grafik 148" descr="Klemmbrett abgehakt mit einfarbiger Füllung">
            <a:extLst>
              <a:ext uri="{FF2B5EF4-FFF2-40B4-BE49-F238E27FC236}">
                <a16:creationId xmlns:a16="http://schemas.microsoft.com/office/drawing/2014/main" id="{D3DFE796-6E08-4B24-A21A-93959C7FEE9E}"/>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25211" y="1463812"/>
            <a:ext cx="277444" cy="277444"/>
          </a:xfrm>
          <a:prstGeom prst="rect">
            <a:avLst/>
          </a:prstGeom>
        </p:spPr>
      </p:pic>
      <p:sp>
        <p:nvSpPr>
          <p:cNvPr id="150" name="Textfeld 149">
            <a:extLst>
              <a:ext uri="{FF2B5EF4-FFF2-40B4-BE49-F238E27FC236}">
                <a16:creationId xmlns:a16="http://schemas.microsoft.com/office/drawing/2014/main" id="{CC8B4DDC-81D7-40CB-A4DB-E3D60550DF75}"/>
              </a:ext>
            </a:extLst>
          </p:cNvPr>
          <p:cNvSpPr txBox="1"/>
          <p:nvPr/>
        </p:nvSpPr>
        <p:spPr>
          <a:xfrm>
            <a:off x="463083" y="1472144"/>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specific</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hip</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information</a:t>
            </a:r>
            <a:endParaRPr lang="de-DE" sz="1050">
              <a:latin typeface="Helvetica" panose="020B0604020202020204" pitchFamily="34" charset="0"/>
              <a:cs typeface="Helvetica" panose="020B0604020202020204" pitchFamily="34" charset="0"/>
            </a:endParaRPr>
          </a:p>
        </p:txBody>
      </p:sp>
      <p:sp>
        <p:nvSpPr>
          <p:cNvPr id="152" name="Rechteck: abgerundete Ecken 151">
            <a:extLst>
              <a:ext uri="{FF2B5EF4-FFF2-40B4-BE49-F238E27FC236}">
                <a16:creationId xmlns:a16="http://schemas.microsoft.com/office/drawing/2014/main" id="{2C82AF91-2FA8-4C83-A120-0E37E3A5DD50}"/>
              </a:ext>
            </a:extLst>
          </p:cNvPr>
          <p:cNvSpPr/>
          <p:nvPr/>
        </p:nvSpPr>
        <p:spPr>
          <a:xfrm>
            <a:off x="204741" y="2337178"/>
            <a:ext cx="4712025" cy="307973"/>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3" name="Grafik 152" descr="Klemmbrett abgehakt mit einfarbiger Füllung">
            <a:extLst>
              <a:ext uri="{FF2B5EF4-FFF2-40B4-BE49-F238E27FC236}">
                <a16:creationId xmlns:a16="http://schemas.microsoft.com/office/drawing/2014/main" id="{1D866C03-7753-456E-9A68-0E2FD98687B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16090" y="2353440"/>
            <a:ext cx="277444" cy="277444"/>
          </a:xfrm>
          <a:prstGeom prst="rect">
            <a:avLst/>
          </a:prstGeom>
        </p:spPr>
      </p:pic>
      <p:sp>
        <p:nvSpPr>
          <p:cNvPr id="154" name="Textfeld 153">
            <a:extLst>
              <a:ext uri="{FF2B5EF4-FFF2-40B4-BE49-F238E27FC236}">
                <a16:creationId xmlns:a16="http://schemas.microsoft.com/office/drawing/2014/main" id="{60C7E487-F48F-4BC4-A3B7-EC09F9880B58}"/>
              </a:ext>
            </a:extLst>
          </p:cNvPr>
          <p:cNvSpPr txBox="1"/>
          <p:nvPr/>
        </p:nvSpPr>
        <p:spPr>
          <a:xfrm>
            <a:off x="453962" y="2361772"/>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Inform </a:t>
            </a:r>
            <a:r>
              <a:rPr lang="de-DE" sz="1050" err="1">
                <a:latin typeface="Helvetica" panose="020B0604020202020204" pitchFamily="34" charset="0"/>
                <a:cs typeface="Helvetica" panose="020B0604020202020204" pitchFamily="34" charset="0"/>
              </a:rPr>
              <a:t>responsibles</a:t>
            </a:r>
            <a:r>
              <a:rPr lang="de-DE" sz="1050">
                <a:latin typeface="Helvetica" panose="020B0604020202020204" pitchFamily="34" charset="0"/>
                <a:cs typeface="Helvetica" panose="020B0604020202020204" pitchFamily="34" charset="0"/>
              </a:rPr>
              <a:t> </a:t>
            </a:r>
          </a:p>
        </p:txBody>
      </p:sp>
      <p:sp>
        <p:nvSpPr>
          <p:cNvPr id="155" name="Rechteck: abgerundete Ecken 154">
            <a:extLst>
              <a:ext uri="{FF2B5EF4-FFF2-40B4-BE49-F238E27FC236}">
                <a16:creationId xmlns:a16="http://schemas.microsoft.com/office/drawing/2014/main" id="{563D3EFC-D986-4DC0-86FB-3241796E3689}"/>
              </a:ext>
            </a:extLst>
          </p:cNvPr>
          <p:cNvSpPr/>
          <p:nvPr/>
        </p:nvSpPr>
        <p:spPr>
          <a:xfrm>
            <a:off x="196988" y="2685050"/>
            <a:ext cx="4712025" cy="307973"/>
          </a:xfrm>
          <a:prstGeom prst="roundRect">
            <a:avLst>
              <a:gd name="adj" fmla="val 29019"/>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6" name="Grafik 155" descr="Klemmbrett abgehakt mit einfarbiger Füllung">
            <a:extLst>
              <a:ext uri="{FF2B5EF4-FFF2-40B4-BE49-F238E27FC236}">
                <a16:creationId xmlns:a16="http://schemas.microsoft.com/office/drawing/2014/main" id="{7FA1565A-CD0B-425F-9880-72EAEADE807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08337" y="2701312"/>
            <a:ext cx="277444" cy="277444"/>
          </a:xfrm>
          <a:prstGeom prst="rect">
            <a:avLst/>
          </a:prstGeom>
        </p:spPr>
      </p:pic>
      <p:sp>
        <p:nvSpPr>
          <p:cNvPr id="157" name="Textfeld 156">
            <a:extLst>
              <a:ext uri="{FF2B5EF4-FFF2-40B4-BE49-F238E27FC236}">
                <a16:creationId xmlns:a16="http://schemas.microsoft.com/office/drawing/2014/main" id="{0494E7E8-08EE-4DD4-9F88-EB2419791CDA}"/>
              </a:ext>
            </a:extLst>
          </p:cNvPr>
          <p:cNvSpPr txBox="1"/>
          <p:nvPr/>
        </p:nvSpPr>
        <p:spPr>
          <a:xfrm>
            <a:off x="446209" y="2709644"/>
            <a:ext cx="4436509"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capacitie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for</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harzadous</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vess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rPr>
              <a:t>service</a:t>
            </a:r>
            <a:endParaRPr lang="de-DE" sz="1050">
              <a:latin typeface="Helvetica" panose="020B0604020202020204" pitchFamily="34" charset="0"/>
              <a:cs typeface="Helvetica" panose="020B0604020202020204" pitchFamily="34" charset="0"/>
            </a:endParaRPr>
          </a:p>
        </p:txBody>
      </p:sp>
      <p:sp>
        <p:nvSpPr>
          <p:cNvPr id="158" name="Rechteck: abgerundete Ecken 157">
            <a:extLst>
              <a:ext uri="{FF2B5EF4-FFF2-40B4-BE49-F238E27FC236}">
                <a16:creationId xmlns:a16="http://schemas.microsoft.com/office/drawing/2014/main" id="{7F64B5CB-AB3E-4CEC-A3E4-A77EFA1726C5}"/>
              </a:ext>
            </a:extLst>
          </p:cNvPr>
          <p:cNvSpPr/>
          <p:nvPr/>
        </p:nvSpPr>
        <p:spPr>
          <a:xfrm>
            <a:off x="198077" y="3344456"/>
            <a:ext cx="4712025" cy="307973"/>
          </a:xfrm>
          <a:prstGeom prst="roundRect">
            <a:avLst>
              <a:gd name="adj" fmla="val 3478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159" name="Grafik 158" descr="Klemmbrett abgehakt mit einfarbiger Füllung">
            <a:extLst>
              <a:ext uri="{FF2B5EF4-FFF2-40B4-BE49-F238E27FC236}">
                <a16:creationId xmlns:a16="http://schemas.microsoft.com/office/drawing/2014/main" id="{9EFFD8CB-49E0-4E3C-A3BE-ED80C3E5A5B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09426" y="3360718"/>
            <a:ext cx="277444" cy="277444"/>
          </a:xfrm>
          <a:prstGeom prst="rect">
            <a:avLst/>
          </a:prstGeom>
        </p:spPr>
      </p:pic>
      <p:sp>
        <p:nvSpPr>
          <p:cNvPr id="160" name="Textfeld 159">
            <a:extLst>
              <a:ext uri="{FF2B5EF4-FFF2-40B4-BE49-F238E27FC236}">
                <a16:creationId xmlns:a16="http://schemas.microsoft.com/office/drawing/2014/main" id="{96084E62-E75C-45EE-8DB1-9BFEBA2CAF3E}"/>
              </a:ext>
            </a:extLst>
          </p:cNvPr>
          <p:cNvSpPr txBox="1"/>
          <p:nvPr/>
        </p:nvSpPr>
        <p:spPr>
          <a:xfrm>
            <a:off x="447298" y="3369050"/>
            <a:ext cx="4372255" cy="261610"/>
          </a:xfrm>
          <a:prstGeom prst="rect">
            <a:avLst/>
          </a:prstGeom>
          <a:noFill/>
          <a:ln>
            <a:noFill/>
          </a:ln>
        </p:spPr>
        <p:txBody>
          <a:bodyPr wrap="square" rtlCol="0">
            <a:spAutoFit/>
          </a:bodyPr>
          <a:lstStyle/>
          <a:p>
            <a:r>
              <a:rPr lang="de-DE" sz="1050">
                <a:latin typeface="Helvetica" panose="020B0604020202020204" pitchFamily="34" charset="0"/>
                <a:cs typeface="Helvetica" panose="020B0604020202020204" pitchFamily="34" charset="0"/>
              </a:rPr>
              <a:t>Check </a:t>
            </a:r>
            <a:r>
              <a:rPr lang="de-DE" sz="1050" err="1">
                <a:latin typeface="Helvetica" panose="020B0604020202020204" pitchFamily="34" charset="0"/>
                <a:cs typeface="Helvetica" panose="020B0604020202020204" pitchFamily="34" charset="0"/>
              </a:rPr>
              <a:t>ressources</a:t>
            </a:r>
            <a:r>
              <a:rPr lang="de-DE" sz="1050">
                <a:latin typeface="Helvetica" panose="020B0604020202020204" pitchFamily="34" charset="0"/>
                <a:cs typeface="Helvetica" panose="020B0604020202020204" pitchFamily="34" charset="0"/>
              </a:rPr>
              <a:t> &amp; </a:t>
            </a:r>
            <a:r>
              <a:rPr lang="de-DE" sz="1050" err="1">
                <a:latin typeface="Helvetica" panose="020B0604020202020204" pitchFamily="34" charset="0"/>
                <a:cs typeface="Helvetica" panose="020B0604020202020204" pitchFamily="34" charset="0"/>
              </a:rPr>
              <a:t>personnel</a:t>
            </a:r>
            <a:r>
              <a:rPr lang="de-DE" sz="1050">
                <a:latin typeface="Helvetica" panose="020B0604020202020204" pitchFamily="34" charset="0"/>
                <a:cs typeface="Helvetica" panose="020B0604020202020204" pitchFamily="34" charset="0"/>
              </a:rPr>
              <a:t> </a:t>
            </a:r>
            <a:r>
              <a:rPr lang="de-DE" sz="1050" err="1">
                <a:latin typeface="Helvetica" panose="020B0604020202020204" pitchFamily="34" charset="0"/>
                <a:cs typeface="Helvetica" panose="020B0604020202020204" pitchFamily="34" charset="0"/>
                <a:sym typeface="Wingdings" panose="05000000000000000000" pitchFamily="2" charset="2"/>
              </a:rPr>
              <a:t>capacities</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fo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higher</a:t>
            </a:r>
            <a:r>
              <a:rPr lang="de-DE" sz="1050">
                <a:latin typeface="Helvetica" panose="020B0604020202020204" pitchFamily="34" charset="0"/>
                <a:cs typeface="Helvetica" panose="020B0604020202020204" pitchFamily="34" charset="0"/>
                <a:sym typeface="Wingdings" panose="05000000000000000000" pitchFamily="2" charset="2"/>
              </a:rPr>
              <a:t> </a:t>
            </a:r>
            <a:r>
              <a:rPr lang="de-DE" sz="1050" err="1">
                <a:latin typeface="Helvetica" panose="020B0604020202020204" pitchFamily="34" charset="0"/>
                <a:cs typeface="Helvetica" panose="020B0604020202020204" pitchFamily="34" charset="0"/>
                <a:sym typeface="Wingdings" panose="05000000000000000000" pitchFamily="2" charset="2"/>
              </a:rPr>
              <a:t>volume</a:t>
            </a:r>
            <a:endParaRPr lang="de-DE" sz="1050">
              <a:latin typeface="Helvetica" panose="020B0604020202020204" pitchFamily="34" charset="0"/>
              <a:cs typeface="Helvetica" panose="020B0604020202020204" pitchFamily="34" charset="0"/>
            </a:endParaRPr>
          </a:p>
        </p:txBody>
      </p:sp>
      <p:sp>
        <p:nvSpPr>
          <p:cNvPr id="161" name="Rechteck 160">
            <a:extLst>
              <a:ext uri="{FF2B5EF4-FFF2-40B4-BE49-F238E27FC236}">
                <a16:creationId xmlns:a16="http://schemas.microsoft.com/office/drawing/2014/main" id="{2DDF3671-1252-466D-B092-C276C2E047E4}"/>
              </a:ext>
            </a:extLst>
          </p:cNvPr>
          <p:cNvSpPr/>
          <p:nvPr/>
        </p:nvSpPr>
        <p:spPr>
          <a:xfrm>
            <a:off x="9496792" y="3892762"/>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a:extLst>
              <a:ext uri="{FF2B5EF4-FFF2-40B4-BE49-F238E27FC236}">
                <a16:creationId xmlns:a16="http://schemas.microsoft.com/office/drawing/2014/main" id="{F535C4E4-ACD4-4661-A1C3-D5C2CBDED553}"/>
              </a:ext>
            </a:extLst>
          </p:cNvPr>
          <p:cNvSpPr/>
          <p:nvPr/>
        </p:nvSpPr>
        <p:spPr>
          <a:xfrm>
            <a:off x="9445565" y="3935103"/>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3" name="Rechteck 162">
            <a:extLst>
              <a:ext uri="{FF2B5EF4-FFF2-40B4-BE49-F238E27FC236}">
                <a16:creationId xmlns:a16="http://schemas.microsoft.com/office/drawing/2014/main" id="{02DE9E76-4F26-484F-A4A1-13BE281770FC}"/>
              </a:ext>
            </a:extLst>
          </p:cNvPr>
          <p:cNvSpPr/>
          <p:nvPr/>
        </p:nvSpPr>
        <p:spPr>
          <a:xfrm>
            <a:off x="9496943" y="139253"/>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a:extLst>
              <a:ext uri="{FF2B5EF4-FFF2-40B4-BE49-F238E27FC236}">
                <a16:creationId xmlns:a16="http://schemas.microsoft.com/office/drawing/2014/main" id="{F2E7F5B5-436C-4C31-B9D7-43ACBA8D2D8C}"/>
              </a:ext>
            </a:extLst>
          </p:cNvPr>
          <p:cNvSpPr/>
          <p:nvPr/>
        </p:nvSpPr>
        <p:spPr>
          <a:xfrm>
            <a:off x="9445716" y="181594"/>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5" name="Gerader Verbinder 164">
            <a:extLst>
              <a:ext uri="{FF2B5EF4-FFF2-40B4-BE49-F238E27FC236}">
                <a16:creationId xmlns:a16="http://schemas.microsoft.com/office/drawing/2014/main" id="{C439CD66-28C4-438E-8079-AAA1EDE65B23}"/>
              </a:ext>
            </a:extLst>
          </p:cNvPr>
          <p:cNvCxnSpPr>
            <a:cxnSpLocks/>
          </p:cNvCxnSpPr>
          <p:nvPr/>
        </p:nvCxnSpPr>
        <p:spPr>
          <a:xfrm flipV="1">
            <a:off x="4740285" y="1098176"/>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6" name="Rechteck 165">
            <a:extLst>
              <a:ext uri="{FF2B5EF4-FFF2-40B4-BE49-F238E27FC236}">
                <a16:creationId xmlns:a16="http://schemas.microsoft.com/office/drawing/2014/main" id="{4DBE92AE-76A6-495A-ABBF-10129D5DFC48}"/>
              </a:ext>
            </a:extLst>
          </p:cNvPr>
          <p:cNvSpPr/>
          <p:nvPr/>
        </p:nvSpPr>
        <p:spPr>
          <a:xfrm>
            <a:off x="4651246" y="843348"/>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a:extLst>
              <a:ext uri="{FF2B5EF4-FFF2-40B4-BE49-F238E27FC236}">
                <a16:creationId xmlns:a16="http://schemas.microsoft.com/office/drawing/2014/main" id="{55016863-C482-4F44-9413-3672CC83722E}"/>
              </a:ext>
            </a:extLst>
          </p:cNvPr>
          <p:cNvSpPr/>
          <p:nvPr/>
        </p:nvSpPr>
        <p:spPr>
          <a:xfrm>
            <a:off x="4600019" y="885689"/>
            <a:ext cx="180000" cy="180000"/>
          </a:xfrm>
          <a:prstGeom prst="rect">
            <a:avLst/>
          </a:prstGeom>
          <a:solidFill>
            <a:srgbClr val="6F0707"/>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8" name="Gerader Verbinder 167">
            <a:extLst>
              <a:ext uri="{FF2B5EF4-FFF2-40B4-BE49-F238E27FC236}">
                <a16:creationId xmlns:a16="http://schemas.microsoft.com/office/drawing/2014/main" id="{5F9325C4-A997-4143-AD7F-98D160EE99E8}"/>
              </a:ext>
            </a:extLst>
          </p:cNvPr>
          <p:cNvCxnSpPr>
            <a:cxnSpLocks/>
          </p:cNvCxnSpPr>
          <p:nvPr/>
        </p:nvCxnSpPr>
        <p:spPr>
          <a:xfrm flipV="1">
            <a:off x="4590502" y="4154558"/>
            <a:ext cx="7303" cy="8307"/>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533EA5E3-2E7A-40E2-B6C2-21E9022FFE1B}"/>
              </a:ext>
            </a:extLst>
          </p:cNvPr>
          <p:cNvSpPr/>
          <p:nvPr/>
        </p:nvSpPr>
        <p:spPr>
          <a:xfrm>
            <a:off x="4501463" y="3899730"/>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Rechteck 169">
            <a:extLst>
              <a:ext uri="{FF2B5EF4-FFF2-40B4-BE49-F238E27FC236}">
                <a16:creationId xmlns:a16="http://schemas.microsoft.com/office/drawing/2014/main" id="{89334C39-D7F9-4860-A01C-3B6D38C7A6D9}"/>
              </a:ext>
            </a:extLst>
          </p:cNvPr>
          <p:cNvSpPr/>
          <p:nvPr/>
        </p:nvSpPr>
        <p:spPr>
          <a:xfrm>
            <a:off x="4450236" y="3942071"/>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Rechteck 122">
            <a:extLst>
              <a:ext uri="{FF2B5EF4-FFF2-40B4-BE49-F238E27FC236}">
                <a16:creationId xmlns:a16="http://schemas.microsoft.com/office/drawing/2014/main" id="{8D336053-0A01-F649-B1BD-7498E0B9D718}"/>
              </a:ext>
            </a:extLst>
          </p:cNvPr>
          <p:cNvSpPr/>
          <p:nvPr/>
        </p:nvSpPr>
        <p:spPr>
          <a:xfrm>
            <a:off x="-10222" y="1"/>
            <a:ext cx="12192000" cy="6860116"/>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24" name="Grafik 123">
            <a:extLst>
              <a:ext uri="{FF2B5EF4-FFF2-40B4-BE49-F238E27FC236}">
                <a16:creationId xmlns:a16="http://schemas.microsoft.com/office/drawing/2014/main" id="{A9CE5334-F013-469E-B8BD-1A0E236927ED}"/>
              </a:ext>
            </a:extLst>
          </p:cNvPr>
          <p:cNvPicPr>
            <a:picLocks noChangeAspect="1"/>
          </p:cNvPicPr>
          <p:nvPr/>
        </p:nvPicPr>
        <p:blipFill rotWithShape="1">
          <a:blip r:embed="rId23"/>
          <a:srcRect l="27161" t="20807" r="32737"/>
          <a:stretch/>
        </p:blipFill>
        <p:spPr>
          <a:xfrm>
            <a:off x="9885687" y="3786559"/>
            <a:ext cx="2267753" cy="2852293"/>
          </a:xfrm>
          <a:prstGeom prst="roundRect">
            <a:avLst>
              <a:gd name="adj" fmla="val 8625"/>
            </a:avLst>
          </a:prstGeom>
          <a:ln w="19050">
            <a:solidFill>
              <a:srgbClr val="39445B"/>
            </a:solidFill>
          </a:ln>
        </p:spPr>
      </p:pic>
      <p:pic>
        <p:nvPicPr>
          <p:cNvPr id="125" name="Grafik 124" descr="Fracht mit einfarbiger Füllung">
            <a:extLst>
              <a:ext uri="{FF2B5EF4-FFF2-40B4-BE49-F238E27FC236}">
                <a16:creationId xmlns:a16="http://schemas.microsoft.com/office/drawing/2014/main" id="{2906E9C0-004D-48FD-8382-C58209EC0AA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flipH="1">
            <a:off x="10837160" y="5406533"/>
            <a:ext cx="315917" cy="315917"/>
          </a:xfrm>
          <a:prstGeom prst="rect">
            <a:avLst/>
          </a:prstGeom>
        </p:spPr>
      </p:pic>
      <p:pic>
        <p:nvPicPr>
          <p:cNvPr id="126" name="Grafik 125" descr="Fracht mit einfarbiger Füllung">
            <a:extLst>
              <a:ext uri="{FF2B5EF4-FFF2-40B4-BE49-F238E27FC236}">
                <a16:creationId xmlns:a16="http://schemas.microsoft.com/office/drawing/2014/main" id="{8FEEB06B-71D4-4CEA-88F5-CAF121FC649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flipH="1">
            <a:off x="10349211" y="5259495"/>
            <a:ext cx="315917" cy="315917"/>
          </a:xfrm>
          <a:prstGeom prst="rect">
            <a:avLst/>
          </a:prstGeom>
        </p:spPr>
      </p:pic>
      <p:pic>
        <p:nvPicPr>
          <p:cNvPr id="127" name="Grafik 126" descr="Fracht mit einfarbiger Füllung">
            <a:extLst>
              <a:ext uri="{FF2B5EF4-FFF2-40B4-BE49-F238E27FC236}">
                <a16:creationId xmlns:a16="http://schemas.microsoft.com/office/drawing/2014/main" id="{B886E2A3-F814-4D68-81DD-01070E4B1375}"/>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flipH="1">
            <a:off x="10923765" y="5851648"/>
            <a:ext cx="315917" cy="315917"/>
          </a:xfrm>
          <a:prstGeom prst="rect">
            <a:avLst/>
          </a:prstGeom>
        </p:spPr>
      </p:pic>
      <p:sp>
        <p:nvSpPr>
          <p:cNvPr id="140" name="Rechteck: obere Ecken abgerundet 139">
            <a:extLst>
              <a:ext uri="{FF2B5EF4-FFF2-40B4-BE49-F238E27FC236}">
                <a16:creationId xmlns:a16="http://schemas.microsoft.com/office/drawing/2014/main" id="{10158E88-C62C-4E79-AE21-DC61232265CA}"/>
              </a:ext>
            </a:extLst>
          </p:cNvPr>
          <p:cNvSpPr/>
          <p:nvPr/>
        </p:nvSpPr>
        <p:spPr>
          <a:xfrm>
            <a:off x="9880918" y="3778677"/>
            <a:ext cx="2260302"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1" name="Grafik 130" descr="Markee nicht mehr folgen mit einfarbiger Füllung">
            <a:extLst>
              <a:ext uri="{FF2B5EF4-FFF2-40B4-BE49-F238E27FC236}">
                <a16:creationId xmlns:a16="http://schemas.microsoft.com/office/drawing/2014/main" id="{9DE0B32C-3258-441B-AF58-68325E0F861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214846" y="6287965"/>
            <a:ext cx="315919" cy="315919"/>
          </a:xfrm>
          <a:prstGeom prst="rect">
            <a:avLst/>
          </a:prstGeom>
        </p:spPr>
      </p:pic>
      <p:pic>
        <p:nvPicPr>
          <p:cNvPr id="132" name="Grafik 131" descr="Marke folgen mit einfarbiger Füllung">
            <a:extLst>
              <a:ext uri="{FF2B5EF4-FFF2-40B4-BE49-F238E27FC236}">
                <a16:creationId xmlns:a16="http://schemas.microsoft.com/office/drawing/2014/main" id="{3B11297F-0B93-4204-8D55-E85CF25CE8F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956131" y="6289812"/>
            <a:ext cx="315919" cy="315919"/>
          </a:xfrm>
          <a:prstGeom prst="rect">
            <a:avLst/>
          </a:prstGeom>
        </p:spPr>
      </p:pic>
      <p:pic>
        <p:nvPicPr>
          <p:cNvPr id="133" name="Grafik 132" descr="Erhobene Hand mit einfarbiger Füllung">
            <a:extLst>
              <a:ext uri="{FF2B5EF4-FFF2-40B4-BE49-F238E27FC236}">
                <a16:creationId xmlns:a16="http://schemas.microsoft.com/office/drawing/2014/main" id="{308B9334-4498-47C7-9B76-A5EA80F316D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rot="20585464">
            <a:off x="10487873" y="6286180"/>
            <a:ext cx="313408" cy="313408"/>
          </a:xfrm>
          <a:prstGeom prst="rect">
            <a:avLst/>
          </a:prstGeom>
        </p:spPr>
      </p:pic>
      <p:sp>
        <p:nvSpPr>
          <p:cNvPr id="134" name="Rechteck 133">
            <a:extLst>
              <a:ext uri="{FF2B5EF4-FFF2-40B4-BE49-F238E27FC236}">
                <a16:creationId xmlns:a16="http://schemas.microsoft.com/office/drawing/2014/main" id="{350302A1-84D7-4C70-AE9D-1C052115BF9D}"/>
              </a:ext>
            </a:extLst>
          </p:cNvPr>
          <p:cNvSpPr/>
          <p:nvPr/>
        </p:nvSpPr>
        <p:spPr>
          <a:xfrm>
            <a:off x="11835762" y="3897107"/>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FAD7EC93-C004-4252-BF00-71BCA38ABA42}"/>
              </a:ext>
            </a:extLst>
          </p:cNvPr>
          <p:cNvSpPr/>
          <p:nvPr/>
        </p:nvSpPr>
        <p:spPr>
          <a:xfrm>
            <a:off x="11784535" y="3939448"/>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1" name="Textfeld 140">
            <a:extLst>
              <a:ext uri="{FF2B5EF4-FFF2-40B4-BE49-F238E27FC236}">
                <a16:creationId xmlns:a16="http://schemas.microsoft.com/office/drawing/2014/main" id="{F0D0608A-4334-49AD-993E-04218E0ED9CE}"/>
              </a:ext>
            </a:extLst>
          </p:cNvPr>
          <p:cNvSpPr txBox="1"/>
          <p:nvPr/>
        </p:nvSpPr>
        <p:spPr>
          <a:xfrm>
            <a:off x="10265867" y="3848381"/>
            <a:ext cx="929593" cy="307777"/>
          </a:xfrm>
          <a:prstGeom prst="rect">
            <a:avLst/>
          </a:prstGeom>
          <a:noFill/>
        </p:spPr>
        <p:txBody>
          <a:bodyPr wrap="square" rtlCol="0">
            <a:spAutoFit/>
          </a:bodyPr>
          <a:lstStyle/>
          <a:p>
            <a:r>
              <a:rPr lang="de-DE" sz="1400" u="sng" err="1">
                <a:solidFill>
                  <a:schemeClr val="bg1">
                    <a:lumMod val="85000"/>
                  </a:schemeClr>
                </a:solidFill>
                <a:latin typeface="Helvetica" panose="020B0604020202020204" pitchFamily="34" charset="0"/>
                <a:cs typeface="Helvetica" panose="020B0604020202020204" pitchFamily="34" charset="0"/>
              </a:rPr>
              <a:t>Map</a:t>
            </a:r>
            <a:endParaRPr lang="de-DE" sz="2000" u="sng">
              <a:solidFill>
                <a:schemeClr val="bg1">
                  <a:lumMod val="85000"/>
                </a:schemeClr>
              </a:solidFill>
              <a:latin typeface="Helvetica" panose="020B0604020202020204" pitchFamily="34" charset="0"/>
              <a:cs typeface="Helvetica" panose="020B0604020202020204" pitchFamily="34" charset="0"/>
            </a:endParaRPr>
          </a:p>
        </p:txBody>
      </p:sp>
      <p:pic>
        <p:nvPicPr>
          <p:cNvPr id="103" name="Grafik 102" descr="Fracht mit einfarbiger Füllung">
            <a:extLst>
              <a:ext uri="{FF2B5EF4-FFF2-40B4-BE49-F238E27FC236}">
                <a16:creationId xmlns:a16="http://schemas.microsoft.com/office/drawing/2014/main" id="{5216D9F1-2B35-4C90-B531-C75A7FB6278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flipH="1">
            <a:off x="11087550" y="6017488"/>
            <a:ext cx="315917" cy="315917"/>
          </a:xfrm>
          <a:prstGeom prst="rect">
            <a:avLst/>
          </a:prstGeom>
        </p:spPr>
      </p:pic>
      <p:pic>
        <p:nvPicPr>
          <p:cNvPr id="115" name="Grafik 114" descr="Fracht mit einfarbiger Füllung">
            <a:extLst>
              <a:ext uri="{FF2B5EF4-FFF2-40B4-BE49-F238E27FC236}">
                <a16:creationId xmlns:a16="http://schemas.microsoft.com/office/drawing/2014/main" id="{A2B62B5F-E835-4DE1-AE88-C0A50E70D16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flipH="1">
            <a:off x="10088494" y="5008831"/>
            <a:ext cx="315917" cy="315917"/>
          </a:xfrm>
          <a:prstGeom prst="rect">
            <a:avLst/>
          </a:prstGeom>
        </p:spPr>
      </p:pic>
      <p:pic>
        <p:nvPicPr>
          <p:cNvPr id="116" name="Grafik 115" descr="Fracht mit einfarbiger Füllung">
            <a:extLst>
              <a:ext uri="{FF2B5EF4-FFF2-40B4-BE49-F238E27FC236}">
                <a16:creationId xmlns:a16="http://schemas.microsoft.com/office/drawing/2014/main" id="{E1E47D1F-ABD9-4CC7-A26E-86C54194EB13}"/>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flipH="1">
            <a:off x="11803298" y="6188967"/>
            <a:ext cx="315917" cy="315917"/>
          </a:xfrm>
          <a:prstGeom prst="rect">
            <a:avLst/>
          </a:prstGeom>
        </p:spPr>
      </p:pic>
      <p:pic>
        <p:nvPicPr>
          <p:cNvPr id="19" name="Grafik 18" descr="Karte mit Ortsmarkierung mit einfarbiger Füllung">
            <a:extLst>
              <a:ext uri="{FF2B5EF4-FFF2-40B4-BE49-F238E27FC236}">
                <a16:creationId xmlns:a16="http://schemas.microsoft.com/office/drawing/2014/main" id="{E131061C-7805-4367-9B26-5BAE0B53EC8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9932674" y="3824450"/>
            <a:ext cx="355635" cy="355635"/>
          </a:xfrm>
          <a:prstGeom prst="rect">
            <a:avLst/>
          </a:prstGeom>
        </p:spPr>
      </p:pic>
    </p:spTree>
    <p:extLst>
      <p:ext uri="{BB962C8B-B14F-4D97-AF65-F5344CB8AC3E}">
        <p14:creationId xmlns:p14="http://schemas.microsoft.com/office/powerpoint/2010/main" val="263847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withEffect">
                                  <p:stCondLst>
                                    <p:cond delay="0"/>
                                  </p:stCondLst>
                                  <p:childTnLst>
                                    <p:animMotion origin="layout" path="M 0.00404 0.00625 C -0.00013 0.00834 0.00182 0.00718 -0.00195 0.00949 L -0.00339 0.01019 L -0.00469 0.01111 C -0.00755 0.01621 -0.00339 0.00926 -0.00703 0.01343 C -0.00911 0.01598 -0.00755 0.01574 -0.00977 0.0176 C -0.00977 0.0176 -0.01315 0.01968 -0.0138 0.01991 L -0.01797 0.02246 C -0.01836 0.02269 -0.01888 0.02315 -0.01927 0.02315 C -0.02188 0.02431 -0.02057 0.02385 -0.02344 0.025 C -0.028 0.02454 -0.0306 0.025 -0.03438 0.02315 C -0.0349 0.02315 -0.03529 0.02269 -0.03581 0.02246 C -0.03672 0.01736 -0.03685 0.01783 -0.03711 0.01273 C -0.03724 0.01204 -0.03711 0.01158 -0.03711 0.01111 " pathEditMode="relative" ptsTypes="AAAAAAAAAAAAAA">
                                      <p:cBhvr>
                                        <p:cTn id="6" dur="20000" fill="hold"/>
                                        <p:tgtEl>
                                          <p:spTgt spid="116"/>
                                        </p:tgtEl>
                                        <p:attrNameLst>
                                          <p:attrName>ppt_x</p:attrName>
                                          <p:attrName>ppt_y</p:attrName>
                                        </p:attrNameLst>
                                      </p:cBhvr>
                                    </p:animMotion>
                                  </p:childTnLst>
                                </p:cTn>
                              </p:par>
                              <p:par>
                                <p:cTn id="7" presetID="0" presetClass="path" presetSubtype="0" accel="50000" decel="50000" fill="hold" nodeType="withEffect">
                                  <p:stCondLst>
                                    <p:cond delay="0"/>
                                  </p:stCondLst>
                                  <p:childTnLst>
                                    <p:animMotion origin="layout" path="M -0.00339 0.0044 C -0.00456 0.00325 -0.00573 0.00255 -0.00664 0.00093 C -0.00742 -0.00023 -0.00886 -0.00486 -0.00938 -0.00717 C -0.00951 -0.00787 -0.00964 -0.00879 -0.0099 -0.00949 C -0.01042 -0.0118 -0.0112 -0.01365 -0.01159 -0.01597 L -0.01302 -0.02337 C -0.01328 -0.025 -0.01354 -0.02685 -0.01445 -0.02824 C -0.01823 -0.03425 -0.01576 -0.02986 -0.01849 -0.03217 C -0.01901 -0.03263 -0.0194 -0.03333 -0.01979 -0.03379 C -0.02005 -0.03472 -0.02005 -0.03564 -0.02031 -0.03634 C -0.02214 -0.04259 -0.02057 -0.03495 -0.02175 -0.0412 C -0.02188 -0.04305 -0.02175 -0.04513 -0.02214 -0.04675 C -0.02227 -0.04768 -0.02279 -0.04791 -0.02305 -0.04837 C -0.02474 -0.05231 -0.02292 -0.04976 -0.02539 -0.05254 C -0.02617 -0.05671 -0.02526 -0.05347 -0.02669 -0.05648 C -0.02708 -0.0574 -0.02721 -0.05833 -0.02761 -0.05902 C -0.02813 -0.05995 -0.02917 -0.06087 -0.02982 -0.06134 " pathEditMode="relative" ptsTypes="AAAAAAAAAAAAAAAAA">
                                      <p:cBhvr>
                                        <p:cTn id="8" dur="20000" fill="hold"/>
                                        <p:tgtEl>
                                          <p:spTgt spid="126"/>
                                        </p:tgtEl>
                                        <p:attrNameLst>
                                          <p:attrName>ppt_x</p:attrName>
                                          <p:attrName>ppt_y</p:attrName>
                                        </p:attrNameLst>
                                      </p:cBhvr>
                                    </p:animMotion>
                                  </p:childTnLst>
                                </p:cTn>
                              </p:par>
                              <p:par>
                                <p:cTn id="9" presetID="0" presetClass="path" presetSubtype="0" accel="50000" decel="50000" fill="hold" nodeType="withEffect">
                                  <p:stCondLst>
                                    <p:cond delay="0"/>
                                  </p:stCondLst>
                                  <p:childTnLst>
                                    <p:animMotion origin="layout" path="M -0.00078 0.0037 C -0.00104 -7.40741E-7 -0.0013 -0.00486 -0.00182 -0.00856 C -0.00182 -0.00949 -0.00195 -0.01018 -0.00221 -0.01111 C -0.00247 -0.0118 -0.00286 -0.01204 -0.00312 -0.01273 C -0.00351 -0.01343 -0.00364 -0.01435 -0.00403 -0.01505 C -0.00481 -0.01643 -0.00572 -0.01759 -0.00638 -0.01921 C -0.00664 -0.01991 -0.00703 -0.02083 -0.00729 -0.02153 C -0.00742 -0.02245 -0.00729 -0.02361 -0.00768 -0.02407 C -0.00846 -0.025 -0.01041 -0.02569 -0.01041 -0.02569 C -0.01184 -0.02963 -0.0108 -0.02778 -0.01406 -0.02963 L -0.01549 -0.03055 C -0.01757 -0.03611 -0.01653 -0.03403 -0.01822 -0.03704 C -0.01875 -0.04051 -0.01862 -0.03912 -0.01862 -0.04097 " pathEditMode="relative" ptsTypes="AAAAAAAAAAAAA">
                                      <p:cBhvr>
                                        <p:cTn id="10" dur="20000" fill="hold"/>
                                        <p:tgtEl>
                                          <p:spTgt spid="115"/>
                                        </p:tgtEl>
                                        <p:attrNameLst>
                                          <p:attrName>ppt_x</p:attrName>
                                          <p:attrName>ppt_y</p:attrName>
                                        </p:attrNameLst>
                                      </p:cBhvr>
                                    </p:animMotion>
                                  </p:childTnLst>
                                </p:cTn>
                              </p:par>
                              <p:par>
                                <p:cTn id="11" presetID="0" presetClass="path" presetSubtype="0" fill="hold" nodeType="withEffect">
                                  <p:stCondLst>
                                    <p:cond delay="0"/>
                                  </p:stCondLst>
                                  <p:childTnLst>
                                    <p:animMotion origin="layout" path="M 0.00053 0.0044 C -0.00026 0.00301 -0.00104 0.00162 -0.00195 0.00046 C -0.00221 0.00023 -0.0026 0.00023 -0.00299 2.59259E-6 C -0.00338 -0.00023 -0.00494 -0.00093 -0.00546 -0.00139 L -0.00859 -0.0051 L -0.00963 -0.00625 C -0.00989 -0.00695 -0.01054 -0.00741 -0.01028 -0.0081 C -0.00989 -0.00903 -0.00885 -0.0088 -0.0082 -0.00926 C -0.00781 -0.00949 -0.00755 -0.00996 -0.00716 -0.00996 L 0.00196 -0.01065 C 0.00157 -0.01088 0.00105 -0.01111 0.00079 -0.01181 C 0.00039 -0.01297 0.00079 -0.01482 0.00013 -0.01551 C -0.00026 -0.01597 -0.00052 -0.01621 -0.00091 -0.01667 C -0.00117 -0.01713 -0.0013 -0.0176 -0.00156 -0.01806 C -0.00221 -0.01898 -0.00312 -0.01945 -0.00364 -0.02037 C -0.00507 -0.02292 -0.00429 -0.02176 -0.00572 -0.02361 C -0.00586 -0.02408 -0.00599 -0.02477 -0.00612 -0.02547 C -0.00625 -0.02616 -0.00664 -0.02662 -0.00677 -0.02732 C -0.00716 -0.02847 -0.00729 -0.02963 -0.00755 -0.03102 L -0.00781 -0.03287 C -0.00703 -0.03704 -0.00794 -0.03172 -0.00716 -0.03773 C -0.0069 -0.03935 -0.00677 -0.03959 -0.00651 -0.04074 " pathEditMode="relative" ptsTypes="AAAAAAAAAAAAAAAAAAAAAA">
                                      <p:cBhvr>
                                        <p:cTn id="12" dur="20000" fill="hold"/>
                                        <p:tgtEl>
                                          <p:spTgt spid="127"/>
                                        </p:tgtEl>
                                        <p:attrNameLst>
                                          <p:attrName>ppt_x</p:attrName>
                                          <p:attrName>ppt_y</p:attrName>
                                        </p:attrNameLst>
                                      </p:cBhvr>
                                    </p:animMotion>
                                  </p:childTnLst>
                                </p:cTn>
                              </p:par>
                              <p:par>
                                <p:cTn id="13" presetID="0" presetClass="path" presetSubtype="0" fill="hold" nodeType="withEffect">
                                  <p:stCondLst>
                                    <p:cond delay="0"/>
                                  </p:stCondLst>
                                  <p:childTnLst>
                                    <p:animMotion origin="layout" path="M 0.00221 0.00926 C 0.00208 0.00718 0.00208 0.00533 0.00182 0.00324 C 0.0013 -0.00254 0.00143 0.00255 0.00104 -0.00115 C 0.00091 -0.00185 0.00091 -0.00277 0.00078 -0.00347 C 0.00065 -0.00416 0.00052 -0.00463 0.00026 -0.00509 C -0.00026 -0.00555 -0.00144 -0.00602 -0.00144 -0.00602 L -0.00391 -0.00902 C -0.00417 -0.00926 -0.00443 -0.00972 -0.00469 -0.00995 C -0.00664 -0.01111 -0.0043 -0.00949 -0.00664 -0.01134 C -0.00691 -0.01157 -0.0073 -0.01157 -0.00756 -0.0118 C -0.00808 -0.0125 -0.00847 -0.01342 -0.00912 -0.01389 L -0.01081 -0.01481 C -0.01107 -0.01504 -0.01133 -0.01504 -0.01159 -0.01527 C -0.01276 -0.01643 -0.01211 -0.01597 -0.01329 -0.01666 C -0.0142 -0.01782 -0.01472 -0.01828 -0.01524 -0.0206 C -0.01537 -0.02176 -0.0155 -0.02291 -0.01602 -0.02361 C -0.01654 -0.0243 -0.01719 -0.025 -0.01771 -0.02546 L -0.01849 -0.02662 C -0.01875 -0.02685 -0.01901 -0.02731 -0.01941 -0.02754 C -0.02149 -0.0287 -0.01888 -0.02708 -0.02097 -0.02893 C -0.02123 -0.02916 -0.02162 -0.02916 -0.02188 -0.0294 C -0.0224 -0.03009 -0.02344 -0.03148 -0.02344 -0.03148 C -0.02357 -0.03194 -0.0237 -0.0324 -0.0237 -0.03287 C -0.0237 -0.03541 -0.02305 -0.03402 -0.02214 -0.03379 C -0.02175 -0.03379 -0.02136 -0.03379 -0.02097 -0.03379 " pathEditMode="relative" ptsTypes="AAAAAAAAAAAAAAAAAAAAAAAAA">
                                      <p:cBhvr>
                                        <p:cTn id="14" dur="20000" fill="hold"/>
                                        <p:tgtEl>
                                          <p:spTgt spid="103"/>
                                        </p:tgtEl>
                                        <p:attrNameLst>
                                          <p:attrName>ppt_x</p:attrName>
                                          <p:attrName>ppt_y</p:attrName>
                                        </p:attrNameLst>
                                      </p:cBhvr>
                                    </p:animMotion>
                                  </p:childTnLst>
                                </p:cTn>
                              </p:par>
                              <p:par>
                                <p:cTn id="15" presetID="0" presetClass="path" presetSubtype="0" fill="hold" nodeType="withEffect">
                                  <p:stCondLst>
                                    <p:cond delay="0"/>
                                  </p:stCondLst>
                                  <p:childTnLst>
                                    <p:animMotion origin="layout" path="M -0.00104 0.0044 C -0.00169 0.00371 -0.00234 0.00301 -0.00299 0.00232 C -0.00364 0.00162 -0.00403 0.00047 -0.00468 0.00023 L -0.00638 -0.00023 C -0.00807 -0.00115 -0.00742 -0.00115 -0.01041 -0.00023 C -0.01041 -0.00023 -0.0125 0.00116 -0.01289 0.00139 L -0.01458 0.00232 C -0.01484 0.00255 -0.0151 0.00278 -0.01549 0.00278 C -0.01575 0.00301 -0.01614 0.00301 -0.01653 0.00324 C -0.01927 0.00463 -0.01497 0.00278 -0.01849 0.0044 C -0.01953 0.00417 -0.0207 0.00417 -0.02174 0.00371 C -0.02239 0.00371 -0.02343 0.00278 -0.02343 0.00278 C -0.02369 0.00232 -0.02396 0.00185 -0.02422 0.00139 C -0.02448 0.00093 -0.02487 0.00093 -0.02513 0.00023 C -0.02539 -0.00046 -0.02513 -0.00208 -0.02565 -0.00254 C -0.02591 -0.00301 -0.02617 -0.00347 -0.02643 -0.0037 C -0.02825 -0.00509 -0.0289 -0.00463 -0.03112 -0.00509 L -0.03359 -0.00648 C -0.03385 -0.00671 -0.03411 -0.00694 -0.0345 -0.00694 L -0.03724 -0.00764 C -0.03763 -0.00856 -0.03763 -0.01018 -0.03828 -0.01041 L -0.03906 -0.01088 " pathEditMode="relative" ptsTypes="AAAAAAAAAAAAAAAAAAAAAA">
                                      <p:cBhvr>
                                        <p:cTn id="16" dur="20000" fill="hold"/>
                                        <p:tgtEl>
                                          <p:spTgt spid="12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Rechteck: abgerundete Ecken 63">
            <a:extLst>
              <a:ext uri="{FF2B5EF4-FFF2-40B4-BE49-F238E27FC236}">
                <a16:creationId xmlns:a16="http://schemas.microsoft.com/office/drawing/2014/main" id="{BA19356F-7A56-4060-9E18-0AE520282805}"/>
              </a:ext>
            </a:extLst>
          </p:cNvPr>
          <p:cNvSpPr/>
          <p:nvPr/>
        </p:nvSpPr>
        <p:spPr>
          <a:xfrm>
            <a:off x="3963967" y="784417"/>
            <a:ext cx="4257901" cy="895307"/>
          </a:xfrm>
          <a:prstGeom prst="roundRect">
            <a:avLst>
              <a:gd name="adj" fmla="val 22341"/>
            </a:avLst>
          </a:prstGeom>
          <a:solidFill>
            <a:srgbClr val="2134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6" name="Rechteck: abgerundete Ecken 65">
            <a:extLst>
              <a:ext uri="{FF2B5EF4-FFF2-40B4-BE49-F238E27FC236}">
                <a16:creationId xmlns:a16="http://schemas.microsoft.com/office/drawing/2014/main" id="{34E1A081-8F09-417E-89E3-1BC3A2E5D96D}"/>
              </a:ext>
            </a:extLst>
          </p:cNvPr>
          <p:cNvSpPr/>
          <p:nvPr/>
        </p:nvSpPr>
        <p:spPr>
          <a:xfrm>
            <a:off x="148302" y="4547433"/>
            <a:ext cx="3740627" cy="1945223"/>
          </a:xfrm>
          <a:prstGeom prst="roundRect">
            <a:avLst>
              <a:gd name="adj" fmla="val 1092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5" name="Rechteck: abgerundete Ecken 64">
            <a:extLst>
              <a:ext uri="{FF2B5EF4-FFF2-40B4-BE49-F238E27FC236}">
                <a16:creationId xmlns:a16="http://schemas.microsoft.com/office/drawing/2014/main" id="{29521579-A50C-454E-8123-1EF557EA032B}"/>
              </a:ext>
            </a:extLst>
          </p:cNvPr>
          <p:cNvSpPr/>
          <p:nvPr/>
        </p:nvSpPr>
        <p:spPr>
          <a:xfrm>
            <a:off x="124895" y="782661"/>
            <a:ext cx="3763588" cy="3666352"/>
          </a:xfrm>
          <a:prstGeom prst="roundRect">
            <a:avLst>
              <a:gd name="adj" fmla="val 777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48" name="Rechteck: abgerundete Ecken 47">
            <a:extLst>
              <a:ext uri="{FF2B5EF4-FFF2-40B4-BE49-F238E27FC236}">
                <a16:creationId xmlns:a16="http://schemas.microsoft.com/office/drawing/2014/main" id="{C2D809BB-723D-46A7-BD8A-AB8A17D9A9A8}"/>
              </a:ext>
            </a:extLst>
          </p:cNvPr>
          <p:cNvSpPr/>
          <p:nvPr/>
        </p:nvSpPr>
        <p:spPr>
          <a:xfrm>
            <a:off x="8303516" y="782660"/>
            <a:ext cx="3762000" cy="2856038"/>
          </a:xfrm>
          <a:prstGeom prst="roundRect">
            <a:avLst>
              <a:gd name="adj" fmla="val 7774"/>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80811" y="21022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9153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37" name="Textfeld 36">
            <a:extLst>
              <a:ext uri="{FF2B5EF4-FFF2-40B4-BE49-F238E27FC236}">
                <a16:creationId xmlns:a16="http://schemas.microsoft.com/office/drawing/2014/main" id="{3CC3761C-DAF6-4249-B031-35F1D072D1C2}"/>
              </a:ext>
            </a:extLst>
          </p:cNvPr>
          <p:cNvSpPr txBox="1"/>
          <p:nvPr/>
        </p:nvSpPr>
        <p:spPr>
          <a:xfrm>
            <a:off x="4013378" y="905216"/>
            <a:ext cx="1756358" cy="646331"/>
          </a:xfrm>
          <a:prstGeom prst="rect">
            <a:avLst/>
          </a:prstGeom>
          <a:noFill/>
        </p:spPr>
        <p:txBody>
          <a:bodyPr wrap="square" rtlCol="0">
            <a:spAutoFit/>
          </a:bodyPr>
          <a:lstStyle/>
          <a:p>
            <a:r>
              <a:rPr lang="de-DE" err="1">
                <a:solidFill>
                  <a:schemeClr val="bg1">
                    <a:lumMod val="75000"/>
                  </a:schemeClr>
                </a:solidFill>
                <a:latin typeface="Helvetica" panose="020B0604020202020204" pitchFamily="34" charset="0"/>
                <a:cs typeface="Helvetica" panose="020B0604020202020204" pitchFamily="34" charset="0"/>
              </a:rPr>
              <a:t>Estimated</a:t>
            </a:r>
            <a:r>
              <a:rPr lang="de-DE">
                <a:solidFill>
                  <a:schemeClr val="bg1">
                    <a:lumMod val="75000"/>
                  </a:schemeClr>
                </a:solidFill>
                <a:latin typeface="Helvetica" panose="020B0604020202020204" pitchFamily="34" charset="0"/>
                <a:cs typeface="Helvetica" panose="020B0604020202020204" pitchFamily="34" charset="0"/>
              </a:rPr>
              <a:t> Time </a:t>
            </a:r>
            <a:r>
              <a:rPr lang="de-DE" err="1">
                <a:solidFill>
                  <a:schemeClr val="bg1">
                    <a:lumMod val="75000"/>
                  </a:schemeClr>
                </a:solidFill>
                <a:latin typeface="Helvetica" panose="020B0604020202020204" pitchFamily="34" charset="0"/>
                <a:cs typeface="Helvetica" panose="020B0604020202020204" pitchFamily="34" charset="0"/>
              </a:rPr>
              <a:t>of</a:t>
            </a:r>
            <a:r>
              <a:rPr lang="de-DE">
                <a:solidFill>
                  <a:schemeClr val="bg1">
                    <a:lumMod val="75000"/>
                  </a:schemeClr>
                </a:solidFill>
                <a:latin typeface="Helvetica" panose="020B0604020202020204" pitchFamily="34" charset="0"/>
                <a:cs typeface="Helvetica" panose="020B0604020202020204" pitchFamily="34" charset="0"/>
              </a:rPr>
              <a:t> Arrival: </a:t>
            </a:r>
          </a:p>
        </p:txBody>
      </p:sp>
      <p:sp>
        <p:nvSpPr>
          <p:cNvPr id="38" name="Textfeld 37">
            <a:extLst>
              <a:ext uri="{FF2B5EF4-FFF2-40B4-BE49-F238E27FC236}">
                <a16:creationId xmlns:a16="http://schemas.microsoft.com/office/drawing/2014/main" id="{B39E70F3-DA01-469A-8579-DF16BF243794}"/>
              </a:ext>
            </a:extLst>
          </p:cNvPr>
          <p:cNvSpPr txBox="1"/>
          <p:nvPr/>
        </p:nvSpPr>
        <p:spPr>
          <a:xfrm>
            <a:off x="5821982" y="795023"/>
            <a:ext cx="2459210" cy="830997"/>
          </a:xfrm>
          <a:prstGeom prst="rect">
            <a:avLst/>
          </a:prstGeom>
          <a:noFill/>
        </p:spPr>
        <p:txBody>
          <a:bodyPr wrap="square">
            <a:spAutoFit/>
          </a:bodyPr>
          <a:lstStyle/>
          <a:p>
            <a:r>
              <a:rPr lang="de-DE" sz="2800">
                <a:solidFill>
                  <a:schemeClr val="bg1">
                    <a:lumMod val="75000"/>
                  </a:schemeClr>
                </a:solidFill>
                <a:latin typeface="Helvetica" panose="020B0604020202020204" pitchFamily="34" charset="0"/>
                <a:cs typeface="Helvetica" panose="020B0604020202020204" pitchFamily="34" charset="0"/>
              </a:rPr>
              <a:t>01:30 AM </a:t>
            </a:r>
          </a:p>
          <a:p>
            <a:r>
              <a:rPr lang="de-DE" sz="2000">
                <a:solidFill>
                  <a:schemeClr val="bg1">
                    <a:lumMod val="75000"/>
                  </a:schemeClr>
                </a:solidFill>
                <a:latin typeface="Helvetica" panose="020B0604020202020204" pitchFamily="34" charset="0"/>
                <a:cs typeface="Helvetica" panose="020B0604020202020204" pitchFamily="34" charset="0"/>
              </a:rPr>
              <a:t>2021-07-17</a:t>
            </a:r>
          </a:p>
        </p:txBody>
      </p:sp>
      <p:grpSp>
        <p:nvGrpSpPr>
          <p:cNvPr id="42" name="Gruppieren 41">
            <a:extLst>
              <a:ext uri="{FF2B5EF4-FFF2-40B4-BE49-F238E27FC236}">
                <a16:creationId xmlns:a16="http://schemas.microsoft.com/office/drawing/2014/main" id="{E1CB552E-6DCA-47D2-A559-5FF52F01196C}"/>
              </a:ext>
            </a:extLst>
          </p:cNvPr>
          <p:cNvGrpSpPr/>
          <p:nvPr/>
        </p:nvGrpSpPr>
        <p:grpSpPr>
          <a:xfrm>
            <a:off x="11363261" y="53877"/>
            <a:ext cx="651099" cy="663064"/>
            <a:chOff x="11383176" y="32803"/>
            <a:chExt cx="651099" cy="663064"/>
          </a:xfrm>
        </p:grpSpPr>
        <p:sp>
          <p:nvSpPr>
            <p:cNvPr id="67" name="Rechteck: abgerundete Ecken 66">
              <a:extLst>
                <a:ext uri="{FF2B5EF4-FFF2-40B4-BE49-F238E27FC236}">
                  <a16:creationId xmlns:a16="http://schemas.microsoft.com/office/drawing/2014/main" id="{C3AE41E6-98B1-474C-8D22-9833CEAB951E}"/>
                </a:ext>
              </a:extLst>
            </p:cNvPr>
            <p:cNvSpPr/>
            <p:nvPr/>
          </p:nvSpPr>
          <p:spPr>
            <a:xfrm>
              <a:off x="11383176" y="32803"/>
              <a:ext cx="651099" cy="663064"/>
            </a:xfrm>
            <a:prstGeom prst="roundRect">
              <a:avLst/>
            </a:prstGeom>
            <a:solidFill>
              <a:srgbClr val="70707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a:extLst>
                <a:ext uri="{FF2B5EF4-FFF2-40B4-BE49-F238E27FC236}">
                  <a16:creationId xmlns:a16="http://schemas.microsoft.com/office/drawing/2014/main" id="{C005BD2A-4C1C-4C46-BB9E-E0F3229E0CD9}"/>
                </a:ext>
              </a:extLst>
            </p:cNvPr>
            <p:cNvGrpSpPr/>
            <p:nvPr/>
          </p:nvGrpSpPr>
          <p:grpSpPr>
            <a:xfrm>
              <a:off x="11413313" y="84078"/>
              <a:ext cx="576228" cy="546132"/>
              <a:chOff x="11289906" y="19826"/>
              <a:chExt cx="725969" cy="736528"/>
            </a:xfrm>
          </p:grpSpPr>
          <p:pic>
            <p:nvPicPr>
              <p:cNvPr id="16" name="Grafik 15" descr="Start mit einfarbiger Füllung">
                <a:extLst>
                  <a:ext uri="{FF2B5EF4-FFF2-40B4-BE49-F238E27FC236}">
                    <a16:creationId xmlns:a16="http://schemas.microsoft.com/office/drawing/2014/main" id="{DF0B759D-9539-425C-A9C9-6F49A3196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89906" y="19826"/>
                <a:ext cx="725969" cy="736528"/>
              </a:xfrm>
              <a:prstGeom prst="rect">
                <a:avLst/>
              </a:prstGeom>
            </p:spPr>
          </p:pic>
          <p:sp>
            <p:nvSpPr>
              <p:cNvPr id="24" name="Rechteck 23">
                <a:extLst>
                  <a:ext uri="{FF2B5EF4-FFF2-40B4-BE49-F238E27FC236}">
                    <a16:creationId xmlns:a16="http://schemas.microsoft.com/office/drawing/2014/main" id="{01AF9439-9DFC-4811-B2E2-2349E8D50BA6}"/>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uppieren 20">
                <a:extLst>
                  <a:ext uri="{FF2B5EF4-FFF2-40B4-BE49-F238E27FC236}">
                    <a16:creationId xmlns:a16="http://schemas.microsoft.com/office/drawing/2014/main" id="{C059AF37-B18D-4CFF-AFF9-CF74DD09C02D}"/>
                  </a:ext>
                </a:extLst>
              </p:cNvPr>
              <p:cNvGrpSpPr/>
              <p:nvPr/>
            </p:nvGrpSpPr>
            <p:grpSpPr>
              <a:xfrm>
                <a:off x="11532842" y="384003"/>
                <a:ext cx="227866" cy="245618"/>
                <a:chOff x="12619843" y="1120419"/>
                <a:chExt cx="414641" cy="414640"/>
              </a:xfrm>
            </p:grpSpPr>
            <p:sp>
              <p:nvSpPr>
                <p:cNvPr id="19" name="Ellipse 18">
                  <a:extLst>
                    <a:ext uri="{FF2B5EF4-FFF2-40B4-BE49-F238E27FC236}">
                      <a16:creationId xmlns:a16="http://schemas.microsoft.com/office/drawing/2014/main" id="{11D0684A-DEB0-4546-A88D-92A9F472C4B9}"/>
                    </a:ext>
                  </a:extLst>
                </p:cNvPr>
                <p:cNvSpPr/>
                <p:nvPr/>
              </p:nvSpPr>
              <p:spPr>
                <a:xfrm>
                  <a:off x="12625489" y="1122976"/>
                  <a:ext cx="396000" cy="396000"/>
                </a:xfrm>
                <a:prstGeom prst="ellipse">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Kreis mit Pfeil nach links mit einfarbiger Füllung">
                  <a:extLst>
                    <a:ext uri="{FF2B5EF4-FFF2-40B4-BE49-F238E27FC236}">
                      <a16:creationId xmlns:a16="http://schemas.microsoft.com/office/drawing/2014/main" id="{0922C70C-FB53-48CA-90BF-72B6DC8F91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2619843" y="1120419"/>
                  <a:ext cx="414641" cy="414640"/>
                </a:xfrm>
                <a:prstGeom prst="rect">
                  <a:avLst/>
                </a:prstGeom>
              </p:spPr>
            </p:pic>
          </p:grpSp>
        </p:grpSp>
      </p:grpSp>
      <p:sp>
        <p:nvSpPr>
          <p:cNvPr id="68" name="Rechteck: abgerundete Ecken 67">
            <a:extLst>
              <a:ext uri="{FF2B5EF4-FFF2-40B4-BE49-F238E27FC236}">
                <a16:creationId xmlns:a16="http://schemas.microsoft.com/office/drawing/2014/main" id="{DD63FDD9-3CF4-4835-B20C-1D51FF012EFB}"/>
              </a:ext>
            </a:extLst>
          </p:cNvPr>
          <p:cNvSpPr/>
          <p:nvPr/>
        </p:nvSpPr>
        <p:spPr>
          <a:xfrm>
            <a:off x="3982259" y="1747729"/>
            <a:ext cx="4257901" cy="4727290"/>
          </a:xfrm>
          <a:prstGeom prst="roundRect">
            <a:avLst>
              <a:gd name="adj" fmla="val 867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aphicFrame>
        <p:nvGraphicFramePr>
          <p:cNvPr id="80" name="Tabelle 4">
            <a:extLst>
              <a:ext uri="{FF2B5EF4-FFF2-40B4-BE49-F238E27FC236}">
                <a16:creationId xmlns:a16="http://schemas.microsoft.com/office/drawing/2014/main" id="{8C2B61EA-7768-48BB-A4FA-7796FFC4D592}"/>
              </a:ext>
            </a:extLst>
          </p:cNvPr>
          <p:cNvGraphicFramePr>
            <a:graphicFrameLocks noGrp="1"/>
          </p:cNvGraphicFramePr>
          <p:nvPr/>
        </p:nvGraphicFramePr>
        <p:xfrm>
          <a:off x="304977" y="5078439"/>
          <a:ext cx="3348240" cy="1315797"/>
        </p:xfrm>
        <a:graphic>
          <a:graphicData uri="http://schemas.openxmlformats.org/drawingml/2006/table">
            <a:tbl>
              <a:tblPr firstRow="1" bandRow="1">
                <a:tableStyleId>{5C22544A-7EE6-4342-B048-85BDC9FD1C3A}</a:tableStyleId>
              </a:tblPr>
              <a:tblGrid>
                <a:gridCol w="1221664">
                  <a:extLst>
                    <a:ext uri="{9D8B030D-6E8A-4147-A177-3AD203B41FA5}">
                      <a16:colId xmlns:a16="http://schemas.microsoft.com/office/drawing/2014/main" val="2991778072"/>
                    </a:ext>
                  </a:extLst>
                </a:gridCol>
                <a:gridCol w="2126576">
                  <a:extLst>
                    <a:ext uri="{9D8B030D-6E8A-4147-A177-3AD203B41FA5}">
                      <a16:colId xmlns:a16="http://schemas.microsoft.com/office/drawing/2014/main" val="293995898"/>
                    </a:ext>
                  </a:extLst>
                </a:gridCol>
              </a:tblGrid>
              <a:tr h="438599">
                <a:tc>
                  <a:txBody>
                    <a:bodyPr/>
                    <a:lstStyle/>
                    <a:p>
                      <a:r>
                        <a:rPr lang="de-DE" sz="1600" b="0" err="1">
                          <a:solidFill>
                            <a:schemeClr val="tx1"/>
                          </a:solidFill>
                          <a:latin typeface="Helvetica" panose="020B0604020202020204" pitchFamily="34" charset="0"/>
                          <a:cs typeface="Helvetica" panose="020B0604020202020204" pitchFamily="34" charset="0"/>
                        </a:rPr>
                        <a:t>Shiptype</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Tan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438599">
                <a:tc>
                  <a:txBody>
                    <a:bodyPr/>
                    <a:lstStyle/>
                    <a:p>
                      <a:r>
                        <a:rPr lang="de-DE" sz="1600" b="0">
                          <a:solidFill>
                            <a:schemeClr val="tx1"/>
                          </a:solidFill>
                          <a:latin typeface="Helvetica" panose="020B0604020202020204" pitchFamily="34" charset="0"/>
                          <a:cs typeface="Helvetica" panose="020B0604020202020204" pitchFamily="34" charset="0"/>
                        </a:rPr>
                        <a:t>Wid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438599">
                <a:tc>
                  <a:txBody>
                    <a:bodyPr/>
                    <a:lstStyle/>
                    <a:p>
                      <a:r>
                        <a:rPr lang="de-DE" sz="1600" b="0" err="1">
                          <a:solidFill>
                            <a:schemeClr val="tx1"/>
                          </a:solidFill>
                          <a:latin typeface="Helvetica" panose="020B0604020202020204" pitchFamily="34" charset="0"/>
                          <a:cs typeface="Helvetica" panose="020B0604020202020204" pitchFamily="34" charset="0"/>
                        </a:rPr>
                        <a:t>Length</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bl>
          </a:graphicData>
        </a:graphic>
      </p:graphicFrame>
      <p:graphicFrame>
        <p:nvGraphicFramePr>
          <p:cNvPr id="81" name="Tabelle 4">
            <a:extLst>
              <a:ext uri="{FF2B5EF4-FFF2-40B4-BE49-F238E27FC236}">
                <a16:creationId xmlns:a16="http://schemas.microsoft.com/office/drawing/2014/main" id="{218988A1-B80C-4254-8982-2D8B67B05D1D}"/>
              </a:ext>
            </a:extLst>
          </p:cNvPr>
          <p:cNvGraphicFramePr>
            <a:graphicFrameLocks noGrp="1"/>
          </p:cNvGraphicFramePr>
          <p:nvPr/>
        </p:nvGraphicFramePr>
        <p:xfrm>
          <a:off x="266969" y="1673241"/>
          <a:ext cx="3387468" cy="2698323"/>
        </p:xfrm>
        <a:graphic>
          <a:graphicData uri="http://schemas.openxmlformats.org/drawingml/2006/table">
            <a:tbl>
              <a:tblPr firstRow="1" bandRow="1">
                <a:tableStyleId>{5C22544A-7EE6-4342-B048-85BDC9FD1C3A}</a:tableStyleId>
              </a:tblPr>
              <a:tblGrid>
                <a:gridCol w="1617249">
                  <a:extLst>
                    <a:ext uri="{9D8B030D-6E8A-4147-A177-3AD203B41FA5}">
                      <a16:colId xmlns:a16="http://schemas.microsoft.com/office/drawing/2014/main" val="2991778072"/>
                    </a:ext>
                  </a:extLst>
                </a:gridCol>
                <a:gridCol w="1770219">
                  <a:extLst>
                    <a:ext uri="{9D8B030D-6E8A-4147-A177-3AD203B41FA5}">
                      <a16:colId xmlns:a16="http://schemas.microsoft.com/office/drawing/2014/main" val="293995898"/>
                    </a:ext>
                  </a:extLst>
                </a:gridCol>
              </a:tblGrid>
              <a:tr h="563367">
                <a:tc>
                  <a:txBody>
                    <a:bodyPr/>
                    <a:lstStyle/>
                    <a:p>
                      <a:r>
                        <a:rPr lang="de-DE" sz="1200" b="0">
                          <a:solidFill>
                            <a:schemeClr val="tx1"/>
                          </a:solidFill>
                          <a:latin typeface="Helvetica" panose="020B0604020202020204" pitchFamily="34" charset="0"/>
                          <a:cs typeface="Helvetica" panose="020B0604020202020204" pitchFamily="34" charset="0"/>
                        </a:rPr>
                        <a:t>Star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2021-07-15 6:00AM</a:t>
                      </a:r>
                      <a:br>
                        <a:rPr lang="de-DE" sz="1200" b="0" kern="1200">
                          <a:solidFill>
                            <a:schemeClr val="tx1"/>
                          </a:solidFill>
                          <a:latin typeface="Helvetica" panose="020B0604020202020204" pitchFamily="34" charset="0"/>
                          <a:ea typeface="+mn-ea"/>
                          <a:cs typeface="Helvetica" panose="020B0604020202020204" pitchFamily="34" charset="0"/>
                        </a:rPr>
                      </a:br>
                      <a:r>
                        <a:rPr lang="de-DE" sz="1200" b="0" kern="1200">
                          <a:solidFill>
                            <a:schemeClr val="tx1"/>
                          </a:solidFill>
                          <a:latin typeface="Helvetica" panose="020B0604020202020204" pitchFamily="34" charset="0"/>
                          <a:ea typeface="+mn-ea"/>
                          <a:cs typeface="Helvetica" panose="020B0604020202020204" pitchFamily="34" charset="0"/>
                        </a:rPr>
                        <a:t>Frankfurt a. 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estin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Rotterd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ock </a:t>
                      </a:r>
                      <a:r>
                        <a:rPr lang="de-DE" sz="1200" b="0" err="1">
                          <a:solidFill>
                            <a:schemeClr val="tx1"/>
                          </a:solidFill>
                          <a:latin typeface="Helvetica" panose="020B0604020202020204" pitchFamily="34" charset="0"/>
                          <a:cs typeface="Helvetica" panose="020B0604020202020204" pitchFamily="34" charset="0"/>
                        </a:rPr>
                        <a:t>planned</a:t>
                      </a:r>
                      <a:endParaRPr lang="de-DE" sz="1200" b="0">
                        <a:solidFill>
                          <a:schemeClr val="tx1"/>
                        </a:solidFill>
                        <a:latin typeface="Helvetica" panose="020B0604020202020204" pitchFamily="34" charset="0"/>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NLRTDOCK1209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957981"/>
                  </a:ext>
                </a:extLst>
              </a:tr>
              <a:tr h="676070">
                <a:tc>
                  <a:txBody>
                    <a:bodyPr/>
                    <a:lstStyle/>
                    <a:p>
                      <a:r>
                        <a:rPr lang="de-DE" sz="1200" b="0">
                          <a:solidFill>
                            <a:schemeClr val="tx1"/>
                          </a:solidFill>
                          <a:latin typeface="Helvetica" panose="020B0604020202020204" pitchFamily="34" charset="0"/>
                          <a:cs typeface="Helvetica" panose="020B0604020202020204" pitchFamily="34" charset="0"/>
                        </a:rPr>
                        <a:t>Outstanding </a:t>
                      </a:r>
                      <a:r>
                        <a:rPr lang="de-DE" sz="1200" b="0" err="1">
                          <a:solidFill>
                            <a:schemeClr val="tx1"/>
                          </a:solidFill>
                          <a:latin typeface="Helvetica" panose="020B0604020202020204" pitchFamily="34" charset="0"/>
                          <a:cs typeface="Helvetica" panose="020B0604020202020204" pitchFamily="34" charset="0"/>
                        </a:rPr>
                        <a:t>Distance</a:t>
                      </a:r>
                      <a:r>
                        <a:rPr lang="de-DE" sz="12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00 N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6296507"/>
                  </a:ext>
                </a:extLst>
              </a:tr>
              <a:tr h="676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a:solidFill>
                            <a:schemeClr val="tx1"/>
                          </a:solidFill>
                          <a:latin typeface="Helvetica" panose="020B0604020202020204" pitchFamily="34" charset="0"/>
                          <a:cs typeface="Helvetica" panose="020B0604020202020204" pitchFamily="34" charset="0"/>
                        </a:rPr>
                        <a:t>Outstanding Stop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 (</a:t>
                      </a:r>
                      <a:r>
                        <a:rPr lang="de-DE" sz="1200" b="0" kern="1200" err="1">
                          <a:solidFill>
                            <a:schemeClr val="tx1"/>
                          </a:solidFill>
                          <a:latin typeface="Helvetica" panose="020B0604020202020204" pitchFamily="34" charset="0"/>
                          <a:ea typeface="+mn-ea"/>
                          <a:cs typeface="Helvetica" panose="020B0604020202020204" pitchFamily="34" charset="0"/>
                        </a:rPr>
                        <a:t>floodgate</a:t>
                      </a:r>
                      <a:r>
                        <a:rPr lang="de-DE" sz="1200" b="0" kern="1200">
                          <a:solidFill>
                            <a:schemeClr val="tx1"/>
                          </a:solidFill>
                          <a:latin typeface="Helvetica" panose="020B0604020202020204" pitchFamily="34" charset="0"/>
                          <a:ea typeface="+mn-ea"/>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485702"/>
                  </a:ext>
                </a:extLst>
              </a:tr>
            </a:tbl>
          </a:graphicData>
        </a:graphic>
      </p:graphicFrame>
      <p:sp>
        <p:nvSpPr>
          <p:cNvPr id="92" name="Rechteck: obere Ecken abgerundet 91">
            <a:extLst>
              <a:ext uri="{FF2B5EF4-FFF2-40B4-BE49-F238E27FC236}">
                <a16:creationId xmlns:a16="http://schemas.microsoft.com/office/drawing/2014/main" id="{D59DEBDF-B7AF-4365-B32E-9D780E9DC2DD}"/>
              </a:ext>
            </a:extLst>
          </p:cNvPr>
          <p:cNvSpPr/>
          <p:nvPr/>
        </p:nvSpPr>
        <p:spPr>
          <a:xfrm>
            <a:off x="8303517" y="777118"/>
            <a:ext cx="3753743"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1" name="Diagramm 30">
            <a:extLst>
              <a:ext uri="{FF2B5EF4-FFF2-40B4-BE49-F238E27FC236}">
                <a16:creationId xmlns:a16="http://schemas.microsoft.com/office/drawing/2014/main" id="{E1F285C0-D100-4CBF-AFDA-8B694D2E6A75}"/>
              </a:ext>
            </a:extLst>
          </p:cNvPr>
          <p:cNvGraphicFramePr>
            <a:graphicFrameLocks/>
          </p:cNvGraphicFramePr>
          <p:nvPr/>
        </p:nvGraphicFramePr>
        <p:xfrm>
          <a:off x="8308002" y="822924"/>
          <a:ext cx="3530384" cy="2713095"/>
        </p:xfrm>
        <a:graphic>
          <a:graphicData uri="http://schemas.openxmlformats.org/drawingml/2006/chart">
            <c:chart xmlns:c="http://schemas.openxmlformats.org/drawingml/2006/chart" xmlns:r="http://schemas.openxmlformats.org/officeDocument/2006/relationships" r:id="rId8"/>
          </a:graphicData>
        </a:graphic>
      </p:graphicFrame>
      <p:pic>
        <p:nvPicPr>
          <p:cNvPr id="87" name="Grafik 86" descr="Messgerät Silhouette">
            <a:extLst>
              <a:ext uri="{FF2B5EF4-FFF2-40B4-BE49-F238E27FC236}">
                <a16:creationId xmlns:a16="http://schemas.microsoft.com/office/drawing/2014/main" id="{4AA3C71A-402C-4DE0-B690-1D4FCA769B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65832" y="774257"/>
            <a:ext cx="405162" cy="412564"/>
          </a:xfrm>
          <a:prstGeom prst="rect">
            <a:avLst/>
          </a:prstGeom>
        </p:spPr>
      </p:pic>
      <p:sp>
        <p:nvSpPr>
          <p:cNvPr id="94" name="Rechteck: obere Ecken abgerundet 93">
            <a:extLst>
              <a:ext uri="{FF2B5EF4-FFF2-40B4-BE49-F238E27FC236}">
                <a16:creationId xmlns:a16="http://schemas.microsoft.com/office/drawing/2014/main" id="{C1C2F33D-FA9D-4762-A2B8-6FEE923FBE94}"/>
              </a:ext>
            </a:extLst>
          </p:cNvPr>
          <p:cNvSpPr/>
          <p:nvPr/>
        </p:nvSpPr>
        <p:spPr>
          <a:xfrm>
            <a:off x="131808" y="4533070"/>
            <a:ext cx="3757021"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3A3DD95E-285B-4717-A67D-D73A60C155AB}"/>
              </a:ext>
            </a:extLst>
          </p:cNvPr>
          <p:cNvPicPr>
            <a:picLocks noChangeAspect="1"/>
          </p:cNvPicPr>
          <p:nvPr/>
        </p:nvPicPr>
        <p:blipFill rotWithShape="1">
          <a:blip r:embed="rId11"/>
          <a:srcRect l="6260" r="4429" b="-2"/>
          <a:stretch/>
        </p:blipFill>
        <p:spPr>
          <a:xfrm>
            <a:off x="8300489" y="3685467"/>
            <a:ext cx="3752915" cy="2789552"/>
          </a:xfrm>
          <a:prstGeom prst="roundRect">
            <a:avLst>
              <a:gd name="adj" fmla="val 7197"/>
            </a:avLst>
          </a:prstGeom>
          <a:ln w="19050">
            <a:solidFill>
              <a:srgbClr val="39445B"/>
            </a:solidFill>
          </a:ln>
        </p:spPr>
      </p:pic>
      <p:sp>
        <p:nvSpPr>
          <p:cNvPr id="44" name="Textfeld 43">
            <a:extLst>
              <a:ext uri="{FF2B5EF4-FFF2-40B4-BE49-F238E27FC236}">
                <a16:creationId xmlns:a16="http://schemas.microsoft.com/office/drawing/2014/main" id="{B6ADA23B-74E1-4A1D-BD2D-4A1ED09109FB}"/>
              </a:ext>
            </a:extLst>
          </p:cNvPr>
          <p:cNvSpPr txBox="1"/>
          <p:nvPr/>
        </p:nvSpPr>
        <p:spPr>
          <a:xfrm>
            <a:off x="9545406" y="5210129"/>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2</a:t>
            </a:r>
          </a:p>
        </p:txBody>
      </p:sp>
      <p:sp>
        <p:nvSpPr>
          <p:cNvPr id="45" name="Textfeld 44">
            <a:extLst>
              <a:ext uri="{FF2B5EF4-FFF2-40B4-BE49-F238E27FC236}">
                <a16:creationId xmlns:a16="http://schemas.microsoft.com/office/drawing/2014/main" id="{71AD1DDD-BF27-4B88-BA34-7A3703E12165}"/>
              </a:ext>
            </a:extLst>
          </p:cNvPr>
          <p:cNvSpPr txBox="1"/>
          <p:nvPr/>
        </p:nvSpPr>
        <p:spPr>
          <a:xfrm>
            <a:off x="8966189" y="4336140"/>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3</a:t>
            </a:r>
          </a:p>
        </p:txBody>
      </p:sp>
      <p:sp>
        <p:nvSpPr>
          <p:cNvPr id="43" name="Textfeld 42">
            <a:extLst>
              <a:ext uri="{FF2B5EF4-FFF2-40B4-BE49-F238E27FC236}">
                <a16:creationId xmlns:a16="http://schemas.microsoft.com/office/drawing/2014/main" id="{7A303450-841C-4E65-ACC8-5B0D34B99C64}"/>
              </a:ext>
            </a:extLst>
          </p:cNvPr>
          <p:cNvSpPr txBox="1"/>
          <p:nvPr/>
        </p:nvSpPr>
        <p:spPr>
          <a:xfrm>
            <a:off x="10425746" y="6037694"/>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1</a:t>
            </a:r>
          </a:p>
        </p:txBody>
      </p:sp>
      <p:sp>
        <p:nvSpPr>
          <p:cNvPr id="50" name="Gleichschenkliges Dreieck 49">
            <a:extLst>
              <a:ext uri="{FF2B5EF4-FFF2-40B4-BE49-F238E27FC236}">
                <a16:creationId xmlns:a16="http://schemas.microsoft.com/office/drawing/2014/main" id="{C9114AEA-7C63-4DA9-BDFC-A325D56E9BEC}"/>
              </a:ext>
            </a:extLst>
          </p:cNvPr>
          <p:cNvSpPr/>
          <p:nvPr/>
        </p:nvSpPr>
        <p:spPr>
          <a:xfrm>
            <a:off x="8778251" y="4322517"/>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1" name="Gleichschenkliges Dreieck 50">
            <a:extLst>
              <a:ext uri="{FF2B5EF4-FFF2-40B4-BE49-F238E27FC236}">
                <a16:creationId xmlns:a16="http://schemas.microsoft.com/office/drawing/2014/main" id="{C9114AEA-7C63-4DA9-BDFC-A325D56E9BEC}"/>
              </a:ext>
            </a:extLst>
          </p:cNvPr>
          <p:cNvSpPr/>
          <p:nvPr/>
        </p:nvSpPr>
        <p:spPr>
          <a:xfrm>
            <a:off x="9376711" y="5240905"/>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2" name="Gleichschenkliges Dreieck 51">
            <a:extLst>
              <a:ext uri="{FF2B5EF4-FFF2-40B4-BE49-F238E27FC236}">
                <a16:creationId xmlns:a16="http://schemas.microsoft.com/office/drawing/2014/main" id="{C9114AEA-7C63-4DA9-BDFC-A325D56E9BEC}"/>
              </a:ext>
            </a:extLst>
          </p:cNvPr>
          <p:cNvSpPr/>
          <p:nvPr/>
        </p:nvSpPr>
        <p:spPr>
          <a:xfrm>
            <a:off x="10284709" y="6177072"/>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10" name="Ellipse 9">
            <a:extLst>
              <a:ext uri="{FF2B5EF4-FFF2-40B4-BE49-F238E27FC236}">
                <a16:creationId xmlns:a16="http://schemas.microsoft.com/office/drawing/2014/main" id="{936AD436-16FA-4C8A-B617-403CEF7D8301}"/>
              </a:ext>
            </a:extLst>
          </p:cNvPr>
          <p:cNvSpPr/>
          <p:nvPr/>
        </p:nvSpPr>
        <p:spPr>
          <a:xfrm>
            <a:off x="11301884" y="6148808"/>
            <a:ext cx="156312" cy="146998"/>
          </a:xfrm>
          <a:prstGeom prst="ellipse">
            <a:avLst/>
          </a:pr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53" name="Textfeld 52">
            <a:extLst>
              <a:ext uri="{FF2B5EF4-FFF2-40B4-BE49-F238E27FC236}">
                <a16:creationId xmlns:a16="http://schemas.microsoft.com/office/drawing/2014/main" id="{9175F0A2-4736-456E-B15C-5DD1D35728FC}"/>
              </a:ext>
            </a:extLst>
          </p:cNvPr>
          <p:cNvSpPr txBox="1"/>
          <p:nvPr/>
        </p:nvSpPr>
        <p:spPr>
          <a:xfrm>
            <a:off x="11145040" y="5902945"/>
            <a:ext cx="505267" cy="261610"/>
          </a:xfrm>
          <a:prstGeom prst="rect">
            <a:avLst/>
          </a:prstGeom>
          <a:noFill/>
        </p:spPr>
        <p:txBody>
          <a:bodyPr wrap="none" rtlCol="0">
            <a:spAutoFit/>
          </a:bodyPr>
          <a:lstStyle/>
          <a:p>
            <a:r>
              <a:rPr lang="de-DE" sz="1100" b="1">
                <a:solidFill>
                  <a:srgbClr val="707070"/>
                </a:solidFill>
                <a:latin typeface="Helvetica" panose="020B0604020202020204" pitchFamily="34" charset="0"/>
                <a:cs typeface="Helvetica" panose="020B0604020202020204" pitchFamily="34" charset="0"/>
              </a:rPr>
              <a:t>Start</a:t>
            </a:r>
            <a:endParaRPr lang="de-DE" sz="1000" b="1">
              <a:solidFill>
                <a:srgbClr val="707070"/>
              </a:solidFill>
              <a:latin typeface="Helvetica" panose="020B0604020202020204" pitchFamily="34" charset="0"/>
              <a:cs typeface="Helvetica" panose="020B0604020202020204" pitchFamily="34" charset="0"/>
            </a:endParaRPr>
          </a:p>
        </p:txBody>
      </p:sp>
      <p:sp>
        <p:nvSpPr>
          <p:cNvPr id="70" name="Rechteck: abgerundete Ecken 69">
            <a:extLst>
              <a:ext uri="{FF2B5EF4-FFF2-40B4-BE49-F238E27FC236}">
                <a16:creationId xmlns:a16="http://schemas.microsoft.com/office/drawing/2014/main" id="{C95B3374-B475-4E15-993C-0F484DF69B75}"/>
              </a:ext>
            </a:extLst>
          </p:cNvPr>
          <p:cNvSpPr/>
          <p:nvPr/>
        </p:nvSpPr>
        <p:spPr>
          <a:xfrm>
            <a:off x="10363630" y="3723658"/>
            <a:ext cx="1606731" cy="381790"/>
          </a:xfrm>
          <a:prstGeom prst="roundRect">
            <a:avLst>
              <a:gd name="adj" fmla="val 3795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9" name="Textfeld 68">
            <a:extLst>
              <a:ext uri="{FF2B5EF4-FFF2-40B4-BE49-F238E27FC236}">
                <a16:creationId xmlns:a16="http://schemas.microsoft.com/office/drawing/2014/main" id="{C4926EBB-A852-47F5-8022-42525D8CD151}"/>
              </a:ext>
            </a:extLst>
          </p:cNvPr>
          <p:cNvSpPr txBox="1"/>
          <p:nvPr/>
        </p:nvSpPr>
        <p:spPr>
          <a:xfrm>
            <a:off x="10384222" y="3878230"/>
            <a:ext cx="1734457" cy="246221"/>
          </a:xfrm>
          <a:prstGeom prst="rect">
            <a:avLst/>
          </a:prstGeom>
          <a:noFill/>
        </p:spPr>
        <p:txBody>
          <a:bodyPr wrap="square">
            <a:spAutoFit/>
          </a:bodyPr>
          <a:lstStyle/>
          <a:p>
            <a:pPr algn="l" fontAlgn="base"/>
            <a:r>
              <a:rPr lang="de-DE" sz="1000" b="0" i="0">
                <a:effectLst/>
                <a:latin typeface="Helvetica" panose="020B0604020202020204" pitchFamily="34" charset="0"/>
                <a:cs typeface="Helvetica" panose="020B0604020202020204" pitchFamily="34" charset="0"/>
              </a:rPr>
              <a:t>50°01'08.1"N 8°06'08.1"E</a:t>
            </a:r>
          </a:p>
        </p:txBody>
      </p:sp>
      <p:sp>
        <p:nvSpPr>
          <p:cNvPr id="33" name="Textfeld 32">
            <a:extLst>
              <a:ext uri="{FF2B5EF4-FFF2-40B4-BE49-F238E27FC236}">
                <a16:creationId xmlns:a16="http://schemas.microsoft.com/office/drawing/2014/main" id="{0081B6B1-66D3-49F5-A39B-646C5A53F768}"/>
              </a:ext>
            </a:extLst>
          </p:cNvPr>
          <p:cNvSpPr txBox="1"/>
          <p:nvPr/>
        </p:nvSpPr>
        <p:spPr>
          <a:xfrm>
            <a:off x="10359936" y="3696331"/>
            <a:ext cx="1687568" cy="261610"/>
          </a:xfrm>
          <a:prstGeom prst="rect">
            <a:avLst/>
          </a:prstGeom>
          <a:noFill/>
        </p:spPr>
        <p:txBody>
          <a:bodyPr wrap="square" rtlCol="0">
            <a:spAutoFit/>
          </a:bodyPr>
          <a:lstStyle/>
          <a:p>
            <a:r>
              <a:rPr lang="de-DE" sz="1100" err="1">
                <a:latin typeface="Helvetica" panose="020B0604020202020204" pitchFamily="34" charset="0"/>
                <a:cs typeface="Helvetica" panose="020B0604020202020204" pitchFamily="34" charset="0"/>
              </a:rPr>
              <a:t>Current</a:t>
            </a:r>
            <a:r>
              <a:rPr lang="de-DE" sz="1100">
                <a:latin typeface="Helvetica" panose="020B0604020202020204" pitchFamily="34" charset="0"/>
                <a:cs typeface="Helvetica" panose="020B0604020202020204" pitchFamily="34" charset="0"/>
              </a:rPr>
              <a:t> Position</a:t>
            </a:r>
          </a:p>
        </p:txBody>
      </p:sp>
      <p:pic>
        <p:nvPicPr>
          <p:cNvPr id="89" name="Grafik 88" descr="Lenkrad Silhouette">
            <a:extLst>
              <a:ext uri="{FF2B5EF4-FFF2-40B4-BE49-F238E27FC236}">
                <a16:creationId xmlns:a16="http://schemas.microsoft.com/office/drawing/2014/main" id="{8E214D5F-F575-4CF7-ADA2-15375B544B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8706" y="4605281"/>
            <a:ext cx="349592" cy="349592"/>
          </a:xfrm>
          <a:prstGeom prst="rect">
            <a:avLst/>
          </a:prstGeom>
        </p:spPr>
      </p:pic>
      <p:sp>
        <p:nvSpPr>
          <p:cNvPr id="95" name="Textfeld 94">
            <a:extLst>
              <a:ext uri="{FF2B5EF4-FFF2-40B4-BE49-F238E27FC236}">
                <a16:creationId xmlns:a16="http://schemas.microsoft.com/office/drawing/2014/main" id="{2D87C623-723B-4BF4-9C5C-E72B5DF67502}"/>
              </a:ext>
            </a:extLst>
          </p:cNvPr>
          <p:cNvSpPr txBox="1"/>
          <p:nvPr/>
        </p:nvSpPr>
        <p:spPr>
          <a:xfrm>
            <a:off x="758563" y="4589673"/>
            <a:ext cx="2952551" cy="338554"/>
          </a:xfrm>
          <a:prstGeom prst="rect">
            <a:avLst/>
          </a:prstGeom>
          <a:noFill/>
        </p:spPr>
        <p:txBody>
          <a:bodyPr wrap="square" rtlCol="0">
            <a:spAutoFit/>
          </a:bodyPr>
          <a:lstStyle/>
          <a:p>
            <a:r>
              <a:rPr lang="de-DE" sz="1600" u="sng" err="1">
                <a:solidFill>
                  <a:schemeClr val="bg1">
                    <a:lumMod val="75000"/>
                  </a:schemeClr>
                </a:solidFill>
                <a:latin typeface="Helvetica" panose="020B0604020202020204" pitchFamily="34" charset="0"/>
                <a:cs typeface="Helvetica" panose="020B0604020202020204" pitchFamily="34" charset="0"/>
              </a:rPr>
              <a:t>Specific</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ship</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information</a:t>
            </a:r>
            <a:endParaRPr lang="de-DE" sz="1600" u="sng">
              <a:solidFill>
                <a:schemeClr val="bg1">
                  <a:lumMod val="75000"/>
                </a:schemeClr>
              </a:solidFill>
              <a:latin typeface="Helvetica" panose="020B0604020202020204" pitchFamily="34" charset="0"/>
              <a:cs typeface="Helvetica" panose="020B0604020202020204" pitchFamily="34" charset="0"/>
            </a:endParaRPr>
          </a:p>
        </p:txBody>
      </p:sp>
      <p:sp>
        <p:nvSpPr>
          <p:cNvPr id="97" name="Rechteck: obere Ecken abgerundet 96">
            <a:extLst>
              <a:ext uri="{FF2B5EF4-FFF2-40B4-BE49-F238E27FC236}">
                <a16:creationId xmlns:a16="http://schemas.microsoft.com/office/drawing/2014/main" id="{B9E0DA7B-2F4F-4642-B1E5-47D3F7B28F32}"/>
              </a:ext>
            </a:extLst>
          </p:cNvPr>
          <p:cNvSpPr/>
          <p:nvPr/>
        </p:nvSpPr>
        <p:spPr>
          <a:xfrm>
            <a:off x="124895" y="759610"/>
            <a:ext cx="3756226" cy="920114"/>
          </a:xfrm>
          <a:prstGeom prst="round2SameRect">
            <a:avLst>
              <a:gd name="adj1" fmla="val 28719"/>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948CCE22-876E-45C9-9BDD-B145269198D0}"/>
              </a:ext>
            </a:extLst>
          </p:cNvPr>
          <p:cNvSpPr txBox="1"/>
          <p:nvPr/>
        </p:nvSpPr>
        <p:spPr>
          <a:xfrm>
            <a:off x="299115" y="931540"/>
            <a:ext cx="913032" cy="677108"/>
          </a:xfrm>
          <a:prstGeom prst="rect">
            <a:avLst/>
          </a:prstGeom>
          <a:noFill/>
        </p:spPr>
        <p:txBody>
          <a:bodyPr wrap="square" rtlCol="0">
            <a:spAutoFit/>
          </a:bodyPr>
          <a:lstStyle/>
          <a:p>
            <a:r>
              <a:rPr lang="de-DE" sz="1400" b="1">
                <a:solidFill>
                  <a:schemeClr val="bg1">
                    <a:lumMod val="75000"/>
                  </a:schemeClr>
                </a:solidFill>
                <a:latin typeface="Helvetica" panose="020B0604020202020204" pitchFamily="34" charset="0"/>
                <a:cs typeface="Helvetica" panose="020B0604020202020204" pitchFamily="34" charset="0"/>
              </a:rPr>
              <a:t>Input</a:t>
            </a:r>
          </a:p>
          <a:p>
            <a:r>
              <a:rPr lang="de-DE" sz="1200" err="1">
                <a:solidFill>
                  <a:schemeClr val="bg1">
                    <a:lumMod val="75000"/>
                  </a:schemeClr>
                </a:solidFill>
                <a:latin typeface="Helvetica" panose="020B0604020202020204" pitchFamily="34" charset="0"/>
                <a:cs typeface="Helvetica" panose="020B0604020202020204" pitchFamily="34" charset="0"/>
              </a:rPr>
              <a:t>Vessel</a:t>
            </a:r>
            <a:r>
              <a:rPr lang="de-DE" sz="1200">
                <a:solidFill>
                  <a:schemeClr val="bg1">
                    <a:lumMod val="75000"/>
                  </a:schemeClr>
                </a:solidFill>
                <a:latin typeface="Helvetica" panose="020B0604020202020204" pitchFamily="34" charset="0"/>
                <a:cs typeface="Helvetica" panose="020B0604020202020204" pitchFamily="34" charset="0"/>
              </a:rPr>
              <a:t> Name:</a:t>
            </a:r>
          </a:p>
        </p:txBody>
      </p:sp>
      <p:sp>
        <p:nvSpPr>
          <p:cNvPr id="13" name="Rechteck: abgerundete Ecken 12">
            <a:extLst>
              <a:ext uri="{FF2B5EF4-FFF2-40B4-BE49-F238E27FC236}">
                <a16:creationId xmlns:a16="http://schemas.microsoft.com/office/drawing/2014/main" id="{54C6DF2F-7EDD-407F-9A53-3A8DBD5AA64F}"/>
              </a:ext>
            </a:extLst>
          </p:cNvPr>
          <p:cNvSpPr/>
          <p:nvPr/>
        </p:nvSpPr>
        <p:spPr>
          <a:xfrm>
            <a:off x="1048758" y="1002573"/>
            <a:ext cx="1823891" cy="525865"/>
          </a:xfrm>
          <a:prstGeom prst="roundRect">
            <a:avLst/>
          </a:prstGeom>
          <a:solidFill>
            <a:schemeClr val="bg1">
              <a:lumMod val="95000"/>
            </a:schemeClr>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latin typeface="Helvetica" panose="020B0604020202020204" pitchFamily="34" charset="0"/>
                <a:cs typeface="Helvetica" panose="020B0604020202020204" pitchFamily="34" charset="0"/>
              </a:rPr>
              <a:t>VESSEL 10</a:t>
            </a:r>
          </a:p>
        </p:txBody>
      </p:sp>
      <p:grpSp>
        <p:nvGrpSpPr>
          <p:cNvPr id="73" name="Gruppieren 72">
            <a:extLst>
              <a:ext uri="{FF2B5EF4-FFF2-40B4-BE49-F238E27FC236}">
                <a16:creationId xmlns:a16="http://schemas.microsoft.com/office/drawing/2014/main" id="{B6F753FD-2BBD-420B-AE52-0ABB9CC90166}"/>
              </a:ext>
            </a:extLst>
          </p:cNvPr>
          <p:cNvGrpSpPr/>
          <p:nvPr/>
        </p:nvGrpSpPr>
        <p:grpSpPr>
          <a:xfrm>
            <a:off x="3094310" y="1026690"/>
            <a:ext cx="479796" cy="486808"/>
            <a:chOff x="11354045" y="59347"/>
            <a:chExt cx="604479" cy="656522"/>
          </a:xfrm>
        </p:grpSpPr>
        <p:sp>
          <p:nvSpPr>
            <p:cNvPr id="75" name="Rechteck 74">
              <a:extLst>
                <a:ext uri="{FF2B5EF4-FFF2-40B4-BE49-F238E27FC236}">
                  <a16:creationId xmlns:a16="http://schemas.microsoft.com/office/drawing/2014/main" id="{0691EBA9-5212-41C2-8FBE-1115B8E86F11}"/>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77" name="Ellipse 76">
              <a:extLst>
                <a:ext uri="{FF2B5EF4-FFF2-40B4-BE49-F238E27FC236}">
                  <a16:creationId xmlns:a16="http://schemas.microsoft.com/office/drawing/2014/main" id="{44A35A39-1732-4FC7-AD2C-F6AFF809833D}"/>
                </a:ext>
              </a:extLst>
            </p:cNvPr>
            <p:cNvSpPr/>
            <p:nvPr/>
          </p:nvSpPr>
          <p:spPr>
            <a:xfrm>
              <a:off x="11354045" y="59347"/>
              <a:ext cx="604479" cy="656522"/>
            </a:xfrm>
            <a:prstGeom prst="ellipse">
              <a:avLst/>
            </a:prstGeom>
            <a:solidFill>
              <a:srgbClr val="990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pSp>
      <p:sp>
        <p:nvSpPr>
          <p:cNvPr id="79" name="Textfeld 78">
            <a:extLst>
              <a:ext uri="{FF2B5EF4-FFF2-40B4-BE49-F238E27FC236}">
                <a16:creationId xmlns:a16="http://schemas.microsoft.com/office/drawing/2014/main" id="{3BC8BB24-B604-4A29-B487-6BB2B809ECE5}"/>
              </a:ext>
            </a:extLst>
          </p:cNvPr>
          <p:cNvSpPr txBox="1"/>
          <p:nvPr/>
        </p:nvSpPr>
        <p:spPr>
          <a:xfrm>
            <a:off x="3079312" y="1100817"/>
            <a:ext cx="586951" cy="338554"/>
          </a:xfrm>
          <a:prstGeom prst="rect">
            <a:avLst/>
          </a:prstGeom>
          <a:noFill/>
        </p:spPr>
        <p:txBody>
          <a:bodyPr wrap="square" rtlCol="0">
            <a:spAutoFit/>
          </a:bodyPr>
          <a:lstStyle/>
          <a:p>
            <a:r>
              <a:rPr lang="de-DE" sz="1600" b="1">
                <a:solidFill>
                  <a:schemeClr val="bg1">
                    <a:lumMod val="75000"/>
                  </a:schemeClr>
                </a:solidFill>
                <a:latin typeface="Helvetica" panose="020B0604020202020204" pitchFamily="34" charset="0"/>
                <a:cs typeface="Helvetica" panose="020B0604020202020204" pitchFamily="34" charset="0"/>
              </a:rPr>
              <a:t>Go!</a:t>
            </a:r>
          </a:p>
        </p:txBody>
      </p:sp>
      <p:sp>
        <p:nvSpPr>
          <p:cNvPr id="100" name="Textfeld 99">
            <a:extLst>
              <a:ext uri="{FF2B5EF4-FFF2-40B4-BE49-F238E27FC236}">
                <a16:creationId xmlns:a16="http://schemas.microsoft.com/office/drawing/2014/main" id="{6E0EF5F2-4025-4A36-9C0C-1DD09EC012A9}"/>
              </a:ext>
            </a:extLst>
          </p:cNvPr>
          <p:cNvSpPr txBox="1"/>
          <p:nvPr/>
        </p:nvSpPr>
        <p:spPr>
          <a:xfrm>
            <a:off x="4462107" y="1850077"/>
            <a:ext cx="3387619" cy="461665"/>
          </a:xfrm>
          <a:prstGeom prst="rect">
            <a:avLst/>
          </a:prstGeom>
          <a:noFill/>
        </p:spPr>
        <p:txBody>
          <a:bodyPr wrap="square" rtlCol="0">
            <a:spAutoFit/>
          </a:bodyPr>
          <a:lstStyle/>
          <a:p>
            <a:r>
              <a:rPr lang="de-DE" sz="2400" u="sng">
                <a:solidFill>
                  <a:schemeClr val="bg1">
                    <a:lumMod val="75000"/>
                  </a:schemeClr>
                </a:solidFill>
                <a:latin typeface="Helvetica" panose="020B0604020202020204" pitchFamily="34" charset="0"/>
                <a:cs typeface="Helvetica" panose="020B0604020202020204" pitchFamily="34" charset="0"/>
              </a:rPr>
              <a:t>ALERT INFORMATION</a:t>
            </a:r>
          </a:p>
        </p:txBody>
      </p:sp>
      <p:graphicFrame>
        <p:nvGraphicFramePr>
          <p:cNvPr id="101" name="Tabelle 4">
            <a:extLst>
              <a:ext uri="{FF2B5EF4-FFF2-40B4-BE49-F238E27FC236}">
                <a16:creationId xmlns:a16="http://schemas.microsoft.com/office/drawing/2014/main" id="{7418C3E7-1AC1-46B5-9C14-5FD27DE58DBC}"/>
              </a:ext>
            </a:extLst>
          </p:cNvPr>
          <p:cNvGraphicFramePr>
            <a:graphicFrameLocks noGrp="1"/>
          </p:cNvGraphicFramePr>
          <p:nvPr/>
        </p:nvGraphicFramePr>
        <p:xfrm>
          <a:off x="4663298" y="2384219"/>
          <a:ext cx="3513733" cy="1229474"/>
        </p:xfrm>
        <a:graphic>
          <a:graphicData uri="http://schemas.openxmlformats.org/drawingml/2006/table">
            <a:tbl>
              <a:tblPr firstRow="1" bandRow="1">
                <a:tableStyleId>{5C22544A-7EE6-4342-B048-85BDC9FD1C3A}</a:tableStyleId>
              </a:tblPr>
              <a:tblGrid>
                <a:gridCol w="907632">
                  <a:extLst>
                    <a:ext uri="{9D8B030D-6E8A-4147-A177-3AD203B41FA5}">
                      <a16:colId xmlns:a16="http://schemas.microsoft.com/office/drawing/2014/main" val="2991778072"/>
                    </a:ext>
                  </a:extLst>
                </a:gridCol>
                <a:gridCol w="2606101">
                  <a:extLst>
                    <a:ext uri="{9D8B030D-6E8A-4147-A177-3AD203B41FA5}">
                      <a16:colId xmlns:a16="http://schemas.microsoft.com/office/drawing/2014/main" val="293995898"/>
                    </a:ext>
                  </a:extLst>
                </a:gridCol>
              </a:tblGrid>
              <a:tr h="550496">
                <a:tc gridSpan="2">
                  <a:txBody>
                    <a:bodyPr/>
                    <a:lstStyle/>
                    <a:p>
                      <a:pPr marL="0" algn="l" defTabSz="914400" rtl="0" eaLnBrk="1" latinLnBrk="0" hangingPunct="1"/>
                      <a:r>
                        <a:rPr lang="de-DE" sz="1600" b="0" kern="1200">
                          <a:solidFill>
                            <a:srgbClr val="BFBFBF"/>
                          </a:solidFill>
                          <a:latin typeface="Helvetica" panose="020B0604020202020204" pitchFamily="34" charset="0"/>
                          <a:ea typeface="+mn-ea"/>
                          <a:cs typeface="Helvetica" panose="020B0604020202020204" pitchFamily="34" charset="0"/>
                        </a:rPr>
                        <a:t>Change of ETA:</a:t>
                      </a:r>
                      <a:br>
                        <a:rPr lang="de-DE" sz="1600" b="0" kern="1200">
                          <a:solidFill>
                            <a:srgbClr val="BFBFBF"/>
                          </a:solidFill>
                          <a:latin typeface="Helvetica" panose="020B0604020202020204" pitchFamily="34" charset="0"/>
                          <a:ea typeface="+mn-ea"/>
                          <a:cs typeface="Helvetica" panose="020B0604020202020204" pitchFamily="34" charset="0"/>
                        </a:rPr>
                      </a:br>
                      <a:r>
                        <a:rPr lang="de-DE" sz="1600" b="0" kern="1200">
                          <a:solidFill>
                            <a:srgbClr val="BFBFBF"/>
                          </a:solidFill>
                          <a:latin typeface="Helvetica" panose="020B0604020202020204" pitchFamily="34" charset="0"/>
                          <a:ea typeface="+mn-ea"/>
                          <a:cs typeface="Helvetica" panose="020B0604020202020204" pitchFamily="34" charset="0"/>
                        </a:rPr>
                        <a:t>previous ETA 11:30 PM, 2021-07-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r>
                        <a:rPr lang="de-DE" sz="1300" b="0" kern="1200">
                          <a:solidFill>
                            <a:srgbClr val="BFBFBF"/>
                          </a:solidFill>
                          <a:latin typeface="Helvetica" panose="020B0604020202020204" pitchFamily="34" charset="0"/>
                          <a:ea typeface="+mn-ea"/>
                          <a:cs typeface="Helvetica" panose="020B0604020202020204" pitchFamily="34" charset="0"/>
                        </a:rPr>
                        <a:t>Change </a:t>
                      </a:r>
                      <a:r>
                        <a:rPr lang="de-DE" sz="1300" b="0" kern="1200" err="1">
                          <a:solidFill>
                            <a:srgbClr val="BFBFBF"/>
                          </a:solidFill>
                          <a:latin typeface="Helvetica" panose="020B0604020202020204" pitchFamily="34" charset="0"/>
                          <a:ea typeface="+mn-ea"/>
                          <a:cs typeface="Helvetica" panose="020B0604020202020204" pitchFamily="34" charset="0"/>
                        </a:rPr>
                        <a:t>of</a:t>
                      </a:r>
                      <a:r>
                        <a:rPr lang="de-DE" sz="1300" b="0" kern="1200">
                          <a:solidFill>
                            <a:srgbClr val="BFBFBF"/>
                          </a:solidFill>
                          <a:latin typeface="Helvetica" panose="020B0604020202020204" pitchFamily="34" charset="0"/>
                          <a:ea typeface="+mn-ea"/>
                          <a:cs typeface="Helvetica" panose="020B0604020202020204" pitchFamily="34" charset="0"/>
                        </a:rPr>
                        <a:t> ETA, </a:t>
                      </a:r>
                      <a:r>
                        <a:rPr lang="de-DE" sz="1300" b="0" kern="1200" err="1">
                          <a:solidFill>
                            <a:srgbClr val="BFBFBF"/>
                          </a:solidFill>
                          <a:latin typeface="Helvetica" panose="020B0604020202020204" pitchFamily="34" charset="0"/>
                          <a:ea typeface="+mn-ea"/>
                          <a:cs typeface="Helvetica" panose="020B0604020202020204" pitchFamily="34" charset="0"/>
                        </a:rPr>
                        <a:t>previous</a:t>
                      </a:r>
                      <a:r>
                        <a:rPr lang="de-DE" sz="1300" b="0" kern="1200">
                          <a:solidFill>
                            <a:srgbClr val="BFBFBF"/>
                          </a:solidFill>
                          <a:latin typeface="Helvetica" panose="020B0604020202020204" pitchFamily="34" charset="0"/>
                          <a:ea typeface="+mn-ea"/>
                          <a:cs typeface="Helvetica" panose="020B0604020202020204" pitchFamily="34" charset="0"/>
                        </a:rPr>
                        <a:t> ETA 11:30 P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650354">
                <a:tc>
                  <a:txBody>
                    <a:bodyPr/>
                    <a:lstStyle/>
                    <a:p>
                      <a:r>
                        <a:rPr lang="de-DE" sz="1200" b="0">
                          <a:solidFill>
                            <a:schemeClr val="bg1">
                              <a:lumMod val="75000"/>
                            </a:schemeClr>
                          </a:solidFill>
                          <a:latin typeface="Helvetica" panose="020B0604020202020204" pitchFamily="34" charset="0"/>
                          <a:cs typeface="Helvetica" panose="020B0604020202020204" pitchFamily="34" charset="0"/>
                        </a:rPr>
                        <a:t>Possible </a:t>
                      </a:r>
                      <a:r>
                        <a:rPr lang="de-DE" sz="1200" b="0" err="1">
                          <a:solidFill>
                            <a:schemeClr val="bg1">
                              <a:lumMod val="75000"/>
                            </a:schemeClr>
                          </a:solidFill>
                          <a:latin typeface="Helvetica" panose="020B0604020202020204" pitchFamily="34" charset="0"/>
                          <a:cs typeface="Helvetica" panose="020B0604020202020204" pitchFamily="34" charset="0"/>
                        </a:rPr>
                        <a:t>cause</a:t>
                      </a:r>
                      <a:r>
                        <a:rPr lang="de-DE" sz="1200" b="0">
                          <a:solidFill>
                            <a:schemeClr val="bg1">
                              <a:lumMod val="75000"/>
                            </a:schemeClr>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de-DE" sz="1200" b="0" kern="1200">
                          <a:solidFill>
                            <a:srgbClr val="BFBFBF"/>
                          </a:solidFill>
                          <a:latin typeface="Helvetica" panose="020B0604020202020204" pitchFamily="34" charset="0"/>
                          <a:ea typeface="+mn-ea"/>
                          <a:cs typeface="Helvetica" panose="020B0604020202020204" pitchFamily="34" charset="0"/>
                        </a:rPr>
                        <a:t>Stop2-Loading </a:t>
                      </a:r>
                      <a:r>
                        <a:rPr lang="de-DE" sz="1200" b="0" kern="1200" err="1">
                          <a:solidFill>
                            <a:srgbClr val="BFBFBF"/>
                          </a:solidFill>
                          <a:latin typeface="Helvetica" panose="020B0604020202020204" pitchFamily="34" charset="0"/>
                          <a:ea typeface="+mn-ea"/>
                          <a:cs typeface="Helvetica" panose="020B0604020202020204" pitchFamily="34" charset="0"/>
                        </a:rPr>
                        <a:t>took</a:t>
                      </a:r>
                      <a:r>
                        <a:rPr lang="de-DE" sz="1200" b="0" kern="1200">
                          <a:solidFill>
                            <a:srgbClr val="BFBFBF"/>
                          </a:solidFill>
                          <a:latin typeface="Helvetica" panose="020B0604020202020204" pitchFamily="34" charset="0"/>
                          <a:ea typeface="+mn-ea"/>
                          <a:cs typeface="Helvetica" panose="020B0604020202020204" pitchFamily="34" charset="0"/>
                        </a:rPr>
                        <a:t> longer </a:t>
                      </a:r>
                      <a:r>
                        <a:rPr lang="de-DE" sz="1200" b="0" kern="1200" err="1">
                          <a:solidFill>
                            <a:srgbClr val="BFBFBF"/>
                          </a:solidFill>
                          <a:latin typeface="Helvetica" panose="020B0604020202020204" pitchFamily="34" charset="0"/>
                          <a:ea typeface="+mn-ea"/>
                          <a:cs typeface="Helvetica" panose="020B0604020202020204" pitchFamily="34" charset="0"/>
                        </a:rPr>
                        <a:t>than</a:t>
                      </a:r>
                      <a:r>
                        <a:rPr lang="de-DE" sz="1200" b="0" kern="1200">
                          <a:solidFill>
                            <a:srgbClr val="BFBFBF"/>
                          </a:solidFill>
                          <a:latin typeface="Helvetica" panose="020B0604020202020204" pitchFamily="34" charset="0"/>
                          <a:ea typeface="+mn-ea"/>
                          <a:cs typeface="Helvetica" panose="020B0604020202020204" pitchFamily="34" charset="0"/>
                        </a:rPr>
                        <a:t> </a:t>
                      </a:r>
                      <a:r>
                        <a:rPr lang="de-DE" sz="1200" b="0" kern="1200" err="1">
                          <a:solidFill>
                            <a:srgbClr val="BFBFBF"/>
                          </a:solidFill>
                          <a:latin typeface="Helvetica" panose="020B0604020202020204" pitchFamily="34" charset="0"/>
                          <a:ea typeface="+mn-ea"/>
                          <a:cs typeface="Helvetica" panose="020B0604020202020204" pitchFamily="34" charset="0"/>
                        </a:rPr>
                        <a:t>predicted</a:t>
                      </a:r>
                      <a:endParaRPr lang="de-DE" sz="1200" b="0" kern="1200">
                        <a:solidFill>
                          <a:srgbClr val="BFBFBF"/>
                        </a:solidFill>
                        <a:latin typeface="Helvetica" panose="020B0604020202020204" pitchFamily="34" charset="0"/>
                        <a:ea typeface="+mn-ea"/>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648891"/>
                  </a:ext>
                </a:extLst>
              </a:tr>
            </a:tbl>
          </a:graphicData>
        </a:graphic>
      </p:graphicFrame>
      <p:pic>
        <p:nvPicPr>
          <p:cNvPr id="55" name="Grafik 54" descr="Cursor mit einfarbiger Füllung">
            <a:extLst>
              <a:ext uri="{FF2B5EF4-FFF2-40B4-BE49-F238E27FC236}">
                <a16:creationId xmlns:a16="http://schemas.microsoft.com/office/drawing/2014/main" id="{867FDEC3-C9DC-4AFA-B093-FD3D8D5BDEA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259539">
            <a:off x="3310603" y="1296024"/>
            <a:ext cx="434948" cy="434948"/>
          </a:xfrm>
          <a:prstGeom prst="rect">
            <a:avLst/>
          </a:prstGeom>
        </p:spPr>
      </p:pic>
      <p:sp>
        <p:nvSpPr>
          <p:cNvPr id="83" name="Rechteck: abgerundete Ecken 82">
            <a:extLst>
              <a:ext uri="{FF2B5EF4-FFF2-40B4-BE49-F238E27FC236}">
                <a16:creationId xmlns:a16="http://schemas.microsoft.com/office/drawing/2014/main" id="{41878636-5366-44D9-8384-1BBED9BCEA20}"/>
              </a:ext>
            </a:extLst>
          </p:cNvPr>
          <p:cNvSpPr/>
          <p:nvPr/>
        </p:nvSpPr>
        <p:spPr>
          <a:xfrm>
            <a:off x="4139412" y="3785834"/>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84" name="Grafik 83" descr="Warnung mit einfarbiger Füllung">
            <a:extLst>
              <a:ext uri="{FF2B5EF4-FFF2-40B4-BE49-F238E27FC236}">
                <a16:creationId xmlns:a16="http://schemas.microsoft.com/office/drawing/2014/main" id="{7ECE676F-642C-49FC-9FC1-551736B579F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119150" y="2456956"/>
            <a:ext cx="461665" cy="461665"/>
          </a:xfrm>
          <a:prstGeom prst="rect">
            <a:avLst/>
          </a:prstGeom>
        </p:spPr>
      </p:pic>
      <p:pic>
        <p:nvPicPr>
          <p:cNvPr id="85" name="Grafik 84" descr="Klemmbrett abgehakt mit einfarbiger Füllung">
            <a:extLst>
              <a:ext uri="{FF2B5EF4-FFF2-40B4-BE49-F238E27FC236}">
                <a16:creationId xmlns:a16="http://schemas.microsoft.com/office/drawing/2014/main" id="{C1FF41E0-F423-451F-BAA0-0E2282FF43F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81691" y="3908469"/>
            <a:ext cx="367233" cy="367233"/>
          </a:xfrm>
          <a:prstGeom prst="rect">
            <a:avLst/>
          </a:prstGeom>
        </p:spPr>
      </p:pic>
      <p:sp>
        <p:nvSpPr>
          <p:cNvPr id="88" name="Rechteck: abgerundete Ecken 87">
            <a:extLst>
              <a:ext uri="{FF2B5EF4-FFF2-40B4-BE49-F238E27FC236}">
                <a16:creationId xmlns:a16="http://schemas.microsoft.com/office/drawing/2014/main" id="{876341DB-0CE2-4819-B00A-7F19A9907F17}"/>
              </a:ext>
            </a:extLst>
          </p:cNvPr>
          <p:cNvSpPr/>
          <p:nvPr/>
        </p:nvSpPr>
        <p:spPr>
          <a:xfrm>
            <a:off x="4150100" y="450363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0" name="Grafik 89" descr="Klemmbrett abgehakt mit einfarbiger Füllung">
            <a:extLst>
              <a:ext uri="{FF2B5EF4-FFF2-40B4-BE49-F238E27FC236}">
                <a16:creationId xmlns:a16="http://schemas.microsoft.com/office/drawing/2014/main" id="{78F9F1E8-C38B-494A-9BB8-BAFA1D4C66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92379" y="4626271"/>
            <a:ext cx="367233" cy="367233"/>
          </a:xfrm>
          <a:prstGeom prst="rect">
            <a:avLst/>
          </a:prstGeom>
        </p:spPr>
      </p:pic>
      <p:sp>
        <p:nvSpPr>
          <p:cNvPr id="54" name="Textfeld 53">
            <a:extLst>
              <a:ext uri="{FF2B5EF4-FFF2-40B4-BE49-F238E27FC236}">
                <a16:creationId xmlns:a16="http://schemas.microsoft.com/office/drawing/2014/main" id="{B2798D0E-C231-4C55-86B5-7C0AABBE3DED}"/>
              </a:ext>
            </a:extLst>
          </p:cNvPr>
          <p:cNvSpPr txBox="1"/>
          <p:nvPr/>
        </p:nvSpPr>
        <p:spPr>
          <a:xfrm>
            <a:off x="4514890" y="3853846"/>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ange </a:t>
            </a:r>
            <a:r>
              <a:rPr lang="de-DE" sz="1400" err="1">
                <a:latin typeface="Helvetica" panose="020B0604020202020204" pitchFamily="34" charset="0"/>
                <a:cs typeface="Helvetica" panose="020B0604020202020204" pitchFamily="34" charset="0"/>
              </a:rPr>
              <a:t>of</a:t>
            </a:r>
            <a:r>
              <a:rPr lang="de-DE" sz="1400">
                <a:latin typeface="Helvetica" panose="020B0604020202020204" pitchFamily="34" charset="0"/>
                <a:cs typeface="Helvetica" panose="020B0604020202020204" pitchFamily="34" charset="0"/>
              </a:rPr>
              <a:t> dock </a:t>
            </a:r>
            <a:r>
              <a:rPr lang="de-DE" sz="1400" err="1">
                <a:latin typeface="Helvetica" panose="020B0604020202020204" pitchFamily="34" charset="0"/>
                <a:cs typeface="Helvetica" panose="020B0604020202020204" pitchFamily="34" charset="0"/>
              </a:rPr>
              <a:t>required</a:t>
            </a:r>
            <a:br>
              <a:rPr lang="de-DE" sz="1400">
                <a:latin typeface="Helvetica" panose="020B0604020202020204" pitchFamily="34" charset="0"/>
                <a:cs typeface="Helvetica" panose="020B0604020202020204" pitchFamily="34" charset="0"/>
              </a:rPr>
            </a:br>
            <a:r>
              <a:rPr lang="de-DE" sz="1400">
                <a:latin typeface="Helvetica" panose="020B0604020202020204" pitchFamily="34" charset="0"/>
                <a:cs typeface="Helvetica" panose="020B0604020202020204" pitchFamily="34" charset="0"/>
              </a:rPr>
              <a:t>Free possible </a:t>
            </a:r>
            <a:r>
              <a:rPr lang="de-DE" sz="1400" err="1">
                <a:latin typeface="Helvetica" panose="020B0604020202020204" pitchFamily="34" charset="0"/>
                <a:cs typeface="Helvetica" panose="020B0604020202020204" pitchFamily="34" charset="0"/>
              </a:rPr>
              <a:t>docks</a:t>
            </a:r>
            <a:r>
              <a:rPr lang="de-DE" sz="1400">
                <a:latin typeface="Helvetica" panose="020B0604020202020204" pitchFamily="34" charset="0"/>
                <a:cs typeface="Helvetica" panose="020B0604020202020204" pitchFamily="34" charset="0"/>
              </a:rPr>
              <a:t>: Dock 14, 301, 90</a:t>
            </a:r>
          </a:p>
        </p:txBody>
      </p:sp>
      <p:sp>
        <p:nvSpPr>
          <p:cNvPr id="96" name="Rechteck: abgerundete Ecken 95">
            <a:extLst>
              <a:ext uri="{FF2B5EF4-FFF2-40B4-BE49-F238E27FC236}">
                <a16:creationId xmlns:a16="http://schemas.microsoft.com/office/drawing/2014/main" id="{28806A75-C8CC-47DB-8F68-78C4C5A4E313}"/>
              </a:ext>
            </a:extLst>
          </p:cNvPr>
          <p:cNvSpPr/>
          <p:nvPr/>
        </p:nvSpPr>
        <p:spPr>
          <a:xfrm>
            <a:off x="4150100" y="523976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8" name="Grafik 97" descr="Klemmbrett abgehakt mit einfarbiger Füllung">
            <a:extLst>
              <a:ext uri="{FF2B5EF4-FFF2-40B4-BE49-F238E27FC236}">
                <a16:creationId xmlns:a16="http://schemas.microsoft.com/office/drawing/2014/main" id="{D06F24B3-CF84-4AFA-B507-177F0FD8695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92379" y="5362401"/>
            <a:ext cx="367233" cy="367233"/>
          </a:xfrm>
          <a:prstGeom prst="rect">
            <a:avLst/>
          </a:prstGeom>
        </p:spPr>
      </p:pic>
      <p:sp>
        <p:nvSpPr>
          <p:cNvPr id="91" name="Textfeld 90">
            <a:extLst>
              <a:ext uri="{FF2B5EF4-FFF2-40B4-BE49-F238E27FC236}">
                <a16:creationId xmlns:a16="http://schemas.microsoft.com/office/drawing/2014/main" id="{92F27234-4AA0-4D7E-856A-66EEDA6D7527}"/>
              </a:ext>
            </a:extLst>
          </p:cNvPr>
          <p:cNvSpPr txBox="1"/>
          <p:nvPr/>
        </p:nvSpPr>
        <p:spPr>
          <a:xfrm>
            <a:off x="4514890" y="5288524"/>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Inform </a:t>
            </a:r>
            <a:r>
              <a:rPr lang="de-DE" sz="1400" err="1">
                <a:latin typeface="Helvetica" panose="020B0604020202020204" pitchFamily="34" charset="0"/>
                <a:cs typeface="Helvetica" panose="020B0604020202020204" pitchFamily="34" charset="0"/>
              </a:rPr>
              <a:t>responsibles</a:t>
            </a:r>
            <a:r>
              <a:rPr lang="de-DE" sz="1400">
                <a:latin typeface="Helvetica" panose="020B0604020202020204" pitchFamily="34" charset="0"/>
                <a:cs typeface="Helvetica" panose="020B0604020202020204" pitchFamily="34" charset="0"/>
              </a:rPr>
              <a:t>: </a:t>
            </a:r>
            <a:br>
              <a:rPr lang="de-DE" sz="1400">
                <a:latin typeface="Helvetica" panose="020B0604020202020204" pitchFamily="34" charset="0"/>
                <a:cs typeface="Helvetica" panose="020B0604020202020204" pitchFamily="34" charset="0"/>
              </a:rPr>
            </a:br>
            <a:r>
              <a:rPr lang="de-DE" sz="1400" u="sng" err="1">
                <a:latin typeface="Helvetica" panose="020B0604020202020204" pitchFamily="34" charset="0"/>
                <a:cs typeface="Helvetica" panose="020B0604020202020204" pitchFamily="34" charset="0"/>
              </a:rPr>
              <a:t>click</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here</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for</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contact</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information</a:t>
            </a:r>
            <a:endParaRPr lang="de-DE" sz="1400" u="sng">
              <a:latin typeface="Helvetica" panose="020B0604020202020204" pitchFamily="34" charset="0"/>
              <a:cs typeface="Helvetica" panose="020B0604020202020204" pitchFamily="34" charset="0"/>
            </a:endParaRPr>
          </a:p>
        </p:txBody>
      </p:sp>
      <p:sp>
        <p:nvSpPr>
          <p:cNvPr id="104" name="Textfeld 103">
            <a:extLst>
              <a:ext uri="{FF2B5EF4-FFF2-40B4-BE49-F238E27FC236}">
                <a16:creationId xmlns:a16="http://schemas.microsoft.com/office/drawing/2014/main" id="{7E6A3FD1-3C07-4F30-B2AE-8F606ECA1258}"/>
              </a:ext>
            </a:extLst>
          </p:cNvPr>
          <p:cNvSpPr txBox="1"/>
          <p:nvPr/>
        </p:nvSpPr>
        <p:spPr>
          <a:xfrm>
            <a:off x="4514890" y="4652498"/>
            <a:ext cx="3278559" cy="307777"/>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eck </a:t>
            </a:r>
            <a:r>
              <a:rPr lang="de-DE" sz="1400" err="1">
                <a:latin typeface="Helvetica" panose="020B0604020202020204" pitchFamily="34" charset="0"/>
                <a:cs typeface="Helvetica" panose="020B0604020202020204" pitchFamily="34" charset="0"/>
              </a:rPr>
              <a:t>resource</a:t>
            </a:r>
            <a:r>
              <a:rPr lang="de-DE" sz="1400">
                <a:latin typeface="Helvetica" panose="020B0604020202020204" pitchFamily="34" charset="0"/>
                <a:cs typeface="Helvetica" panose="020B0604020202020204" pitchFamily="34" charset="0"/>
              </a:rPr>
              <a:t> </a:t>
            </a:r>
            <a:r>
              <a:rPr lang="de-DE" sz="1400" err="1">
                <a:latin typeface="Helvetica" panose="020B0604020202020204" pitchFamily="34" charset="0"/>
                <a:cs typeface="Helvetica" panose="020B0604020202020204" pitchFamily="34" charset="0"/>
              </a:rPr>
              <a:t>planning</a:t>
            </a:r>
            <a:endParaRPr lang="de-DE" sz="1400">
              <a:latin typeface="Helvetica" panose="020B0604020202020204" pitchFamily="34" charset="0"/>
              <a:cs typeface="Helvetica" panose="020B0604020202020204" pitchFamily="34" charset="0"/>
            </a:endParaRPr>
          </a:p>
        </p:txBody>
      </p:sp>
      <p:pic>
        <p:nvPicPr>
          <p:cNvPr id="105" name="Grafik 104" descr="Kreis mit Pfeil nach links mit einfarbiger Füllung">
            <a:extLst>
              <a:ext uri="{FF2B5EF4-FFF2-40B4-BE49-F238E27FC236}">
                <a16:creationId xmlns:a16="http://schemas.microsoft.com/office/drawing/2014/main" id="{B55B7563-C7FD-44D4-9028-8640B952F2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6634263" y="4667692"/>
            <a:ext cx="281136" cy="283093"/>
          </a:xfrm>
          <a:prstGeom prst="rect">
            <a:avLst/>
          </a:prstGeom>
        </p:spPr>
      </p:pic>
      <p:sp>
        <p:nvSpPr>
          <p:cNvPr id="63" name="Rechteck 62">
            <a:extLst>
              <a:ext uri="{FF2B5EF4-FFF2-40B4-BE49-F238E27FC236}">
                <a16:creationId xmlns:a16="http://schemas.microsoft.com/office/drawing/2014/main" id="{29A9DD03-2184-49CA-BC79-75C72C597E32}"/>
              </a:ext>
            </a:extLst>
          </p:cNvPr>
          <p:cNvSpPr/>
          <p:nvPr/>
        </p:nvSpPr>
        <p:spPr>
          <a:xfrm>
            <a:off x="11722650" y="878476"/>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66EB093B-9098-4348-9588-0CC12E22C217}"/>
              </a:ext>
            </a:extLst>
          </p:cNvPr>
          <p:cNvSpPr/>
          <p:nvPr/>
        </p:nvSpPr>
        <p:spPr>
          <a:xfrm>
            <a:off x="11671423" y="920817"/>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9" name="Grafik 48" descr="Fracht mit einfarbiger Füllung">
            <a:extLst>
              <a:ext uri="{FF2B5EF4-FFF2-40B4-BE49-F238E27FC236}">
                <a16:creationId xmlns:a16="http://schemas.microsoft.com/office/drawing/2014/main" id="{DAD1452E-E4CA-4D74-961B-6DA77228BDC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flipH="1">
            <a:off x="11157237" y="6009676"/>
            <a:ext cx="352976" cy="315917"/>
          </a:xfrm>
          <a:prstGeom prst="rect">
            <a:avLst/>
          </a:prstGeom>
        </p:spPr>
      </p:pic>
    </p:spTree>
    <p:extLst>
      <p:ext uri="{BB962C8B-B14F-4D97-AF65-F5344CB8AC3E}">
        <p14:creationId xmlns:p14="http://schemas.microsoft.com/office/powerpoint/2010/main" val="4208496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withEffect">
                                  <p:stCondLst>
                                    <p:cond delay="0"/>
                                  </p:stCondLst>
                                  <p:childTnLst>
                                    <p:animMotion origin="layout" path="M 0.00599 0.00763 L 0.00052 0.01041 C -0.00026 0.01088 -0.00104 0.01111 -0.00183 0.0118 C -0.00261 0.0125 -0.00339 0.01365 -0.00417 0.01458 C -0.00469 0.01597 -0.00495 0.01759 -0.00573 0.01875 C -0.01029 0.02592 -0.01042 0.0243 -0.01654 0.02569 C -0.01732 0.02615 -0.01797 0.02708 -0.01888 0.02708 C -0.02058 0.02708 -0.02735 0.02708 -0.03047 0.0243 C -0.03125 0.02361 -0.0319 0.02222 -0.03268 0.02152 C -0.03425 0.02037 -0.03737 0.01875 -0.03737 0.01875 C -0.03893 0.01921 -0.0405 0.01944 -0.04206 0.02013 C -0.04284 0.02037 -0.04349 0.02106 -0.0444 0.02152 C -0.04766 0.02314 -0.04766 0.02291 -0.0513 0.0243 C -0.05235 0.02476 -0.05339 0.02546 -0.05443 0.02569 C -0.06003 0.02638 -0.06576 0.02662 -0.07136 0.02708 C -0.07735 0.03055 -0.07448 0.03032 -0.07995 0.02847 C -0.08021 0.02708 -0.08047 0.02569 -0.08073 0.0243 C -0.08099 0.02199 -0.08099 0.01967 -0.08151 0.01736 C -0.08177 0.01574 -0.08216 0.01388 -0.08295 0.01319 C -0.08464 0.01203 -0.08659 0.01226 -0.08841 0.0118 C -0.08867 0.00902 -0.08828 0.00601 -0.0892 0.0037 C -0.09024 0.00092 -0.09388 -0.00186 -0.09388 -0.00186 C -0.0944 -0.00325 -0.09532 -0.0044 -0.09532 -0.00602 C -0.09532 -0.00764 -0.09336 -0.0088 -0.09388 -0.01019 C -0.09479 -0.01297 -0.09688 -0.01389 -0.09844 -0.01551 C -0.10209 -0.01991 -0.09987 -0.01806 -0.10547 -0.01968 C -0.10599 -0.02246 -0.10547 -0.02709 -0.10703 -0.02801 L -0.11159 -0.03079 C -0.11107 -0.0338 -0.1112 -0.03681 -0.10847 -0.03635 C -0.1069 -0.03588 -0.10391 -0.03357 -0.10391 -0.03357 C -0.10339 -0.03496 -0.10209 -0.03588 -0.10235 -0.0375 C -0.10261 -0.04005 -0.10703 -0.04144 -0.10768 -0.04167 C -0.10951 -0.05139 -0.1099 -0.04908 -0.10847 -0.05973 C -0.10821 -0.0625 -0.10703 -0.06783 -0.10703 -0.06783 L -0.11159 -0.07338 C -0.11237 -0.07431 -0.11302 -0.0757 -0.11393 -0.07616 L -0.11628 -0.07755 C -0.11732 -0.07709 -0.11823 -0.07616 -0.1194 -0.07616 C -0.12292 -0.07616 -0.12422 -0.07709 -0.12709 -0.07894 C -0.128 -0.08033 -0.13034 -0.08519 -0.13177 -0.08565 C -0.13399 -0.08681 -0.13633 -0.08658 -0.13867 -0.08704 C -0.14102 -0.08982 -0.14128 -0.08936 -0.14258 -0.09399 C -0.14284 -0.09537 -0.14284 -0.097 -0.14336 -0.09815 C -0.14388 -0.09931 -0.14492 -0.1 -0.14558 -0.10093 C -0.1461 -0.10232 -0.14688 -0.10348 -0.14714 -0.10487 C -0.14753 -0.10625 -0.14818 -0.11297 -0.1487 -0.11459 C -0.14987 -0.11783 -0.1517 -0.11945 -0.15339 -0.12153 L -0.15573 -0.1338 C -0.15599 -0.13519 -0.15573 -0.13727 -0.15651 -0.13797 L -0.15873 -0.14075 C -0.15899 -0.14213 -0.15899 -0.14375 -0.15951 -0.14491 C -0.16016 -0.14584 -0.1612 -0.14561 -0.16185 -0.1463 C -0.16276 -0.147 -0.16328 -0.14838 -0.1642 -0.14908 C -0.16745 -0.15162 -0.16875 -0.15139 -0.17188 -0.15301 C -0.17266 -0.15348 -0.17344 -0.15394 -0.17422 -0.1544 C -0.1763 -0.16551 -0.17318 -0.15255 -0.17735 -0.15996 C -0.17865 -0.16227 -0.17943 -0.16551 -0.18047 -0.16829 L -0.18203 -0.17223 L -0.18347 -0.17639 C -0.18268 -0.17732 -0.18203 -0.17848 -0.18125 -0.17917 C -0.17969 -0.18033 -0.17657 -0.18195 -0.17657 -0.18195 C -0.17683 -0.18334 -0.1767 -0.18519 -0.17735 -0.18612 C -0.17865 -0.18774 -0.18203 -0.18889 -0.18203 -0.18889 C -0.18646 -0.2007 -0.18112 -0.18565 -0.18425 -0.197 C -0.18724 -0.20764 -0.18464 -0.19491 -0.18659 -0.20533 C -0.18503 -0.20625 -0.18112 -0.20556 -0.18203 -0.20811 L -0.18503 -0.21644 C -0.18529 -0.2176 -0.18529 -0.21945 -0.18581 -0.22037 C -0.18646 -0.22153 -0.1875 -0.22107 -0.18815 -0.22176 C -0.18985 -0.22338 -0.19102 -0.22639 -0.19284 -0.22732 C -0.19362 -0.22778 -0.1944 -0.22801 -0.19518 -0.22871 C -0.19675 -0.23033 -0.19974 -0.23426 -0.19974 -0.23426 C -0.19948 -0.23565 -0.19961 -0.23727 -0.19896 -0.23843 C -0.19844 -0.23936 -0.1961 -0.23866 -0.19662 -0.23959 C -0.19779 -0.24167 -0.19974 -0.24144 -0.2013 -0.24237 L -0.20365 -0.24375 L -0.20521 -0.25209 C -0.20599 -0.25649 -0.20534 -0.25695 -0.20821 -0.25764 C -0.21107 -0.25834 -0.21393 -0.25857 -0.2168 -0.25903 C -0.21732 -0.26042 -0.21849 -0.26135 -0.21836 -0.26297 C -0.2181 -0.26505 -0.21446 -0.26667 -0.21367 -0.26713 C -0.21393 -0.26852 -0.21393 -0.27037 -0.21446 -0.2713 C -0.21862 -0.27871 -0.2155 -0.26575 -0.21758 -0.27686 C -0.21732 -0.27871 -0.21719 -0.28056 -0.2168 -0.28241 C -0.21641 -0.2838 -0.21563 -0.28496 -0.21524 -0.28635 C -0.21485 -0.28774 -0.21472 -0.28912 -0.21446 -0.29051 C -0.21602 -0.29237 -0.2181 -0.29329 -0.21914 -0.29607 C -0.2211 -0.30139 -0.21979 -0.29977 -0.22292 -0.30162 C -0.22266 -0.30301 -0.22279 -0.30487 -0.22214 -0.30579 C -0.22032 -0.30811 -0.21511 -0.30926 -0.21289 -0.30973 C -0.21472 -0.31181 -0.21602 -0.31227 -0.21602 -0.31667 C -0.21602 -0.31806 -0.2155 -0.31945 -0.21524 -0.32084 C -0.21602 -0.32176 -0.21667 -0.32292 -0.21758 -0.32362 C -0.21823 -0.32431 -0.21953 -0.32362 -0.21992 -0.325 C -0.22097 -0.32963 -0.21823 -0.33149 -0.2168 -0.33311 C -0.21732 -0.3345 -0.21771 -0.33612 -0.21836 -0.33727 C -0.21901 -0.33843 -0.22032 -0.33843 -0.22058 -0.34005 C -0.22097 -0.34144 -0.22018 -0.34283 -0.21992 -0.34422 C -0.22018 -0.34561 -0.21992 -0.34746 -0.22058 -0.34838 C -0.22201 -0.35 -0.22526 -0.35116 -0.22526 -0.35116 C -0.22604 -0.3507 -0.22683 -0.34977 -0.22761 -0.34977 C -0.22839 -0.34977 -0.2293 -0.35 -0.22995 -0.35116 C -0.23034 -0.35186 -0.23138 -0.36042 -0.23151 -0.36065 C -0.23177 -0.36135 -0.23255 -0.36065 -0.23295 -0.36065 " pathEditMode="relative" ptsTypes="AAAAAAAAAAAAAAAAAAAAAAAAAAAAAAAAAAAAAAAAAAAAAAAAAAAAAAAAAAAAAAAAAAAAAAAAAAAAAAAAAAAAAAAAAAAAAAAAAAAAAAAA">
                                      <p:cBhvr>
                                        <p:cTn id="6" dur="80000" fill="hold"/>
                                        <p:tgtEl>
                                          <p:spTgt spid="49"/>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F3ADC-30F1-4B13-812C-A77EF816AB3D}"/>
              </a:ext>
            </a:extLst>
          </p:cNvPr>
          <p:cNvSpPr>
            <a:spLocks noGrp="1"/>
          </p:cNvSpPr>
          <p:nvPr>
            <p:ph type="title"/>
          </p:nvPr>
        </p:nvSpPr>
        <p:spPr/>
        <p:txBody>
          <a:bodyPr/>
          <a:lstStyle/>
          <a:p>
            <a:r>
              <a:rPr lang="de-DE"/>
              <a:t>Agenda</a:t>
            </a:r>
          </a:p>
        </p:txBody>
      </p:sp>
      <p:grpSp>
        <p:nvGrpSpPr>
          <p:cNvPr id="7" name="Gruppieren 6">
            <a:extLst>
              <a:ext uri="{FF2B5EF4-FFF2-40B4-BE49-F238E27FC236}">
                <a16:creationId xmlns:a16="http://schemas.microsoft.com/office/drawing/2014/main" id="{49E39CA1-6732-4B87-8407-0E76949A0A44}"/>
              </a:ext>
            </a:extLst>
          </p:cNvPr>
          <p:cNvGrpSpPr/>
          <p:nvPr/>
        </p:nvGrpSpPr>
        <p:grpSpPr>
          <a:xfrm>
            <a:off x="705494" y="1633157"/>
            <a:ext cx="10738602" cy="963043"/>
            <a:chOff x="695325" y="1376363"/>
            <a:chExt cx="4907462" cy="360000"/>
          </a:xfrm>
        </p:grpSpPr>
        <p:sp>
          <p:nvSpPr>
            <p:cNvPr id="8" name="Freihandform 40">
              <a:extLst>
                <a:ext uri="{FF2B5EF4-FFF2-40B4-BE49-F238E27FC236}">
                  <a16:creationId xmlns:a16="http://schemas.microsoft.com/office/drawing/2014/main" id="{FE9BD1F8-CB05-449C-945F-29A295717892}"/>
                </a:ext>
              </a:extLst>
            </p:cNvPr>
            <p:cNvSpPr/>
            <p:nvPr/>
          </p:nvSpPr>
          <p:spPr>
            <a:xfrm>
              <a:off x="1179887" y="1376363"/>
              <a:ext cx="4422900" cy="360000"/>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de-DE" sz="2400">
                  <a:solidFill>
                    <a:schemeClr val="bg1"/>
                  </a:solidFill>
                </a:rPr>
                <a:t>Zielsetzung</a:t>
              </a:r>
            </a:p>
          </p:txBody>
        </p:sp>
        <p:sp>
          <p:nvSpPr>
            <p:cNvPr id="9" name="Abgerundetes Rechteck 11">
              <a:extLst>
                <a:ext uri="{FF2B5EF4-FFF2-40B4-BE49-F238E27FC236}">
                  <a16:creationId xmlns:a16="http://schemas.microsoft.com/office/drawing/2014/main" id="{577836FD-EC08-4590-87B4-2116C9E24635}"/>
                </a:ext>
              </a:extLst>
            </p:cNvPr>
            <p:cNvSpPr/>
            <p:nvPr/>
          </p:nvSpPr>
          <p:spPr>
            <a:xfrm>
              <a:off x="695325" y="1376363"/>
              <a:ext cx="432000" cy="360000"/>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bIns="36000" rtlCol="0" anchor="ctr" anchorCtr="0">
              <a:noAutofit/>
            </a:bodyPr>
            <a:lstStyle/>
            <a:p>
              <a:pPr algn="ctr"/>
              <a:r>
                <a:rPr lang="de-DE" sz="2400">
                  <a:solidFill>
                    <a:schemeClr val="bg1"/>
                  </a:solidFill>
                </a:rPr>
                <a:t>1.</a:t>
              </a:r>
            </a:p>
          </p:txBody>
        </p:sp>
      </p:grpSp>
      <p:sp>
        <p:nvSpPr>
          <p:cNvPr id="10" name="Freihandform 38">
            <a:extLst>
              <a:ext uri="{FF2B5EF4-FFF2-40B4-BE49-F238E27FC236}">
                <a16:creationId xmlns:a16="http://schemas.microsoft.com/office/drawing/2014/main" id="{7D7306D9-054E-49D2-B00C-2C7EA4A525D7}"/>
              </a:ext>
            </a:extLst>
          </p:cNvPr>
          <p:cNvSpPr/>
          <p:nvPr/>
        </p:nvSpPr>
        <p:spPr>
          <a:xfrm>
            <a:off x="1764754" y="2748318"/>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Vorstell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1" name="Abgerundetes Rechteck 11">
            <a:extLst>
              <a:ext uri="{FF2B5EF4-FFF2-40B4-BE49-F238E27FC236}">
                <a16:creationId xmlns:a16="http://schemas.microsoft.com/office/drawing/2014/main" id="{63713944-2916-451F-AD4E-9CA399694C6B}"/>
              </a:ext>
            </a:extLst>
          </p:cNvPr>
          <p:cNvSpPr/>
          <p:nvPr/>
        </p:nvSpPr>
        <p:spPr>
          <a:xfrm>
            <a:off x="704426" y="2748318"/>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2.</a:t>
            </a:r>
          </a:p>
        </p:txBody>
      </p:sp>
      <p:sp>
        <p:nvSpPr>
          <p:cNvPr id="12" name="Freihandform 33">
            <a:extLst>
              <a:ext uri="{FF2B5EF4-FFF2-40B4-BE49-F238E27FC236}">
                <a16:creationId xmlns:a16="http://schemas.microsoft.com/office/drawing/2014/main" id="{1D572B6A-7E25-4D79-8D6C-865986E5BBAB}"/>
              </a:ext>
            </a:extLst>
          </p:cNvPr>
          <p:cNvSpPr/>
          <p:nvPr/>
        </p:nvSpPr>
        <p:spPr>
          <a:xfrm>
            <a:off x="1764754" y="3873791"/>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Bewert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3" name="Abgerundetes Rechteck 11">
            <a:extLst>
              <a:ext uri="{FF2B5EF4-FFF2-40B4-BE49-F238E27FC236}">
                <a16:creationId xmlns:a16="http://schemas.microsoft.com/office/drawing/2014/main" id="{35E02864-D4C6-4021-8A78-1945552B66EF}"/>
              </a:ext>
            </a:extLst>
          </p:cNvPr>
          <p:cNvSpPr/>
          <p:nvPr/>
        </p:nvSpPr>
        <p:spPr>
          <a:xfrm>
            <a:off x="703315" y="3873791"/>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3.</a:t>
            </a:r>
          </a:p>
        </p:txBody>
      </p:sp>
      <p:sp>
        <p:nvSpPr>
          <p:cNvPr id="18" name="Fußzeilenplatzhalter 4">
            <a:extLst>
              <a:ext uri="{FF2B5EF4-FFF2-40B4-BE49-F238E27FC236}">
                <a16:creationId xmlns:a16="http://schemas.microsoft.com/office/drawing/2014/main" id="{DA8CAD28-5AB9-4353-ACCF-C6C5F61828BA}"/>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5" name="Textplatzhalter 4">
            <a:extLst>
              <a:ext uri="{FF2B5EF4-FFF2-40B4-BE49-F238E27FC236}">
                <a16:creationId xmlns:a16="http://schemas.microsoft.com/office/drawing/2014/main" id="{341F8D5A-E1B2-43B4-9E46-38D44F50DD5C}"/>
              </a:ext>
            </a:extLst>
          </p:cNvPr>
          <p:cNvSpPr>
            <a:spLocks noGrp="1"/>
          </p:cNvSpPr>
          <p:nvPr>
            <p:ph type="body" sz="quarter" idx="10"/>
          </p:nvPr>
        </p:nvSpPr>
        <p:spPr/>
        <p:txBody>
          <a:bodyPr/>
          <a:lstStyle/>
          <a:p>
            <a:endParaRPr lang="de-DE"/>
          </a:p>
        </p:txBody>
      </p:sp>
      <p:sp>
        <p:nvSpPr>
          <p:cNvPr id="14" name="Freihandform 33">
            <a:extLst>
              <a:ext uri="{FF2B5EF4-FFF2-40B4-BE49-F238E27FC236}">
                <a16:creationId xmlns:a16="http://schemas.microsoft.com/office/drawing/2014/main" id="{46204DC1-18FD-4430-9956-AC2DF3BCBB7A}"/>
              </a:ext>
            </a:extLst>
          </p:cNvPr>
          <p:cNvSpPr/>
          <p:nvPr/>
        </p:nvSpPr>
        <p:spPr>
          <a:xfrm>
            <a:off x="1764754" y="4988952"/>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Fazit</a:t>
            </a:r>
            <a:r>
              <a:rPr lang="en-US" sz="2400">
                <a:solidFill>
                  <a:schemeClr val="bg1"/>
                </a:solidFill>
              </a:rPr>
              <a:t> &amp; </a:t>
            </a:r>
            <a:r>
              <a:rPr lang="en-US" sz="2400" err="1">
                <a:solidFill>
                  <a:schemeClr val="bg1"/>
                </a:solidFill>
              </a:rPr>
              <a:t>Ausblick</a:t>
            </a:r>
            <a:endParaRPr lang="en-US" sz="2400">
              <a:solidFill>
                <a:schemeClr val="bg1"/>
              </a:solidFill>
            </a:endParaRPr>
          </a:p>
        </p:txBody>
      </p:sp>
      <p:sp>
        <p:nvSpPr>
          <p:cNvPr id="15" name="Abgerundetes Rechteck 11">
            <a:extLst>
              <a:ext uri="{FF2B5EF4-FFF2-40B4-BE49-F238E27FC236}">
                <a16:creationId xmlns:a16="http://schemas.microsoft.com/office/drawing/2014/main" id="{52AB4097-DDEE-42E1-BF75-0EF0E943D607}"/>
              </a:ext>
            </a:extLst>
          </p:cNvPr>
          <p:cNvSpPr/>
          <p:nvPr/>
        </p:nvSpPr>
        <p:spPr>
          <a:xfrm>
            <a:off x="703315" y="4988952"/>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4.</a:t>
            </a:r>
          </a:p>
        </p:txBody>
      </p:sp>
    </p:spTree>
    <p:extLst>
      <p:ext uri="{BB962C8B-B14F-4D97-AF65-F5344CB8AC3E}">
        <p14:creationId xmlns:p14="http://schemas.microsoft.com/office/powerpoint/2010/main" val="2264734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Rechteck: abgerundete Ecken 63">
            <a:extLst>
              <a:ext uri="{FF2B5EF4-FFF2-40B4-BE49-F238E27FC236}">
                <a16:creationId xmlns:a16="http://schemas.microsoft.com/office/drawing/2014/main" id="{BA19356F-7A56-4060-9E18-0AE520282805}"/>
              </a:ext>
            </a:extLst>
          </p:cNvPr>
          <p:cNvSpPr/>
          <p:nvPr/>
        </p:nvSpPr>
        <p:spPr>
          <a:xfrm>
            <a:off x="3963967" y="784417"/>
            <a:ext cx="4257901" cy="895307"/>
          </a:xfrm>
          <a:prstGeom prst="roundRect">
            <a:avLst>
              <a:gd name="adj" fmla="val 22341"/>
            </a:avLst>
          </a:prstGeom>
          <a:solidFill>
            <a:srgbClr val="2134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48" name="Rechteck: abgerundete Ecken 47">
            <a:extLst>
              <a:ext uri="{FF2B5EF4-FFF2-40B4-BE49-F238E27FC236}">
                <a16:creationId xmlns:a16="http://schemas.microsoft.com/office/drawing/2014/main" id="{C2D809BB-723D-46A7-BD8A-AB8A17D9A9A8}"/>
              </a:ext>
            </a:extLst>
          </p:cNvPr>
          <p:cNvSpPr/>
          <p:nvPr/>
        </p:nvSpPr>
        <p:spPr>
          <a:xfrm>
            <a:off x="8303516" y="782660"/>
            <a:ext cx="3762000" cy="2856038"/>
          </a:xfrm>
          <a:prstGeom prst="roundRect">
            <a:avLst>
              <a:gd name="adj" fmla="val 7774"/>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80811" y="21022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9153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sp>
        <p:nvSpPr>
          <p:cNvPr id="37" name="Textfeld 36">
            <a:extLst>
              <a:ext uri="{FF2B5EF4-FFF2-40B4-BE49-F238E27FC236}">
                <a16:creationId xmlns:a16="http://schemas.microsoft.com/office/drawing/2014/main" id="{3CC3761C-DAF6-4249-B031-35F1D072D1C2}"/>
              </a:ext>
            </a:extLst>
          </p:cNvPr>
          <p:cNvSpPr txBox="1"/>
          <p:nvPr/>
        </p:nvSpPr>
        <p:spPr>
          <a:xfrm>
            <a:off x="4013378" y="905216"/>
            <a:ext cx="1756358" cy="646331"/>
          </a:xfrm>
          <a:prstGeom prst="rect">
            <a:avLst/>
          </a:prstGeom>
          <a:noFill/>
        </p:spPr>
        <p:txBody>
          <a:bodyPr wrap="square" rtlCol="0">
            <a:spAutoFit/>
          </a:bodyPr>
          <a:lstStyle/>
          <a:p>
            <a:r>
              <a:rPr lang="de-DE" err="1">
                <a:solidFill>
                  <a:schemeClr val="bg1">
                    <a:lumMod val="75000"/>
                  </a:schemeClr>
                </a:solidFill>
                <a:latin typeface="Helvetica" panose="020B0604020202020204" pitchFamily="34" charset="0"/>
                <a:cs typeface="Helvetica" panose="020B0604020202020204" pitchFamily="34" charset="0"/>
              </a:rPr>
              <a:t>Estimated</a:t>
            </a:r>
            <a:r>
              <a:rPr lang="de-DE">
                <a:solidFill>
                  <a:schemeClr val="bg1">
                    <a:lumMod val="75000"/>
                  </a:schemeClr>
                </a:solidFill>
                <a:latin typeface="Helvetica" panose="020B0604020202020204" pitchFamily="34" charset="0"/>
                <a:cs typeface="Helvetica" panose="020B0604020202020204" pitchFamily="34" charset="0"/>
              </a:rPr>
              <a:t> Time </a:t>
            </a:r>
            <a:r>
              <a:rPr lang="de-DE" err="1">
                <a:solidFill>
                  <a:schemeClr val="bg1">
                    <a:lumMod val="75000"/>
                  </a:schemeClr>
                </a:solidFill>
                <a:latin typeface="Helvetica" panose="020B0604020202020204" pitchFamily="34" charset="0"/>
                <a:cs typeface="Helvetica" panose="020B0604020202020204" pitchFamily="34" charset="0"/>
              </a:rPr>
              <a:t>of</a:t>
            </a:r>
            <a:r>
              <a:rPr lang="de-DE">
                <a:solidFill>
                  <a:schemeClr val="bg1">
                    <a:lumMod val="75000"/>
                  </a:schemeClr>
                </a:solidFill>
                <a:latin typeface="Helvetica" panose="020B0604020202020204" pitchFamily="34" charset="0"/>
                <a:cs typeface="Helvetica" panose="020B0604020202020204" pitchFamily="34" charset="0"/>
              </a:rPr>
              <a:t> Arrival: </a:t>
            </a:r>
          </a:p>
        </p:txBody>
      </p:sp>
      <p:sp>
        <p:nvSpPr>
          <p:cNvPr id="38" name="Textfeld 37">
            <a:extLst>
              <a:ext uri="{FF2B5EF4-FFF2-40B4-BE49-F238E27FC236}">
                <a16:creationId xmlns:a16="http://schemas.microsoft.com/office/drawing/2014/main" id="{B39E70F3-DA01-469A-8579-DF16BF243794}"/>
              </a:ext>
            </a:extLst>
          </p:cNvPr>
          <p:cNvSpPr txBox="1"/>
          <p:nvPr/>
        </p:nvSpPr>
        <p:spPr>
          <a:xfrm>
            <a:off x="5821982" y="795023"/>
            <a:ext cx="2459210" cy="830997"/>
          </a:xfrm>
          <a:prstGeom prst="rect">
            <a:avLst/>
          </a:prstGeom>
          <a:noFill/>
        </p:spPr>
        <p:txBody>
          <a:bodyPr wrap="square">
            <a:spAutoFit/>
          </a:bodyPr>
          <a:lstStyle/>
          <a:p>
            <a:r>
              <a:rPr lang="de-DE" sz="2800">
                <a:solidFill>
                  <a:schemeClr val="bg1">
                    <a:lumMod val="75000"/>
                  </a:schemeClr>
                </a:solidFill>
                <a:latin typeface="Helvetica" panose="020B0604020202020204" pitchFamily="34" charset="0"/>
                <a:cs typeface="Helvetica" panose="020B0604020202020204" pitchFamily="34" charset="0"/>
              </a:rPr>
              <a:t>01:30 AM </a:t>
            </a:r>
          </a:p>
          <a:p>
            <a:r>
              <a:rPr lang="de-DE" sz="2000">
                <a:solidFill>
                  <a:schemeClr val="bg1">
                    <a:lumMod val="75000"/>
                  </a:schemeClr>
                </a:solidFill>
                <a:latin typeface="Helvetica" panose="020B0604020202020204" pitchFamily="34" charset="0"/>
                <a:cs typeface="Helvetica" panose="020B0604020202020204" pitchFamily="34" charset="0"/>
              </a:rPr>
              <a:t>2021-07-17</a:t>
            </a:r>
          </a:p>
        </p:txBody>
      </p:sp>
      <p:grpSp>
        <p:nvGrpSpPr>
          <p:cNvPr id="42" name="Gruppieren 41">
            <a:extLst>
              <a:ext uri="{FF2B5EF4-FFF2-40B4-BE49-F238E27FC236}">
                <a16:creationId xmlns:a16="http://schemas.microsoft.com/office/drawing/2014/main" id="{E1CB552E-6DCA-47D2-A559-5FF52F01196C}"/>
              </a:ext>
            </a:extLst>
          </p:cNvPr>
          <p:cNvGrpSpPr/>
          <p:nvPr/>
        </p:nvGrpSpPr>
        <p:grpSpPr>
          <a:xfrm>
            <a:off x="11363261" y="53877"/>
            <a:ext cx="651099" cy="663064"/>
            <a:chOff x="11383176" y="32803"/>
            <a:chExt cx="651099" cy="663064"/>
          </a:xfrm>
        </p:grpSpPr>
        <p:sp>
          <p:nvSpPr>
            <p:cNvPr id="67" name="Rechteck: abgerundete Ecken 66">
              <a:extLst>
                <a:ext uri="{FF2B5EF4-FFF2-40B4-BE49-F238E27FC236}">
                  <a16:creationId xmlns:a16="http://schemas.microsoft.com/office/drawing/2014/main" id="{C3AE41E6-98B1-474C-8D22-9833CEAB951E}"/>
                </a:ext>
              </a:extLst>
            </p:cNvPr>
            <p:cNvSpPr/>
            <p:nvPr/>
          </p:nvSpPr>
          <p:spPr>
            <a:xfrm>
              <a:off x="11383176" y="32803"/>
              <a:ext cx="651099" cy="663064"/>
            </a:xfrm>
            <a:prstGeom prst="roundRect">
              <a:avLst/>
            </a:prstGeom>
            <a:solidFill>
              <a:srgbClr val="70707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a:extLst>
                <a:ext uri="{FF2B5EF4-FFF2-40B4-BE49-F238E27FC236}">
                  <a16:creationId xmlns:a16="http://schemas.microsoft.com/office/drawing/2014/main" id="{C005BD2A-4C1C-4C46-BB9E-E0F3229E0CD9}"/>
                </a:ext>
              </a:extLst>
            </p:cNvPr>
            <p:cNvGrpSpPr/>
            <p:nvPr/>
          </p:nvGrpSpPr>
          <p:grpSpPr>
            <a:xfrm>
              <a:off x="11413313" y="84078"/>
              <a:ext cx="576228" cy="546132"/>
              <a:chOff x="11289906" y="19826"/>
              <a:chExt cx="725969" cy="736528"/>
            </a:xfrm>
          </p:grpSpPr>
          <p:pic>
            <p:nvPicPr>
              <p:cNvPr id="16" name="Grafik 15" descr="Start mit einfarbiger Füllung">
                <a:extLst>
                  <a:ext uri="{FF2B5EF4-FFF2-40B4-BE49-F238E27FC236}">
                    <a16:creationId xmlns:a16="http://schemas.microsoft.com/office/drawing/2014/main" id="{DF0B759D-9539-425C-A9C9-6F49A3196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89906" y="19826"/>
                <a:ext cx="725969" cy="736528"/>
              </a:xfrm>
              <a:prstGeom prst="rect">
                <a:avLst/>
              </a:prstGeom>
            </p:spPr>
          </p:pic>
          <p:sp>
            <p:nvSpPr>
              <p:cNvPr id="24" name="Rechteck 23">
                <a:extLst>
                  <a:ext uri="{FF2B5EF4-FFF2-40B4-BE49-F238E27FC236}">
                    <a16:creationId xmlns:a16="http://schemas.microsoft.com/office/drawing/2014/main" id="{01AF9439-9DFC-4811-B2E2-2349E8D50BA6}"/>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uppieren 20">
                <a:extLst>
                  <a:ext uri="{FF2B5EF4-FFF2-40B4-BE49-F238E27FC236}">
                    <a16:creationId xmlns:a16="http://schemas.microsoft.com/office/drawing/2014/main" id="{C059AF37-B18D-4CFF-AFF9-CF74DD09C02D}"/>
                  </a:ext>
                </a:extLst>
              </p:cNvPr>
              <p:cNvGrpSpPr/>
              <p:nvPr/>
            </p:nvGrpSpPr>
            <p:grpSpPr>
              <a:xfrm>
                <a:off x="11532842" y="384003"/>
                <a:ext cx="227866" cy="245618"/>
                <a:chOff x="12619843" y="1120419"/>
                <a:chExt cx="414641" cy="414640"/>
              </a:xfrm>
            </p:grpSpPr>
            <p:sp>
              <p:nvSpPr>
                <p:cNvPr id="19" name="Ellipse 18">
                  <a:extLst>
                    <a:ext uri="{FF2B5EF4-FFF2-40B4-BE49-F238E27FC236}">
                      <a16:creationId xmlns:a16="http://schemas.microsoft.com/office/drawing/2014/main" id="{11D0684A-DEB0-4546-A88D-92A9F472C4B9}"/>
                    </a:ext>
                  </a:extLst>
                </p:cNvPr>
                <p:cNvSpPr/>
                <p:nvPr/>
              </p:nvSpPr>
              <p:spPr>
                <a:xfrm>
                  <a:off x="12625489" y="1122976"/>
                  <a:ext cx="396000" cy="396000"/>
                </a:xfrm>
                <a:prstGeom prst="ellipse">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Kreis mit Pfeil nach links mit einfarbiger Füllung">
                  <a:extLst>
                    <a:ext uri="{FF2B5EF4-FFF2-40B4-BE49-F238E27FC236}">
                      <a16:creationId xmlns:a16="http://schemas.microsoft.com/office/drawing/2014/main" id="{0922C70C-FB53-48CA-90BF-72B6DC8F91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2619843" y="1120419"/>
                  <a:ext cx="414641" cy="414640"/>
                </a:xfrm>
                <a:prstGeom prst="rect">
                  <a:avLst/>
                </a:prstGeom>
              </p:spPr>
            </p:pic>
          </p:grpSp>
        </p:grpSp>
      </p:grpSp>
      <p:sp>
        <p:nvSpPr>
          <p:cNvPr id="68" name="Rechteck: abgerundete Ecken 67">
            <a:extLst>
              <a:ext uri="{FF2B5EF4-FFF2-40B4-BE49-F238E27FC236}">
                <a16:creationId xmlns:a16="http://schemas.microsoft.com/office/drawing/2014/main" id="{DD63FDD9-3CF4-4835-B20C-1D51FF012EFB}"/>
              </a:ext>
            </a:extLst>
          </p:cNvPr>
          <p:cNvSpPr/>
          <p:nvPr/>
        </p:nvSpPr>
        <p:spPr>
          <a:xfrm>
            <a:off x="3982259" y="1747729"/>
            <a:ext cx="4257901" cy="4727290"/>
          </a:xfrm>
          <a:prstGeom prst="roundRect">
            <a:avLst>
              <a:gd name="adj" fmla="val 867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2" name="Rechteck: obere Ecken abgerundet 91">
            <a:extLst>
              <a:ext uri="{FF2B5EF4-FFF2-40B4-BE49-F238E27FC236}">
                <a16:creationId xmlns:a16="http://schemas.microsoft.com/office/drawing/2014/main" id="{D59DEBDF-B7AF-4365-B32E-9D780E9DC2DD}"/>
              </a:ext>
            </a:extLst>
          </p:cNvPr>
          <p:cNvSpPr/>
          <p:nvPr/>
        </p:nvSpPr>
        <p:spPr>
          <a:xfrm>
            <a:off x="8303517" y="777118"/>
            <a:ext cx="3753743"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1" name="Diagramm 30">
            <a:extLst>
              <a:ext uri="{FF2B5EF4-FFF2-40B4-BE49-F238E27FC236}">
                <a16:creationId xmlns:a16="http://schemas.microsoft.com/office/drawing/2014/main" id="{E1F285C0-D100-4CBF-AFDA-8B694D2E6A75}"/>
              </a:ext>
            </a:extLst>
          </p:cNvPr>
          <p:cNvGraphicFramePr>
            <a:graphicFrameLocks/>
          </p:cNvGraphicFramePr>
          <p:nvPr/>
        </p:nvGraphicFramePr>
        <p:xfrm>
          <a:off x="8308002" y="822924"/>
          <a:ext cx="3530384" cy="2713095"/>
        </p:xfrm>
        <a:graphic>
          <a:graphicData uri="http://schemas.openxmlformats.org/drawingml/2006/chart">
            <c:chart xmlns:c="http://schemas.openxmlformats.org/drawingml/2006/chart" xmlns:r="http://schemas.openxmlformats.org/officeDocument/2006/relationships" r:id="rId8"/>
          </a:graphicData>
        </a:graphic>
      </p:graphicFrame>
      <p:pic>
        <p:nvPicPr>
          <p:cNvPr id="87" name="Grafik 86" descr="Messgerät Silhouette">
            <a:extLst>
              <a:ext uri="{FF2B5EF4-FFF2-40B4-BE49-F238E27FC236}">
                <a16:creationId xmlns:a16="http://schemas.microsoft.com/office/drawing/2014/main" id="{4AA3C71A-402C-4DE0-B690-1D4FCA769B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65832" y="774257"/>
            <a:ext cx="405162" cy="412564"/>
          </a:xfrm>
          <a:prstGeom prst="rect">
            <a:avLst/>
          </a:prstGeom>
        </p:spPr>
      </p:pic>
      <p:pic>
        <p:nvPicPr>
          <p:cNvPr id="4" name="Grafik 3">
            <a:extLst>
              <a:ext uri="{FF2B5EF4-FFF2-40B4-BE49-F238E27FC236}">
                <a16:creationId xmlns:a16="http://schemas.microsoft.com/office/drawing/2014/main" id="{3A3DD95E-285B-4717-A67D-D73A60C155AB}"/>
              </a:ext>
            </a:extLst>
          </p:cNvPr>
          <p:cNvPicPr>
            <a:picLocks noChangeAspect="1"/>
          </p:cNvPicPr>
          <p:nvPr/>
        </p:nvPicPr>
        <p:blipFill rotWithShape="1">
          <a:blip r:embed="rId11"/>
          <a:srcRect l="6260" r="4429" b="-2"/>
          <a:stretch/>
        </p:blipFill>
        <p:spPr>
          <a:xfrm>
            <a:off x="8300489" y="3685467"/>
            <a:ext cx="3752915" cy="2789552"/>
          </a:xfrm>
          <a:prstGeom prst="roundRect">
            <a:avLst>
              <a:gd name="adj" fmla="val 7197"/>
            </a:avLst>
          </a:prstGeom>
          <a:ln w="19050">
            <a:solidFill>
              <a:srgbClr val="39445B"/>
            </a:solidFill>
          </a:ln>
        </p:spPr>
      </p:pic>
      <p:sp>
        <p:nvSpPr>
          <p:cNvPr id="44" name="Textfeld 43">
            <a:extLst>
              <a:ext uri="{FF2B5EF4-FFF2-40B4-BE49-F238E27FC236}">
                <a16:creationId xmlns:a16="http://schemas.microsoft.com/office/drawing/2014/main" id="{B6ADA23B-74E1-4A1D-BD2D-4A1ED09109FB}"/>
              </a:ext>
            </a:extLst>
          </p:cNvPr>
          <p:cNvSpPr txBox="1"/>
          <p:nvPr/>
        </p:nvSpPr>
        <p:spPr>
          <a:xfrm>
            <a:off x="9545406" y="5210129"/>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2</a:t>
            </a:r>
          </a:p>
        </p:txBody>
      </p:sp>
      <p:sp>
        <p:nvSpPr>
          <p:cNvPr id="45" name="Textfeld 44">
            <a:extLst>
              <a:ext uri="{FF2B5EF4-FFF2-40B4-BE49-F238E27FC236}">
                <a16:creationId xmlns:a16="http://schemas.microsoft.com/office/drawing/2014/main" id="{71AD1DDD-BF27-4B88-BA34-7A3703E12165}"/>
              </a:ext>
            </a:extLst>
          </p:cNvPr>
          <p:cNvSpPr txBox="1"/>
          <p:nvPr/>
        </p:nvSpPr>
        <p:spPr>
          <a:xfrm>
            <a:off x="8966189" y="4336140"/>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3</a:t>
            </a:r>
          </a:p>
        </p:txBody>
      </p:sp>
      <p:sp>
        <p:nvSpPr>
          <p:cNvPr id="43" name="Textfeld 42">
            <a:extLst>
              <a:ext uri="{FF2B5EF4-FFF2-40B4-BE49-F238E27FC236}">
                <a16:creationId xmlns:a16="http://schemas.microsoft.com/office/drawing/2014/main" id="{7A303450-841C-4E65-ACC8-5B0D34B99C64}"/>
              </a:ext>
            </a:extLst>
          </p:cNvPr>
          <p:cNvSpPr txBox="1"/>
          <p:nvPr/>
        </p:nvSpPr>
        <p:spPr>
          <a:xfrm>
            <a:off x="10425746" y="6037694"/>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1</a:t>
            </a:r>
          </a:p>
        </p:txBody>
      </p:sp>
      <p:sp>
        <p:nvSpPr>
          <p:cNvPr id="50" name="Gleichschenkliges Dreieck 49">
            <a:extLst>
              <a:ext uri="{FF2B5EF4-FFF2-40B4-BE49-F238E27FC236}">
                <a16:creationId xmlns:a16="http://schemas.microsoft.com/office/drawing/2014/main" id="{C9114AEA-7C63-4DA9-BDFC-A325D56E9BEC}"/>
              </a:ext>
            </a:extLst>
          </p:cNvPr>
          <p:cNvSpPr/>
          <p:nvPr/>
        </p:nvSpPr>
        <p:spPr>
          <a:xfrm>
            <a:off x="8778251" y="4322517"/>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1" name="Gleichschenkliges Dreieck 50">
            <a:extLst>
              <a:ext uri="{FF2B5EF4-FFF2-40B4-BE49-F238E27FC236}">
                <a16:creationId xmlns:a16="http://schemas.microsoft.com/office/drawing/2014/main" id="{C9114AEA-7C63-4DA9-BDFC-A325D56E9BEC}"/>
              </a:ext>
            </a:extLst>
          </p:cNvPr>
          <p:cNvSpPr/>
          <p:nvPr/>
        </p:nvSpPr>
        <p:spPr>
          <a:xfrm>
            <a:off x="9376711" y="5240905"/>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2" name="Gleichschenkliges Dreieck 51">
            <a:extLst>
              <a:ext uri="{FF2B5EF4-FFF2-40B4-BE49-F238E27FC236}">
                <a16:creationId xmlns:a16="http://schemas.microsoft.com/office/drawing/2014/main" id="{C9114AEA-7C63-4DA9-BDFC-A325D56E9BEC}"/>
              </a:ext>
            </a:extLst>
          </p:cNvPr>
          <p:cNvSpPr/>
          <p:nvPr/>
        </p:nvSpPr>
        <p:spPr>
          <a:xfrm>
            <a:off x="10284709" y="6177072"/>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10" name="Ellipse 9">
            <a:extLst>
              <a:ext uri="{FF2B5EF4-FFF2-40B4-BE49-F238E27FC236}">
                <a16:creationId xmlns:a16="http://schemas.microsoft.com/office/drawing/2014/main" id="{936AD436-16FA-4C8A-B617-403CEF7D8301}"/>
              </a:ext>
            </a:extLst>
          </p:cNvPr>
          <p:cNvSpPr/>
          <p:nvPr/>
        </p:nvSpPr>
        <p:spPr>
          <a:xfrm>
            <a:off x="11301884" y="6148808"/>
            <a:ext cx="156312" cy="146998"/>
          </a:xfrm>
          <a:prstGeom prst="ellipse">
            <a:avLst/>
          </a:pr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53" name="Textfeld 52">
            <a:extLst>
              <a:ext uri="{FF2B5EF4-FFF2-40B4-BE49-F238E27FC236}">
                <a16:creationId xmlns:a16="http://schemas.microsoft.com/office/drawing/2014/main" id="{9175F0A2-4736-456E-B15C-5DD1D35728FC}"/>
              </a:ext>
            </a:extLst>
          </p:cNvPr>
          <p:cNvSpPr txBox="1"/>
          <p:nvPr/>
        </p:nvSpPr>
        <p:spPr>
          <a:xfrm>
            <a:off x="11145040" y="5902945"/>
            <a:ext cx="505267" cy="261610"/>
          </a:xfrm>
          <a:prstGeom prst="rect">
            <a:avLst/>
          </a:prstGeom>
          <a:noFill/>
        </p:spPr>
        <p:txBody>
          <a:bodyPr wrap="none" rtlCol="0">
            <a:spAutoFit/>
          </a:bodyPr>
          <a:lstStyle/>
          <a:p>
            <a:r>
              <a:rPr lang="de-DE" sz="1100" b="1">
                <a:solidFill>
                  <a:srgbClr val="707070"/>
                </a:solidFill>
                <a:latin typeface="Helvetica" panose="020B0604020202020204" pitchFamily="34" charset="0"/>
                <a:cs typeface="Helvetica" panose="020B0604020202020204" pitchFamily="34" charset="0"/>
              </a:rPr>
              <a:t>Start</a:t>
            </a:r>
            <a:endParaRPr lang="de-DE" sz="1000" b="1">
              <a:solidFill>
                <a:srgbClr val="707070"/>
              </a:solidFill>
              <a:latin typeface="Helvetica" panose="020B0604020202020204" pitchFamily="34" charset="0"/>
              <a:cs typeface="Helvetica" panose="020B0604020202020204" pitchFamily="34" charset="0"/>
            </a:endParaRPr>
          </a:p>
        </p:txBody>
      </p:sp>
      <p:sp>
        <p:nvSpPr>
          <p:cNvPr id="70" name="Rechteck: abgerundete Ecken 69">
            <a:extLst>
              <a:ext uri="{FF2B5EF4-FFF2-40B4-BE49-F238E27FC236}">
                <a16:creationId xmlns:a16="http://schemas.microsoft.com/office/drawing/2014/main" id="{C95B3374-B475-4E15-993C-0F484DF69B75}"/>
              </a:ext>
            </a:extLst>
          </p:cNvPr>
          <p:cNvSpPr/>
          <p:nvPr/>
        </p:nvSpPr>
        <p:spPr>
          <a:xfrm>
            <a:off x="10363630" y="3723658"/>
            <a:ext cx="1606731" cy="381790"/>
          </a:xfrm>
          <a:prstGeom prst="roundRect">
            <a:avLst>
              <a:gd name="adj" fmla="val 3795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9" name="Textfeld 68">
            <a:extLst>
              <a:ext uri="{FF2B5EF4-FFF2-40B4-BE49-F238E27FC236}">
                <a16:creationId xmlns:a16="http://schemas.microsoft.com/office/drawing/2014/main" id="{C4926EBB-A852-47F5-8022-42525D8CD151}"/>
              </a:ext>
            </a:extLst>
          </p:cNvPr>
          <p:cNvSpPr txBox="1"/>
          <p:nvPr/>
        </p:nvSpPr>
        <p:spPr>
          <a:xfrm>
            <a:off x="10384222" y="3878230"/>
            <a:ext cx="1734457" cy="246221"/>
          </a:xfrm>
          <a:prstGeom prst="rect">
            <a:avLst/>
          </a:prstGeom>
          <a:noFill/>
        </p:spPr>
        <p:txBody>
          <a:bodyPr wrap="square">
            <a:spAutoFit/>
          </a:bodyPr>
          <a:lstStyle/>
          <a:p>
            <a:pPr algn="l" fontAlgn="base"/>
            <a:r>
              <a:rPr lang="de-DE" sz="1000" b="0" i="0">
                <a:effectLst/>
                <a:latin typeface="Helvetica" panose="020B0604020202020204" pitchFamily="34" charset="0"/>
                <a:cs typeface="Helvetica" panose="020B0604020202020204" pitchFamily="34" charset="0"/>
              </a:rPr>
              <a:t>50°01'08.1"N 8°06'08.1"E</a:t>
            </a:r>
          </a:p>
        </p:txBody>
      </p:sp>
      <p:sp>
        <p:nvSpPr>
          <p:cNvPr id="33" name="Textfeld 32">
            <a:extLst>
              <a:ext uri="{FF2B5EF4-FFF2-40B4-BE49-F238E27FC236}">
                <a16:creationId xmlns:a16="http://schemas.microsoft.com/office/drawing/2014/main" id="{0081B6B1-66D3-49F5-A39B-646C5A53F768}"/>
              </a:ext>
            </a:extLst>
          </p:cNvPr>
          <p:cNvSpPr txBox="1"/>
          <p:nvPr/>
        </p:nvSpPr>
        <p:spPr>
          <a:xfrm>
            <a:off x="10359936" y="3696331"/>
            <a:ext cx="1687568" cy="261610"/>
          </a:xfrm>
          <a:prstGeom prst="rect">
            <a:avLst/>
          </a:prstGeom>
          <a:noFill/>
        </p:spPr>
        <p:txBody>
          <a:bodyPr wrap="square" rtlCol="0">
            <a:spAutoFit/>
          </a:bodyPr>
          <a:lstStyle/>
          <a:p>
            <a:r>
              <a:rPr lang="de-DE" sz="1100" err="1">
                <a:latin typeface="Helvetica" panose="020B0604020202020204" pitchFamily="34" charset="0"/>
                <a:cs typeface="Helvetica" panose="020B0604020202020204" pitchFamily="34" charset="0"/>
              </a:rPr>
              <a:t>Current</a:t>
            </a:r>
            <a:r>
              <a:rPr lang="de-DE" sz="1100">
                <a:latin typeface="Helvetica" panose="020B0604020202020204" pitchFamily="34" charset="0"/>
                <a:cs typeface="Helvetica" panose="020B0604020202020204" pitchFamily="34" charset="0"/>
              </a:rPr>
              <a:t> Position</a:t>
            </a:r>
          </a:p>
        </p:txBody>
      </p:sp>
      <p:sp>
        <p:nvSpPr>
          <p:cNvPr id="100" name="Textfeld 99">
            <a:extLst>
              <a:ext uri="{FF2B5EF4-FFF2-40B4-BE49-F238E27FC236}">
                <a16:creationId xmlns:a16="http://schemas.microsoft.com/office/drawing/2014/main" id="{6E0EF5F2-4025-4A36-9C0C-1DD09EC012A9}"/>
              </a:ext>
            </a:extLst>
          </p:cNvPr>
          <p:cNvSpPr txBox="1"/>
          <p:nvPr/>
        </p:nvSpPr>
        <p:spPr>
          <a:xfrm>
            <a:off x="4462107" y="1850077"/>
            <a:ext cx="3387619" cy="461665"/>
          </a:xfrm>
          <a:prstGeom prst="rect">
            <a:avLst/>
          </a:prstGeom>
          <a:noFill/>
        </p:spPr>
        <p:txBody>
          <a:bodyPr wrap="square" rtlCol="0">
            <a:spAutoFit/>
          </a:bodyPr>
          <a:lstStyle/>
          <a:p>
            <a:r>
              <a:rPr lang="de-DE" sz="2400" u="sng">
                <a:solidFill>
                  <a:schemeClr val="bg1">
                    <a:lumMod val="75000"/>
                  </a:schemeClr>
                </a:solidFill>
                <a:latin typeface="Helvetica" panose="020B0604020202020204" pitchFamily="34" charset="0"/>
                <a:cs typeface="Helvetica" panose="020B0604020202020204" pitchFamily="34" charset="0"/>
              </a:rPr>
              <a:t>ALERT INFORMATION</a:t>
            </a:r>
          </a:p>
        </p:txBody>
      </p:sp>
      <p:graphicFrame>
        <p:nvGraphicFramePr>
          <p:cNvPr id="101" name="Tabelle 4">
            <a:extLst>
              <a:ext uri="{FF2B5EF4-FFF2-40B4-BE49-F238E27FC236}">
                <a16:creationId xmlns:a16="http://schemas.microsoft.com/office/drawing/2014/main" id="{7418C3E7-1AC1-46B5-9C14-5FD27DE58DBC}"/>
              </a:ext>
            </a:extLst>
          </p:cNvPr>
          <p:cNvGraphicFramePr>
            <a:graphicFrameLocks noGrp="1"/>
          </p:cNvGraphicFramePr>
          <p:nvPr/>
        </p:nvGraphicFramePr>
        <p:xfrm>
          <a:off x="4663298" y="2384219"/>
          <a:ext cx="3513733" cy="1229474"/>
        </p:xfrm>
        <a:graphic>
          <a:graphicData uri="http://schemas.openxmlformats.org/drawingml/2006/table">
            <a:tbl>
              <a:tblPr firstRow="1" bandRow="1">
                <a:tableStyleId>{5C22544A-7EE6-4342-B048-85BDC9FD1C3A}</a:tableStyleId>
              </a:tblPr>
              <a:tblGrid>
                <a:gridCol w="907632">
                  <a:extLst>
                    <a:ext uri="{9D8B030D-6E8A-4147-A177-3AD203B41FA5}">
                      <a16:colId xmlns:a16="http://schemas.microsoft.com/office/drawing/2014/main" val="2991778072"/>
                    </a:ext>
                  </a:extLst>
                </a:gridCol>
                <a:gridCol w="2606101">
                  <a:extLst>
                    <a:ext uri="{9D8B030D-6E8A-4147-A177-3AD203B41FA5}">
                      <a16:colId xmlns:a16="http://schemas.microsoft.com/office/drawing/2014/main" val="293995898"/>
                    </a:ext>
                  </a:extLst>
                </a:gridCol>
              </a:tblGrid>
              <a:tr h="550496">
                <a:tc gridSpan="2">
                  <a:txBody>
                    <a:bodyPr/>
                    <a:lstStyle/>
                    <a:p>
                      <a:pPr marL="0" algn="l" defTabSz="914400" rtl="0" eaLnBrk="1" latinLnBrk="0" hangingPunct="1"/>
                      <a:r>
                        <a:rPr lang="de-DE" sz="1600" b="0" kern="1200">
                          <a:solidFill>
                            <a:srgbClr val="BFBFBF"/>
                          </a:solidFill>
                          <a:latin typeface="Helvetica" panose="020B0604020202020204" pitchFamily="34" charset="0"/>
                          <a:ea typeface="+mn-ea"/>
                          <a:cs typeface="Helvetica" panose="020B0604020202020204" pitchFamily="34" charset="0"/>
                        </a:rPr>
                        <a:t>Change of ETA:</a:t>
                      </a:r>
                      <a:br>
                        <a:rPr lang="de-DE" sz="1600" b="0" kern="1200">
                          <a:solidFill>
                            <a:srgbClr val="BFBFBF"/>
                          </a:solidFill>
                          <a:latin typeface="Helvetica" panose="020B0604020202020204" pitchFamily="34" charset="0"/>
                          <a:ea typeface="+mn-ea"/>
                          <a:cs typeface="Helvetica" panose="020B0604020202020204" pitchFamily="34" charset="0"/>
                        </a:rPr>
                      </a:br>
                      <a:r>
                        <a:rPr lang="de-DE" sz="1600" b="0" kern="1200">
                          <a:solidFill>
                            <a:srgbClr val="BFBFBF"/>
                          </a:solidFill>
                          <a:latin typeface="Helvetica" panose="020B0604020202020204" pitchFamily="34" charset="0"/>
                          <a:ea typeface="+mn-ea"/>
                          <a:cs typeface="Helvetica" panose="020B0604020202020204" pitchFamily="34" charset="0"/>
                        </a:rPr>
                        <a:t>previous ETA 11:30 PM, 2021-07-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r>
                        <a:rPr lang="de-DE" sz="1300" b="0" kern="1200">
                          <a:solidFill>
                            <a:srgbClr val="BFBFBF"/>
                          </a:solidFill>
                          <a:latin typeface="Helvetica" panose="020B0604020202020204" pitchFamily="34" charset="0"/>
                          <a:ea typeface="+mn-ea"/>
                          <a:cs typeface="Helvetica" panose="020B0604020202020204" pitchFamily="34" charset="0"/>
                        </a:rPr>
                        <a:t>Change </a:t>
                      </a:r>
                      <a:r>
                        <a:rPr lang="de-DE" sz="1300" b="0" kern="1200" err="1">
                          <a:solidFill>
                            <a:srgbClr val="BFBFBF"/>
                          </a:solidFill>
                          <a:latin typeface="Helvetica" panose="020B0604020202020204" pitchFamily="34" charset="0"/>
                          <a:ea typeface="+mn-ea"/>
                          <a:cs typeface="Helvetica" panose="020B0604020202020204" pitchFamily="34" charset="0"/>
                        </a:rPr>
                        <a:t>of</a:t>
                      </a:r>
                      <a:r>
                        <a:rPr lang="de-DE" sz="1300" b="0" kern="1200">
                          <a:solidFill>
                            <a:srgbClr val="BFBFBF"/>
                          </a:solidFill>
                          <a:latin typeface="Helvetica" panose="020B0604020202020204" pitchFamily="34" charset="0"/>
                          <a:ea typeface="+mn-ea"/>
                          <a:cs typeface="Helvetica" panose="020B0604020202020204" pitchFamily="34" charset="0"/>
                        </a:rPr>
                        <a:t> ETA, </a:t>
                      </a:r>
                      <a:r>
                        <a:rPr lang="de-DE" sz="1300" b="0" kern="1200" err="1">
                          <a:solidFill>
                            <a:srgbClr val="BFBFBF"/>
                          </a:solidFill>
                          <a:latin typeface="Helvetica" panose="020B0604020202020204" pitchFamily="34" charset="0"/>
                          <a:ea typeface="+mn-ea"/>
                          <a:cs typeface="Helvetica" panose="020B0604020202020204" pitchFamily="34" charset="0"/>
                        </a:rPr>
                        <a:t>previous</a:t>
                      </a:r>
                      <a:r>
                        <a:rPr lang="de-DE" sz="1300" b="0" kern="1200">
                          <a:solidFill>
                            <a:srgbClr val="BFBFBF"/>
                          </a:solidFill>
                          <a:latin typeface="Helvetica" panose="020B0604020202020204" pitchFamily="34" charset="0"/>
                          <a:ea typeface="+mn-ea"/>
                          <a:cs typeface="Helvetica" panose="020B0604020202020204" pitchFamily="34" charset="0"/>
                        </a:rPr>
                        <a:t> ETA 11:30 P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650354">
                <a:tc>
                  <a:txBody>
                    <a:bodyPr/>
                    <a:lstStyle/>
                    <a:p>
                      <a:r>
                        <a:rPr lang="de-DE" sz="1200" b="0">
                          <a:solidFill>
                            <a:schemeClr val="bg1">
                              <a:lumMod val="75000"/>
                            </a:schemeClr>
                          </a:solidFill>
                          <a:latin typeface="Helvetica" panose="020B0604020202020204" pitchFamily="34" charset="0"/>
                          <a:cs typeface="Helvetica" panose="020B0604020202020204" pitchFamily="34" charset="0"/>
                        </a:rPr>
                        <a:t>Possible </a:t>
                      </a:r>
                      <a:r>
                        <a:rPr lang="de-DE" sz="1200" b="0" err="1">
                          <a:solidFill>
                            <a:schemeClr val="bg1">
                              <a:lumMod val="75000"/>
                            </a:schemeClr>
                          </a:solidFill>
                          <a:latin typeface="Helvetica" panose="020B0604020202020204" pitchFamily="34" charset="0"/>
                          <a:cs typeface="Helvetica" panose="020B0604020202020204" pitchFamily="34" charset="0"/>
                        </a:rPr>
                        <a:t>cause</a:t>
                      </a:r>
                      <a:r>
                        <a:rPr lang="de-DE" sz="1200" b="0">
                          <a:solidFill>
                            <a:schemeClr val="bg1">
                              <a:lumMod val="75000"/>
                            </a:schemeClr>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de-DE" sz="1200" b="0" kern="1200">
                          <a:solidFill>
                            <a:srgbClr val="BFBFBF"/>
                          </a:solidFill>
                          <a:latin typeface="Helvetica" panose="020B0604020202020204" pitchFamily="34" charset="0"/>
                          <a:ea typeface="+mn-ea"/>
                          <a:cs typeface="Helvetica" panose="020B0604020202020204" pitchFamily="34" charset="0"/>
                        </a:rPr>
                        <a:t>Stop2-Loading </a:t>
                      </a:r>
                      <a:r>
                        <a:rPr lang="de-DE" sz="1200" b="0" kern="1200" err="1">
                          <a:solidFill>
                            <a:srgbClr val="BFBFBF"/>
                          </a:solidFill>
                          <a:latin typeface="Helvetica" panose="020B0604020202020204" pitchFamily="34" charset="0"/>
                          <a:ea typeface="+mn-ea"/>
                          <a:cs typeface="Helvetica" panose="020B0604020202020204" pitchFamily="34" charset="0"/>
                        </a:rPr>
                        <a:t>took</a:t>
                      </a:r>
                      <a:r>
                        <a:rPr lang="de-DE" sz="1200" b="0" kern="1200">
                          <a:solidFill>
                            <a:srgbClr val="BFBFBF"/>
                          </a:solidFill>
                          <a:latin typeface="Helvetica" panose="020B0604020202020204" pitchFamily="34" charset="0"/>
                          <a:ea typeface="+mn-ea"/>
                          <a:cs typeface="Helvetica" panose="020B0604020202020204" pitchFamily="34" charset="0"/>
                        </a:rPr>
                        <a:t> longer </a:t>
                      </a:r>
                      <a:r>
                        <a:rPr lang="de-DE" sz="1200" b="0" kern="1200" err="1">
                          <a:solidFill>
                            <a:srgbClr val="BFBFBF"/>
                          </a:solidFill>
                          <a:latin typeface="Helvetica" panose="020B0604020202020204" pitchFamily="34" charset="0"/>
                          <a:ea typeface="+mn-ea"/>
                          <a:cs typeface="Helvetica" panose="020B0604020202020204" pitchFamily="34" charset="0"/>
                        </a:rPr>
                        <a:t>than</a:t>
                      </a:r>
                      <a:r>
                        <a:rPr lang="de-DE" sz="1200" b="0" kern="1200">
                          <a:solidFill>
                            <a:srgbClr val="BFBFBF"/>
                          </a:solidFill>
                          <a:latin typeface="Helvetica" panose="020B0604020202020204" pitchFamily="34" charset="0"/>
                          <a:ea typeface="+mn-ea"/>
                          <a:cs typeface="Helvetica" panose="020B0604020202020204" pitchFamily="34" charset="0"/>
                        </a:rPr>
                        <a:t> </a:t>
                      </a:r>
                      <a:r>
                        <a:rPr lang="de-DE" sz="1200" b="0" kern="1200" err="1">
                          <a:solidFill>
                            <a:srgbClr val="BFBFBF"/>
                          </a:solidFill>
                          <a:latin typeface="Helvetica" panose="020B0604020202020204" pitchFamily="34" charset="0"/>
                          <a:ea typeface="+mn-ea"/>
                          <a:cs typeface="Helvetica" panose="020B0604020202020204" pitchFamily="34" charset="0"/>
                        </a:rPr>
                        <a:t>predicted</a:t>
                      </a:r>
                      <a:endParaRPr lang="de-DE" sz="1200" b="0" kern="1200">
                        <a:solidFill>
                          <a:srgbClr val="BFBFBF"/>
                        </a:solidFill>
                        <a:latin typeface="Helvetica" panose="020B0604020202020204" pitchFamily="34" charset="0"/>
                        <a:ea typeface="+mn-ea"/>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648891"/>
                  </a:ext>
                </a:extLst>
              </a:tr>
            </a:tbl>
          </a:graphicData>
        </a:graphic>
      </p:graphicFrame>
      <p:sp>
        <p:nvSpPr>
          <p:cNvPr id="83" name="Rechteck: abgerundete Ecken 82">
            <a:extLst>
              <a:ext uri="{FF2B5EF4-FFF2-40B4-BE49-F238E27FC236}">
                <a16:creationId xmlns:a16="http://schemas.microsoft.com/office/drawing/2014/main" id="{41878636-5366-44D9-8384-1BBED9BCEA20}"/>
              </a:ext>
            </a:extLst>
          </p:cNvPr>
          <p:cNvSpPr/>
          <p:nvPr/>
        </p:nvSpPr>
        <p:spPr>
          <a:xfrm>
            <a:off x="4139412" y="3785834"/>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84" name="Grafik 83" descr="Warnung mit einfarbiger Füllung">
            <a:extLst>
              <a:ext uri="{FF2B5EF4-FFF2-40B4-BE49-F238E27FC236}">
                <a16:creationId xmlns:a16="http://schemas.microsoft.com/office/drawing/2014/main" id="{7ECE676F-642C-49FC-9FC1-551736B579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19150" y="2456956"/>
            <a:ext cx="461665" cy="461665"/>
          </a:xfrm>
          <a:prstGeom prst="rect">
            <a:avLst/>
          </a:prstGeom>
        </p:spPr>
      </p:pic>
      <p:pic>
        <p:nvPicPr>
          <p:cNvPr id="85" name="Grafik 84" descr="Klemmbrett abgehakt mit einfarbiger Füllung">
            <a:extLst>
              <a:ext uri="{FF2B5EF4-FFF2-40B4-BE49-F238E27FC236}">
                <a16:creationId xmlns:a16="http://schemas.microsoft.com/office/drawing/2014/main" id="{C1FF41E0-F423-451F-BAA0-0E2282FF43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81691" y="3908469"/>
            <a:ext cx="367233" cy="367233"/>
          </a:xfrm>
          <a:prstGeom prst="rect">
            <a:avLst/>
          </a:prstGeom>
        </p:spPr>
      </p:pic>
      <p:sp>
        <p:nvSpPr>
          <p:cNvPr id="88" name="Rechteck: abgerundete Ecken 87">
            <a:extLst>
              <a:ext uri="{FF2B5EF4-FFF2-40B4-BE49-F238E27FC236}">
                <a16:creationId xmlns:a16="http://schemas.microsoft.com/office/drawing/2014/main" id="{876341DB-0CE2-4819-B00A-7F19A9907F17}"/>
              </a:ext>
            </a:extLst>
          </p:cNvPr>
          <p:cNvSpPr/>
          <p:nvPr/>
        </p:nvSpPr>
        <p:spPr>
          <a:xfrm>
            <a:off x="4150100" y="450363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0" name="Grafik 89" descr="Klemmbrett abgehakt mit einfarbiger Füllung">
            <a:extLst>
              <a:ext uri="{FF2B5EF4-FFF2-40B4-BE49-F238E27FC236}">
                <a16:creationId xmlns:a16="http://schemas.microsoft.com/office/drawing/2014/main" id="{78F9F1E8-C38B-494A-9BB8-BAFA1D4C66E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92379" y="4626271"/>
            <a:ext cx="367233" cy="367233"/>
          </a:xfrm>
          <a:prstGeom prst="rect">
            <a:avLst/>
          </a:prstGeom>
        </p:spPr>
      </p:pic>
      <p:sp>
        <p:nvSpPr>
          <p:cNvPr id="54" name="Textfeld 53">
            <a:extLst>
              <a:ext uri="{FF2B5EF4-FFF2-40B4-BE49-F238E27FC236}">
                <a16:creationId xmlns:a16="http://schemas.microsoft.com/office/drawing/2014/main" id="{B2798D0E-C231-4C55-86B5-7C0AABBE3DED}"/>
              </a:ext>
            </a:extLst>
          </p:cNvPr>
          <p:cNvSpPr txBox="1"/>
          <p:nvPr/>
        </p:nvSpPr>
        <p:spPr>
          <a:xfrm>
            <a:off x="4514890" y="3853846"/>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ange </a:t>
            </a:r>
            <a:r>
              <a:rPr lang="de-DE" sz="1400" err="1">
                <a:latin typeface="Helvetica" panose="020B0604020202020204" pitchFamily="34" charset="0"/>
                <a:cs typeface="Helvetica" panose="020B0604020202020204" pitchFamily="34" charset="0"/>
              </a:rPr>
              <a:t>of</a:t>
            </a:r>
            <a:r>
              <a:rPr lang="de-DE" sz="1400">
                <a:latin typeface="Helvetica" panose="020B0604020202020204" pitchFamily="34" charset="0"/>
                <a:cs typeface="Helvetica" panose="020B0604020202020204" pitchFamily="34" charset="0"/>
              </a:rPr>
              <a:t> dock </a:t>
            </a:r>
            <a:r>
              <a:rPr lang="de-DE" sz="1400" err="1">
                <a:latin typeface="Helvetica" panose="020B0604020202020204" pitchFamily="34" charset="0"/>
                <a:cs typeface="Helvetica" panose="020B0604020202020204" pitchFamily="34" charset="0"/>
              </a:rPr>
              <a:t>required</a:t>
            </a:r>
            <a:br>
              <a:rPr lang="de-DE" sz="1400">
                <a:latin typeface="Helvetica" panose="020B0604020202020204" pitchFamily="34" charset="0"/>
                <a:cs typeface="Helvetica" panose="020B0604020202020204" pitchFamily="34" charset="0"/>
              </a:rPr>
            </a:br>
            <a:r>
              <a:rPr lang="de-DE" sz="1400">
                <a:latin typeface="Helvetica" panose="020B0604020202020204" pitchFamily="34" charset="0"/>
                <a:cs typeface="Helvetica" panose="020B0604020202020204" pitchFamily="34" charset="0"/>
              </a:rPr>
              <a:t>Free possible </a:t>
            </a:r>
            <a:r>
              <a:rPr lang="de-DE" sz="1400" err="1">
                <a:latin typeface="Helvetica" panose="020B0604020202020204" pitchFamily="34" charset="0"/>
                <a:cs typeface="Helvetica" panose="020B0604020202020204" pitchFamily="34" charset="0"/>
              </a:rPr>
              <a:t>docks</a:t>
            </a:r>
            <a:r>
              <a:rPr lang="de-DE" sz="1400">
                <a:latin typeface="Helvetica" panose="020B0604020202020204" pitchFamily="34" charset="0"/>
                <a:cs typeface="Helvetica" panose="020B0604020202020204" pitchFamily="34" charset="0"/>
              </a:rPr>
              <a:t>: Dock 14, 301, 90</a:t>
            </a:r>
          </a:p>
        </p:txBody>
      </p:sp>
      <p:sp>
        <p:nvSpPr>
          <p:cNvPr id="96" name="Rechteck: abgerundete Ecken 95">
            <a:extLst>
              <a:ext uri="{FF2B5EF4-FFF2-40B4-BE49-F238E27FC236}">
                <a16:creationId xmlns:a16="http://schemas.microsoft.com/office/drawing/2014/main" id="{28806A75-C8CC-47DB-8F68-78C4C5A4E313}"/>
              </a:ext>
            </a:extLst>
          </p:cNvPr>
          <p:cNvSpPr/>
          <p:nvPr/>
        </p:nvSpPr>
        <p:spPr>
          <a:xfrm>
            <a:off x="4150100" y="523976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8" name="Grafik 97" descr="Klemmbrett abgehakt mit einfarbiger Füllung">
            <a:extLst>
              <a:ext uri="{FF2B5EF4-FFF2-40B4-BE49-F238E27FC236}">
                <a16:creationId xmlns:a16="http://schemas.microsoft.com/office/drawing/2014/main" id="{D06F24B3-CF84-4AFA-B507-177F0FD8695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92379" y="5362401"/>
            <a:ext cx="367233" cy="367233"/>
          </a:xfrm>
          <a:prstGeom prst="rect">
            <a:avLst/>
          </a:prstGeom>
        </p:spPr>
      </p:pic>
      <p:sp>
        <p:nvSpPr>
          <p:cNvPr id="91" name="Textfeld 90">
            <a:extLst>
              <a:ext uri="{FF2B5EF4-FFF2-40B4-BE49-F238E27FC236}">
                <a16:creationId xmlns:a16="http://schemas.microsoft.com/office/drawing/2014/main" id="{92F27234-4AA0-4D7E-856A-66EEDA6D7527}"/>
              </a:ext>
            </a:extLst>
          </p:cNvPr>
          <p:cNvSpPr txBox="1"/>
          <p:nvPr/>
        </p:nvSpPr>
        <p:spPr>
          <a:xfrm>
            <a:off x="4514890" y="5288524"/>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Inform </a:t>
            </a:r>
            <a:r>
              <a:rPr lang="de-DE" sz="1400" err="1">
                <a:latin typeface="Helvetica" panose="020B0604020202020204" pitchFamily="34" charset="0"/>
                <a:cs typeface="Helvetica" panose="020B0604020202020204" pitchFamily="34" charset="0"/>
              </a:rPr>
              <a:t>responsibles</a:t>
            </a:r>
            <a:r>
              <a:rPr lang="de-DE" sz="1400">
                <a:latin typeface="Helvetica" panose="020B0604020202020204" pitchFamily="34" charset="0"/>
                <a:cs typeface="Helvetica" panose="020B0604020202020204" pitchFamily="34" charset="0"/>
              </a:rPr>
              <a:t>: </a:t>
            </a:r>
            <a:br>
              <a:rPr lang="de-DE" sz="1400">
                <a:latin typeface="Helvetica" panose="020B0604020202020204" pitchFamily="34" charset="0"/>
                <a:cs typeface="Helvetica" panose="020B0604020202020204" pitchFamily="34" charset="0"/>
              </a:rPr>
            </a:br>
            <a:r>
              <a:rPr lang="de-DE" sz="1400" u="sng" err="1">
                <a:latin typeface="Helvetica" panose="020B0604020202020204" pitchFamily="34" charset="0"/>
                <a:cs typeface="Helvetica" panose="020B0604020202020204" pitchFamily="34" charset="0"/>
              </a:rPr>
              <a:t>click</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here</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for</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contact</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information</a:t>
            </a:r>
            <a:endParaRPr lang="de-DE" sz="1400" u="sng">
              <a:latin typeface="Helvetica" panose="020B0604020202020204" pitchFamily="34" charset="0"/>
              <a:cs typeface="Helvetica" panose="020B0604020202020204" pitchFamily="34" charset="0"/>
            </a:endParaRPr>
          </a:p>
        </p:txBody>
      </p:sp>
      <p:sp>
        <p:nvSpPr>
          <p:cNvPr id="104" name="Textfeld 103">
            <a:extLst>
              <a:ext uri="{FF2B5EF4-FFF2-40B4-BE49-F238E27FC236}">
                <a16:creationId xmlns:a16="http://schemas.microsoft.com/office/drawing/2014/main" id="{7E6A3FD1-3C07-4F30-B2AE-8F606ECA1258}"/>
              </a:ext>
            </a:extLst>
          </p:cNvPr>
          <p:cNvSpPr txBox="1"/>
          <p:nvPr/>
        </p:nvSpPr>
        <p:spPr>
          <a:xfrm>
            <a:off x="4514890" y="4652498"/>
            <a:ext cx="3278559" cy="307777"/>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eck </a:t>
            </a:r>
            <a:r>
              <a:rPr lang="de-DE" sz="1400" err="1">
                <a:latin typeface="Helvetica" panose="020B0604020202020204" pitchFamily="34" charset="0"/>
                <a:cs typeface="Helvetica" panose="020B0604020202020204" pitchFamily="34" charset="0"/>
              </a:rPr>
              <a:t>resource</a:t>
            </a:r>
            <a:r>
              <a:rPr lang="de-DE" sz="1400">
                <a:latin typeface="Helvetica" panose="020B0604020202020204" pitchFamily="34" charset="0"/>
                <a:cs typeface="Helvetica" panose="020B0604020202020204" pitchFamily="34" charset="0"/>
              </a:rPr>
              <a:t> </a:t>
            </a:r>
            <a:r>
              <a:rPr lang="de-DE" sz="1400" err="1">
                <a:latin typeface="Helvetica" panose="020B0604020202020204" pitchFamily="34" charset="0"/>
                <a:cs typeface="Helvetica" panose="020B0604020202020204" pitchFamily="34" charset="0"/>
              </a:rPr>
              <a:t>planning</a:t>
            </a:r>
            <a:endParaRPr lang="de-DE" sz="1400">
              <a:latin typeface="Helvetica" panose="020B0604020202020204" pitchFamily="34" charset="0"/>
              <a:cs typeface="Helvetica" panose="020B0604020202020204" pitchFamily="34" charset="0"/>
            </a:endParaRPr>
          </a:p>
        </p:txBody>
      </p:sp>
      <p:pic>
        <p:nvPicPr>
          <p:cNvPr id="105" name="Grafik 104" descr="Kreis mit Pfeil nach links mit einfarbiger Füllung">
            <a:extLst>
              <a:ext uri="{FF2B5EF4-FFF2-40B4-BE49-F238E27FC236}">
                <a16:creationId xmlns:a16="http://schemas.microsoft.com/office/drawing/2014/main" id="{B55B7563-C7FD-44D4-9028-8640B952F2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6634263" y="4667692"/>
            <a:ext cx="281136" cy="283093"/>
          </a:xfrm>
          <a:prstGeom prst="rect">
            <a:avLst/>
          </a:prstGeom>
        </p:spPr>
      </p:pic>
      <p:sp>
        <p:nvSpPr>
          <p:cNvPr id="63" name="Rechteck 62">
            <a:extLst>
              <a:ext uri="{FF2B5EF4-FFF2-40B4-BE49-F238E27FC236}">
                <a16:creationId xmlns:a16="http://schemas.microsoft.com/office/drawing/2014/main" id="{29A9DD03-2184-49CA-BC79-75C72C597E32}"/>
              </a:ext>
            </a:extLst>
          </p:cNvPr>
          <p:cNvSpPr/>
          <p:nvPr/>
        </p:nvSpPr>
        <p:spPr>
          <a:xfrm>
            <a:off x="11722650" y="878476"/>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66EB093B-9098-4348-9588-0CC12E22C217}"/>
              </a:ext>
            </a:extLst>
          </p:cNvPr>
          <p:cNvSpPr/>
          <p:nvPr/>
        </p:nvSpPr>
        <p:spPr>
          <a:xfrm>
            <a:off x="11671423" y="920817"/>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9" name="Grafik 48" descr="Fracht mit einfarbiger Füllung">
            <a:extLst>
              <a:ext uri="{FF2B5EF4-FFF2-40B4-BE49-F238E27FC236}">
                <a16:creationId xmlns:a16="http://schemas.microsoft.com/office/drawing/2014/main" id="{DAD1452E-E4CA-4D74-961B-6DA77228BDC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H="1">
            <a:off x="11157237" y="6009676"/>
            <a:ext cx="352976" cy="315917"/>
          </a:xfrm>
          <a:prstGeom prst="rect">
            <a:avLst/>
          </a:prstGeom>
        </p:spPr>
      </p:pic>
      <p:sp>
        <p:nvSpPr>
          <p:cNvPr id="74" name="Rechteck 73">
            <a:extLst>
              <a:ext uri="{FF2B5EF4-FFF2-40B4-BE49-F238E27FC236}">
                <a16:creationId xmlns:a16="http://schemas.microsoft.com/office/drawing/2014/main" id="{50A7B259-5992-D543-B103-2E1128D99F0A}"/>
              </a:ext>
            </a:extLst>
          </p:cNvPr>
          <p:cNvSpPr/>
          <p:nvPr/>
        </p:nvSpPr>
        <p:spPr>
          <a:xfrm>
            <a:off x="-10222" y="1"/>
            <a:ext cx="12192000" cy="6860116"/>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65" name="Rechteck: abgerundete Ecken 64">
            <a:extLst>
              <a:ext uri="{FF2B5EF4-FFF2-40B4-BE49-F238E27FC236}">
                <a16:creationId xmlns:a16="http://schemas.microsoft.com/office/drawing/2014/main" id="{29521579-A50C-454E-8123-1EF557EA032B}"/>
              </a:ext>
            </a:extLst>
          </p:cNvPr>
          <p:cNvSpPr/>
          <p:nvPr/>
        </p:nvSpPr>
        <p:spPr>
          <a:xfrm>
            <a:off x="124895" y="782661"/>
            <a:ext cx="3763588" cy="3666352"/>
          </a:xfrm>
          <a:prstGeom prst="roundRect">
            <a:avLst>
              <a:gd name="adj" fmla="val 777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aphicFrame>
        <p:nvGraphicFramePr>
          <p:cNvPr id="81" name="Tabelle 4">
            <a:extLst>
              <a:ext uri="{FF2B5EF4-FFF2-40B4-BE49-F238E27FC236}">
                <a16:creationId xmlns:a16="http://schemas.microsoft.com/office/drawing/2014/main" id="{218988A1-B80C-4254-8982-2D8B67B05D1D}"/>
              </a:ext>
            </a:extLst>
          </p:cNvPr>
          <p:cNvGraphicFramePr>
            <a:graphicFrameLocks noGrp="1"/>
          </p:cNvGraphicFramePr>
          <p:nvPr/>
        </p:nvGraphicFramePr>
        <p:xfrm>
          <a:off x="266969" y="1673241"/>
          <a:ext cx="3387468" cy="2698323"/>
        </p:xfrm>
        <a:graphic>
          <a:graphicData uri="http://schemas.openxmlformats.org/drawingml/2006/table">
            <a:tbl>
              <a:tblPr firstRow="1" bandRow="1">
                <a:tableStyleId>{5C22544A-7EE6-4342-B048-85BDC9FD1C3A}</a:tableStyleId>
              </a:tblPr>
              <a:tblGrid>
                <a:gridCol w="1617249">
                  <a:extLst>
                    <a:ext uri="{9D8B030D-6E8A-4147-A177-3AD203B41FA5}">
                      <a16:colId xmlns:a16="http://schemas.microsoft.com/office/drawing/2014/main" val="2991778072"/>
                    </a:ext>
                  </a:extLst>
                </a:gridCol>
                <a:gridCol w="1770219">
                  <a:extLst>
                    <a:ext uri="{9D8B030D-6E8A-4147-A177-3AD203B41FA5}">
                      <a16:colId xmlns:a16="http://schemas.microsoft.com/office/drawing/2014/main" val="293995898"/>
                    </a:ext>
                  </a:extLst>
                </a:gridCol>
              </a:tblGrid>
              <a:tr h="563367">
                <a:tc>
                  <a:txBody>
                    <a:bodyPr/>
                    <a:lstStyle/>
                    <a:p>
                      <a:r>
                        <a:rPr lang="de-DE" sz="1200" b="0">
                          <a:solidFill>
                            <a:schemeClr val="tx1"/>
                          </a:solidFill>
                          <a:latin typeface="Helvetica" panose="020B0604020202020204" pitchFamily="34" charset="0"/>
                          <a:cs typeface="Helvetica" panose="020B0604020202020204" pitchFamily="34" charset="0"/>
                        </a:rPr>
                        <a:t>Star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2021-07-15 6:00AM</a:t>
                      </a:r>
                      <a:br>
                        <a:rPr lang="de-DE" sz="1200" b="0" kern="1200">
                          <a:solidFill>
                            <a:schemeClr val="tx1"/>
                          </a:solidFill>
                          <a:latin typeface="Helvetica" panose="020B0604020202020204" pitchFamily="34" charset="0"/>
                          <a:ea typeface="+mn-ea"/>
                          <a:cs typeface="Helvetica" panose="020B0604020202020204" pitchFamily="34" charset="0"/>
                        </a:rPr>
                      </a:br>
                      <a:r>
                        <a:rPr lang="de-DE" sz="1200" b="0" kern="1200">
                          <a:solidFill>
                            <a:schemeClr val="tx1"/>
                          </a:solidFill>
                          <a:latin typeface="Helvetica" panose="020B0604020202020204" pitchFamily="34" charset="0"/>
                          <a:ea typeface="+mn-ea"/>
                          <a:cs typeface="Helvetica" panose="020B0604020202020204" pitchFamily="34" charset="0"/>
                        </a:rPr>
                        <a:t>Frankfurt a. 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estin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Rotterd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ock </a:t>
                      </a:r>
                      <a:r>
                        <a:rPr lang="de-DE" sz="1200" b="0" err="1">
                          <a:solidFill>
                            <a:schemeClr val="tx1"/>
                          </a:solidFill>
                          <a:latin typeface="Helvetica" panose="020B0604020202020204" pitchFamily="34" charset="0"/>
                          <a:cs typeface="Helvetica" panose="020B0604020202020204" pitchFamily="34" charset="0"/>
                        </a:rPr>
                        <a:t>planned</a:t>
                      </a:r>
                      <a:endParaRPr lang="de-DE" sz="1200" b="0">
                        <a:solidFill>
                          <a:schemeClr val="tx1"/>
                        </a:solidFill>
                        <a:latin typeface="Helvetica" panose="020B0604020202020204" pitchFamily="34" charset="0"/>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NLRTDOCK1209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957981"/>
                  </a:ext>
                </a:extLst>
              </a:tr>
              <a:tr h="676070">
                <a:tc>
                  <a:txBody>
                    <a:bodyPr/>
                    <a:lstStyle/>
                    <a:p>
                      <a:r>
                        <a:rPr lang="de-DE" sz="1200" b="0">
                          <a:solidFill>
                            <a:schemeClr val="tx1"/>
                          </a:solidFill>
                          <a:latin typeface="Helvetica" panose="020B0604020202020204" pitchFamily="34" charset="0"/>
                          <a:cs typeface="Helvetica" panose="020B0604020202020204" pitchFamily="34" charset="0"/>
                        </a:rPr>
                        <a:t>Outstanding </a:t>
                      </a:r>
                      <a:r>
                        <a:rPr lang="de-DE" sz="1200" b="0" err="1">
                          <a:solidFill>
                            <a:schemeClr val="tx1"/>
                          </a:solidFill>
                          <a:latin typeface="Helvetica" panose="020B0604020202020204" pitchFamily="34" charset="0"/>
                          <a:cs typeface="Helvetica" panose="020B0604020202020204" pitchFamily="34" charset="0"/>
                        </a:rPr>
                        <a:t>Distance</a:t>
                      </a:r>
                      <a:r>
                        <a:rPr lang="de-DE" sz="12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00 N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6296507"/>
                  </a:ext>
                </a:extLst>
              </a:tr>
              <a:tr h="676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a:solidFill>
                            <a:schemeClr val="tx1"/>
                          </a:solidFill>
                          <a:latin typeface="Helvetica" panose="020B0604020202020204" pitchFamily="34" charset="0"/>
                          <a:cs typeface="Helvetica" panose="020B0604020202020204" pitchFamily="34" charset="0"/>
                        </a:rPr>
                        <a:t>Outstanding Stop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 (</a:t>
                      </a:r>
                      <a:r>
                        <a:rPr lang="de-DE" sz="1200" b="0" kern="1200" err="1">
                          <a:solidFill>
                            <a:schemeClr val="tx1"/>
                          </a:solidFill>
                          <a:latin typeface="Helvetica" panose="020B0604020202020204" pitchFamily="34" charset="0"/>
                          <a:ea typeface="+mn-ea"/>
                          <a:cs typeface="Helvetica" panose="020B0604020202020204" pitchFamily="34" charset="0"/>
                        </a:rPr>
                        <a:t>floodgate</a:t>
                      </a:r>
                      <a:r>
                        <a:rPr lang="de-DE" sz="1200" b="0" kern="1200">
                          <a:solidFill>
                            <a:schemeClr val="tx1"/>
                          </a:solidFill>
                          <a:latin typeface="Helvetica" panose="020B0604020202020204" pitchFamily="34" charset="0"/>
                          <a:ea typeface="+mn-ea"/>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485702"/>
                  </a:ext>
                </a:extLst>
              </a:tr>
            </a:tbl>
          </a:graphicData>
        </a:graphic>
      </p:graphicFrame>
      <p:sp>
        <p:nvSpPr>
          <p:cNvPr id="97" name="Rechteck: obere Ecken abgerundet 96">
            <a:extLst>
              <a:ext uri="{FF2B5EF4-FFF2-40B4-BE49-F238E27FC236}">
                <a16:creationId xmlns:a16="http://schemas.microsoft.com/office/drawing/2014/main" id="{B9E0DA7B-2F4F-4642-B1E5-47D3F7B28F32}"/>
              </a:ext>
            </a:extLst>
          </p:cNvPr>
          <p:cNvSpPr/>
          <p:nvPr/>
        </p:nvSpPr>
        <p:spPr>
          <a:xfrm>
            <a:off x="124895" y="759610"/>
            <a:ext cx="3756226" cy="920114"/>
          </a:xfrm>
          <a:prstGeom prst="round2SameRect">
            <a:avLst>
              <a:gd name="adj1" fmla="val 28719"/>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948CCE22-876E-45C9-9BDD-B145269198D0}"/>
              </a:ext>
            </a:extLst>
          </p:cNvPr>
          <p:cNvSpPr txBox="1"/>
          <p:nvPr/>
        </p:nvSpPr>
        <p:spPr>
          <a:xfrm>
            <a:off x="299115" y="931540"/>
            <a:ext cx="913032" cy="677108"/>
          </a:xfrm>
          <a:prstGeom prst="rect">
            <a:avLst/>
          </a:prstGeom>
          <a:noFill/>
        </p:spPr>
        <p:txBody>
          <a:bodyPr wrap="square" rtlCol="0">
            <a:spAutoFit/>
          </a:bodyPr>
          <a:lstStyle/>
          <a:p>
            <a:r>
              <a:rPr lang="de-DE" sz="1400" b="1">
                <a:solidFill>
                  <a:schemeClr val="bg1">
                    <a:lumMod val="75000"/>
                  </a:schemeClr>
                </a:solidFill>
                <a:latin typeface="Helvetica" panose="020B0604020202020204" pitchFamily="34" charset="0"/>
                <a:cs typeface="Helvetica" panose="020B0604020202020204" pitchFamily="34" charset="0"/>
              </a:rPr>
              <a:t>Input</a:t>
            </a:r>
          </a:p>
          <a:p>
            <a:r>
              <a:rPr lang="de-DE" sz="1200" err="1">
                <a:solidFill>
                  <a:schemeClr val="bg1">
                    <a:lumMod val="75000"/>
                  </a:schemeClr>
                </a:solidFill>
                <a:latin typeface="Helvetica" panose="020B0604020202020204" pitchFamily="34" charset="0"/>
                <a:cs typeface="Helvetica" panose="020B0604020202020204" pitchFamily="34" charset="0"/>
              </a:rPr>
              <a:t>Vessel</a:t>
            </a:r>
            <a:r>
              <a:rPr lang="de-DE" sz="1200">
                <a:solidFill>
                  <a:schemeClr val="bg1">
                    <a:lumMod val="75000"/>
                  </a:schemeClr>
                </a:solidFill>
                <a:latin typeface="Helvetica" panose="020B0604020202020204" pitchFamily="34" charset="0"/>
                <a:cs typeface="Helvetica" panose="020B0604020202020204" pitchFamily="34" charset="0"/>
              </a:rPr>
              <a:t> Name:</a:t>
            </a:r>
          </a:p>
        </p:txBody>
      </p:sp>
      <p:sp>
        <p:nvSpPr>
          <p:cNvPr id="13" name="Rechteck: abgerundete Ecken 12">
            <a:extLst>
              <a:ext uri="{FF2B5EF4-FFF2-40B4-BE49-F238E27FC236}">
                <a16:creationId xmlns:a16="http://schemas.microsoft.com/office/drawing/2014/main" id="{54C6DF2F-7EDD-407F-9A53-3A8DBD5AA64F}"/>
              </a:ext>
            </a:extLst>
          </p:cNvPr>
          <p:cNvSpPr/>
          <p:nvPr/>
        </p:nvSpPr>
        <p:spPr>
          <a:xfrm>
            <a:off x="1048758" y="1002573"/>
            <a:ext cx="1823891" cy="525865"/>
          </a:xfrm>
          <a:prstGeom prst="roundRect">
            <a:avLst/>
          </a:prstGeom>
          <a:solidFill>
            <a:schemeClr val="bg1">
              <a:lumMod val="95000"/>
            </a:schemeClr>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latin typeface="Helvetica" panose="020B0604020202020204" pitchFamily="34" charset="0"/>
                <a:cs typeface="Helvetica" panose="020B0604020202020204" pitchFamily="34" charset="0"/>
              </a:rPr>
              <a:t>VESSEL 10</a:t>
            </a:r>
          </a:p>
        </p:txBody>
      </p:sp>
      <p:grpSp>
        <p:nvGrpSpPr>
          <p:cNvPr id="73" name="Gruppieren 72">
            <a:extLst>
              <a:ext uri="{FF2B5EF4-FFF2-40B4-BE49-F238E27FC236}">
                <a16:creationId xmlns:a16="http://schemas.microsoft.com/office/drawing/2014/main" id="{B6F753FD-2BBD-420B-AE52-0ABB9CC90166}"/>
              </a:ext>
            </a:extLst>
          </p:cNvPr>
          <p:cNvGrpSpPr/>
          <p:nvPr/>
        </p:nvGrpSpPr>
        <p:grpSpPr>
          <a:xfrm>
            <a:off x="3094310" y="1026690"/>
            <a:ext cx="479796" cy="486808"/>
            <a:chOff x="11354045" y="59347"/>
            <a:chExt cx="604479" cy="656522"/>
          </a:xfrm>
        </p:grpSpPr>
        <p:sp>
          <p:nvSpPr>
            <p:cNvPr id="75" name="Rechteck 74">
              <a:extLst>
                <a:ext uri="{FF2B5EF4-FFF2-40B4-BE49-F238E27FC236}">
                  <a16:creationId xmlns:a16="http://schemas.microsoft.com/office/drawing/2014/main" id="{0691EBA9-5212-41C2-8FBE-1115B8E86F11}"/>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77" name="Ellipse 76">
              <a:extLst>
                <a:ext uri="{FF2B5EF4-FFF2-40B4-BE49-F238E27FC236}">
                  <a16:creationId xmlns:a16="http://schemas.microsoft.com/office/drawing/2014/main" id="{44A35A39-1732-4FC7-AD2C-F6AFF809833D}"/>
                </a:ext>
              </a:extLst>
            </p:cNvPr>
            <p:cNvSpPr/>
            <p:nvPr/>
          </p:nvSpPr>
          <p:spPr>
            <a:xfrm>
              <a:off x="11354045" y="59347"/>
              <a:ext cx="604479" cy="656522"/>
            </a:xfrm>
            <a:prstGeom prst="ellipse">
              <a:avLst/>
            </a:prstGeom>
            <a:solidFill>
              <a:srgbClr val="990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pSp>
      <p:sp>
        <p:nvSpPr>
          <p:cNvPr id="79" name="Textfeld 78">
            <a:extLst>
              <a:ext uri="{FF2B5EF4-FFF2-40B4-BE49-F238E27FC236}">
                <a16:creationId xmlns:a16="http://schemas.microsoft.com/office/drawing/2014/main" id="{3BC8BB24-B604-4A29-B487-6BB2B809ECE5}"/>
              </a:ext>
            </a:extLst>
          </p:cNvPr>
          <p:cNvSpPr txBox="1"/>
          <p:nvPr/>
        </p:nvSpPr>
        <p:spPr>
          <a:xfrm>
            <a:off x="3079312" y="1100817"/>
            <a:ext cx="586951" cy="338554"/>
          </a:xfrm>
          <a:prstGeom prst="rect">
            <a:avLst/>
          </a:prstGeom>
          <a:noFill/>
        </p:spPr>
        <p:txBody>
          <a:bodyPr wrap="square" rtlCol="0">
            <a:spAutoFit/>
          </a:bodyPr>
          <a:lstStyle/>
          <a:p>
            <a:r>
              <a:rPr lang="de-DE" sz="1600" b="1">
                <a:solidFill>
                  <a:schemeClr val="bg1">
                    <a:lumMod val="75000"/>
                  </a:schemeClr>
                </a:solidFill>
                <a:latin typeface="Helvetica" panose="020B0604020202020204" pitchFamily="34" charset="0"/>
                <a:cs typeface="Helvetica" panose="020B0604020202020204" pitchFamily="34" charset="0"/>
              </a:rPr>
              <a:t>Go!</a:t>
            </a:r>
          </a:p>
        </p:txBody>
      </p:sp>
      <p:pic>
        <p:nvPicPr>
          <p:cNvPr id="55" name="Grafik 54" descr="Cursor mit einfarbiger Füllung">
            <a:extLst>
              <a:ext uri="{FF2B5EF4-FFF2-40B4-BE49-F238E27FC236}">
                <a16:creationId xmlns:a16="http://schemas.microsoft.com/office/drawing/2014/main" id="{867FDEC3-C9DC-4AFA-B093-FD3D8D5BDEA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259539">
            <a:off x="3310603" y="1296024"/>
            <a:ext cx="434948" cy="434948"/>
          </a:xfrm>
          <a:prstGeom prst="rect">
            <a:avLst/>
          </a:prstGeom>
        </p:spPr>
      </p:pic>
      <p:sp>
        <p:nvSpPr>
          <p:cNvPr id="66" name="Rechteck: abgerundete Ecken 65">
            <a:extLst>
              <a:ext uri="{FF2B5EF4-FFF2-40B4-BE49-F238E27FC236}">
                <a16:creationId xmlns:a16="http://schemas.microsoft.com/office/drawing/2014/main" id="{34E1A081-8F09-417E-89E3-1BC3A2E5D96D}"/>
              </a:ext>
            </a:extLst>
          </p:cNvPr>
          <p:cNvSpPr/>
          <p:nvPr/>
        </p:nvSpPr>
        <p:spPr>
          <a:xfrm>
            <a:off x="148302" y="4547433"/>
            <a:ext cx="3740627" cy="1945223"/>
          </a:xfrm>
          <a:prstGeom prst="roundRect">
            <a:avLst>
              <a:gd name="adj" fmla="val 1092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aphicFrame>
        <p:nvGraphicFramePr>
          <p:cNvPr id="80" name="Tabelle 4">
            <a:extLst>
              <a:ext uri="{FF2B5EF4-FFF2-40B4-BE49-F238E27FC236}">
                <a16:creationId xmlns:a16="http://schemas.microsoft.com/office/drawing/2014/main" id="{8C2B61EA-7768-48BB-A4FA-7796FFC4D592}"/>
              </a:ext>
            </a:extLst>
          </p:cNvPr>
          <p:cNvGraphicFramePr>
            <a:graphicFrameLocks noGrp="1"/>
          </p:cNvGraphicFramePr>
          <p:nvPr/>
        </p:nvGraphicFramePr>
        <p:xfrm>
          <a:off x="304977" y="5078439"/>
          <a:ext cx="3348240" cy="1315797"/>
        </p:xfrm>
        <a:graphic>
          <a:graphicData uri="http://schemas.openxmlformats.org/drawingml/2006/table">
            <a:tbl>
              <a:tblPr firstRow="1" bandRow="1">
                <a:tableStyleId>{5C22544A-7EE6-4342-B048-85BDC9FD1C3A}</a:tableStyleId>
              </a:tblPr>
              <a:tblGrid>
                <a:gridCol w="1221664">
                  <a:extLst>
                    <a:ext uri="{9D8B030D-6E8A-4147-A177-3AD203B41FA5}">
                      <a16:colId xmlns:a16="http://schemas.microsoft.com/office/drawing/2014/main" val="2991778072"/>
                    </a:ext>
                  </a:extLst>
                </a:gridCol>
                <a:gridCol w="2126576">
                  <a:extLst>
                    <a:ext uri="{9D8B030D-6E8A-4147-A177-3AD203B41FA5}">
                      <a16:colId xmlns:a16="http://schemas.microsoft.com/office/drawing/2014/main" val="293995898"/>
                    </a:ext>
                  </a:extLst>
                </a:gridCol>
              </a:tblGrid>
              <a:tr h="438599">
                <a:tc>
                  <a:txBody>
                    <a:bodyPr/>
                    <a:lstStyle/>
                    <a:p>
                      <a:r>
                        <a:rPr lang="de-DE" sz="1600" b="0" err="1">
                          <a:solidFill>
                            <a:schemeClr val="tx1"/>
                          </a:solidFill>
                          <a:latin typeface="Helvetica" panose="020B0604020202020204" pitchFamily="34" charset="0"/>
                          <a:cs typeface="Helvetica" panose="020B0604020202020204" pitchFamily="34" charset="0"/>
                        </a:rPr>
                        <a:t>Shiptype</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Tan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438599">
                <a:tc>
                  <a:txBody>
                    <a:bodyPr/>
                    <a:lstStyle/>
                    <a:p>
                      <a:r>
                        <a:rPr lang="de-DE" sz="1600" b="0">
                          <a:solidFill>
                            <a:schemeClr val="tx1"/>
                          </a:solidFill>
                          <a:latin typeface="Helvetica" panose="020B0604020202020204" pitchFamily="34" charset="0"/>
                          <a:cs typeface="Helvetica" panose="020B0604020202020204" pitchFamily="34" charset="0"/>
                        </a:rPr>
                        <a:t>Wid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438599">
                <a:tc>
                  <a:txBody>
                    <a:bodyPr/>
                    <a:lstStyle/>
                    <a:p>
                      <a:r>
                        <a:rPr lang="de-DE" sz="1600" b="0" err="1">
                          <a:solidFill>
                            <a:schemeClr val="tx1"/>
                          </a:solidFill>
                          <a:latin typeface="Helvetica" panose="020B0604020202020204" pitchFamily="34" charset="0"/>
                          <a:cs typeface="Helvetica" panose="020B0604020202020204" pitchFamily="34" charset="0"/>
                        </a:rPr>
                        <a:t>Length</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bl>
          </a:graphicData>
        </a:graphic>
      </p:graphicFrame>
      <p:sp>
        <p:nvSpPr>
          <p:cNvPr id="94" name="Rechteck: obere Ecken abgerundet 93">
            <a:extLst>
              <a:ext uri="{FF2B5EF4-FFF2-40B4-BE49-F238E27FC236}">
                <a16:creationId xmlns:a16="http://schemas.microsoft.com/office/drawing/2014/main" id="{C1C2F33D-FA9D-4762-A2B8-6FEE923FBE94}"/>
              </a:ext>
            </a:extLst>
          </p:cNvPr>
          <p:cNvSpPr/>
          <p:nvPr/>
        </p:nvSpPr>
        <p:spPr>
          <a:xfrm>
            <a:off x="131808" y="4533070"/>
            <a:ext cx="3757021"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9" name="Grafik 88" descr="Lenkrad Silhouette">
            <a:extLst>
              <a:ext uri="{FF2B5EF4-FFF2-40B4-BE49-F238E27FC236}">
                <a16:creationId xmlns:a16="http://schemas.microsoft.com/office/drawing/2014/main" id="{8E214D5F-F575-4CF7-ADA2-15375B544B0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8706" y="4605281"/>
            <a:ext cx="349592" cy="349592"/>
          </a:xfrm>
          <a:prstGeom prst="rect">
            <a:avLst/>
          </a:prstGeom>
        </p:spPr>
      </p:pic>
      <p:sp>
        <p:nvSpPr>
          <p:cNvPr id="95" name="Textfeld 94">
            <a:extLst>
              <a:ext uri="{FF2B5EF4-FFF2-40B4-BE49-F238E27FC236}">
                <a16:creationId xmlns:a16="http://schemas.microsoft.com/office/drawing/2014/main" id="{2D87C623-723B-4BF4-9C5C-E72B5DF67502}"/>
              </a:ext>
            </a:extLst>
          </p:cNvPr>
          <p:cNvSpPr txBox="1"/>
          <p:nvPr/>
        </p:nvSpPr>
        <p:spPr>
          <a:xfrm>
            <a:off x="758563" y="4589673"/>
            <a:ext cx="2952551" cy="338554"/>
          </a:xfrm>
          <a:prstGeom prst="rect">
            <a:avLst/>
          </a:prstGeom>
          <a:noFill/>
        </p:spPr>
        <p:txBody>
          <a:bodyPr wrap="square" rtlCol="0">
            <a:spAutoFit/>
          </a:bodyPr>
          <a:lstStyle/>
          <a:p>
            <a:r>
              <a:rPr lang="de-DE" sz="1600" u="sng" err="1">
                <a:solidFill>
                  <a:schemeClr val="bg1">
                    <a:lumMod val="75000"/>
                  </a:schemeClr>
                </a:solidFill>
                <a:latin typeface="Helvetica" panose="020B0604020202020204" pitchFamily="34" charset="0"/>
                <a:cs typeface="Helvetica" panose="020B0604020202020204" pitchFamily="34" charset="0"/>
              </a:rPr>
              <a:t>Specific</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ship</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information</a:t>
            </a:r>
            <a:endParaRPr lang="de-DE" sz="1600" u="sng">
              <a:solidFill>
                <a:schemeClr val="bg1">
                  <a:lumMod val="75000"/>
                </a:schemeClr>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329623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Rechteck: abgerundete Ecken 65">
            <a:extLst>
              <a:ext uri="{FF2B5EF4-FFF2-40B4-BE49-F238E27FC236}">
                <a16:creationId xmlns:a16="http://schemas.microsoft.com/office/drawing/2014/main" id="{34E1A081-8F09-417E-89E3-1BC3A2E5D96D}"/>
              </a:ext>
            </a:extLst>
          </p:cNvPr>
          <p:cNvSpPr/>
          <p:nvPr/>
        </p:nvSpPr>
        <p:spPr>
          <a:xfrm>
            <a:off x="148302" y="4547433"/>
            <a:ext cx="3740627" cy="1945223"/>
          </a:xfrm>
          <a:prstGeom prst="roundRect">
            <a:avLst>
              <a:gd name="adj" fmla="val 1092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48" name="Rechteck: abgerundete Ecken 47">
            <a:extLst>
              <a:ext uri="{FF2B5EF4-FFF2-40B4-BE49-F238E27FC236}">
                <a16:creationId xmlns:a16="http://schemas.microsoft.com/office/drawing/2014/main" id="{C2D809BB-723D-46A7-BD8A-AB8A17D9A9A8}"/>
              </a:ext>
            </a:extLst>
          </p:cNvPr>
          <p:cNvSpPr/>
          <p:nvPr/>
        </p:nvSpPr>
        <p:spPr>
          <a:xfrm>
            <a:off x="8303516" y="782660"/>
            <a:ext cx="3762000" cy="2856038"/>
          </a:xfrm>
          <a:prstGeom prst="roundRect">
            <a:avLst>
              <a:gd name="adj" fmla="val 7774"/>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80811" y="21022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9153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grpSp>
        <p:nvGrpSpPr>
          <p:cNvPr id="42" name="Gruppieren 41">
            <a:extLst>
              <a:ext uri="{FF2B5EF4-FFF2-40B4-BE49-F238E27FC236}">
                <a16:creationId xmlns:a16="http://schemas.microsoft.com/office/drawing/2014/main" id="{E1CB552E-6DCA-47D2-A559-5FF52F01196C}"/>
              </a:ext>
            </a:extLst>
          </p:cNvPr>
          <p:cNvGrpSpPr/>
          <p:nvPr/>
        </p:nvGrpSpPr>
        <p:grpSpPr>
          <a:xfrm>
            <a:off x="11363261" y="53877"/>
            <a:ext cx="651099" cy="663064"/>
            <a:chOff x="11383176" y="32803"/>
            <a:chExt cx="651099" cy="663064"/>
          </a:xfrm>
        </p:grpSpPr>
        <p:sp>
          <p:nvSpPr>
            <p:cNvPr id="67" name="Rechteck: abgerundete Ecken 66">
              <a:extLst>
                <a:ext uri="{FF2B5EF4-FFF2-40B4-BE49-F238E27FC236}">
                  <a16:creationId xmlns:a16="http://schemas.microsoft.com/office/drawing/2014/main" id="{C3AE41E6-98B1-474C-8D22-9833CEAB951E}"/>
                </a:ext>
              </a:extLst>
            </p:cNvPr>
            <p:cNvSpPr/>
            <p:nvPr/>
          </p:nvSpPr>
          <p:spPr>
            <a:xfrm>
              <a:off x="11383176" y="32803"/>
              <a:ext cx="651099" cy="663064"/>
            </a:xfrm>
            <a:prstGeom prst="roundRect">
              <a:avLst/>
            </a:prstGeom>
            <a:solidFill>
              <a:srgbClr val="70707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a:extLst>
                <a:ext uri="{FF2B5EF4-FFF2-40B4-BE49-F238E27FC236}">
                  <a16:creationId xmlns:a16="http://schemas.microsoft.com/office/drawing/2014/main" id="{C005BD2A-4C1C-4C46-BB9E-E0F3229E0CD9}"/>
                </a:ext>
              </a:extLst>
            </p:cNvPr>
            <p:cNvGrpSpPr/>
            <p:nvPr/>
          </p:nvGrpSpPr>
          <p:grpSpPr>
            <a:xfrm>
              <a:off x="11413313" y="84078"/>
              <a:ext cx="576228" cy="546132"/>
              <a:chOff x="11289906" y="19826"/>
              <a:chExt cx="725969" cy="736528"/>
            </a:xfrm>
          </p:grpSpPr>
          <p:pic>
            <p:nvPicPr>
              <p:cNvPr id="16" name="Grafik 15" descr="Start mit einfarbiger Füllung">
                <a:extLst>
                  <a:ext uri="{FF2B5EF4-FFF2-40B4-BE49-F238E27FC236}">
                    <a16:creationId xmlns:a16="http://schemas.microsoft.com/office/drawing/2014/main" id="{DF0B759D-9539-425C-A9C9-6F49A3196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89906" y="19826"/>
                <a:ext cx="725969" cy="736528"/>
              </a:xfrm>
              <a:prstGeom prst="rect">
                <a:avLst/>
              </a:prstGeom>
            </p:spPr>
          </p:pic>
          <p:sp>
            <p:nvSpPr>
              <p:cNvPr id="24" name="Rechteck 23">
                <a:extLst>
                  <a:ext uri="{FF2B5EF4-FFF2-40B4-BE49-F238E27FC236}">
                    <a16:creationId xmlns:a16="http://schemas.microsoft.com/office/drawing/2014/main" id="{01AF9439-9DFC-4811-B2E2-2349E8D50BA6}"/>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uppieren 20">
                <a:extLst>
                  <a:ext uri="{FF2B5EF4-FFF2-40B4-BE49-F238E27FC236}">
                    <a16:creationId xmlns:a16="http://schemas.microsoft.com/office/drawing/2014/main" id="{C059AF37-B18D-4CFF-AFF9-CF74DD09C02D}"/>
                  </a:ext>
                </a:extLst>
              </p:cNvPr>
              <p:cNvGrpSpPr/>
              <p:nvPr/>
            </p:nvGrpSpPr>
            <p:grpSpPr>
              <a:xfrm>
                <a:off x="11532842" y="384003"/>
                <a:ext cx="227866" cy="245618"/>
                <a:chOff x="12619843" y="1120419"/>
                <a:chExt cx="414641" cy="414640"/>
              </a:xfrm>
            </p:grpSpPr>
            <p:sp>
              <p:nvSpPr>
                <p:cNvPr id="19" name="Ellipse 18">
                  <a:extLst>
                    <a:ext uri="{FF2B5EF4-FFF2-40B4-BE49-F238E27FC236}">
                      <a16:creationId xmlns:a16="http://schemas.microsoft.com/office/drawing/2014/main" id="{11D0684A-DEB0-4546-A88D-92A9F472C4B9}"/>
                    </a:ext>
                  </a:extLst>
                </p:cNvPr>
                <p:cNvSpPr/>
                <p:nvPr/>
              </p:nvSpPr>
              <p:spPr>
                <a:xfrm>
                  <a:off x="12625489" y="1122976"/>
                  <a:ext cx="396000" cy="396000"/>
                </a:xfrm>
                <a:prstGeom prst="ellipse">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Kreis mit Pfeil nach links mit einfarbiger Füllung">
                  <a:extLst>
                    <a:ext uri="{FF2B5EF4-FFF2-40B4-BE49-F238E27FC236}">
                      <a16:creationId xmlns:a16="http://schemas.microsoft.com/office/drawing/2014/main" id="{0922C70C-FB53-48CA-90BF-72B6DC8F91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2619843" y="1120419"/>
                  <a:ext cx="414641" cy="414640"/>
                </a:xfrm>
                <a:prstGeom prst="rect">
                  <a:avLst/>
                </a:prstGeom>
              </p:spPr>
            </p:pic>
          </p:grpSp>
        </p:grpSp>
      </p:grpSp>
      <p:graphicFrame>
        <p:nvGraphicFramePr>
          <p:cNvPr id="80" name="Tabelle 4">
            <a:extLst>
              <a:ext uri="{FF2B5EF4-FFF2-40B4-BE49-F238E27FC236}">
                <a16:creationId xmlns:a16="http://schemas.microsoft.com/office/drawing/2014/main" id="{8C2B61EA-7768-48BB-A4FA-7796FFC4D592}"/>
              </a:ext>
            </a:extLst>
          </p:cNvPr>
          <p:cNvGraphicFramePr>
            <a:graphicFrameLocks noGrp="1"/>
          </p:cNvGraphicFramePr>
          <p:nvPr/>
        </p:nvGraphicFramePr>
        <p:xfrm>
          <a:off x="304977" y="5078439"/>
          <a:ext cx="3348240" cy="1315797"/>
        </p:xfrm>
        <a:graphic>
          <a:graphicData uri="http://schemas.openxmlformats.org/drawingml/2006/table">
            <a:tbl>
              <a:tblPr firstRow="1" bandRow="1">
                <a:tableStyleId>{5C22544A-7EE6-4342-B048-85BDC9FD1C3A}</a:tableStyleId>
              </a:tblPr>
              <a:tblGrid>
                <a:gridCol w="1221664">
                  <a:extLst>
                    <a:ext uri="{9D8B030D-6E8A-4147-A177-3AD203B41FA5}">
                      <a16:colId xmlns:a16="http://schemas.microsoft.com/office/drawing/2014/main" val="2991778072"/>
                    </a:ext>
                  </a:extLst>
                </a:gridCol>
                <a:gridCol w="2126576">
                  <a:extLst>
                    <a:ext uri="{9D8B030D-6E8A-4147-A177-3AD203B41FA5}">
                      <a16:colId xmlns:a16="http://schemas.microsoft.com/office/drawing/2014/main" val="293995898"/>
                    </a:ext>
                  </a:extLst>
                </a:gridCol>
              </a:tblGrid>
              <a:tr h="438599">
                <a:tc>
                  <a:txBody>
                    <a:bodyPr/>
                    <a:lstStyle/>
                    <a:p>
                      <a:r>
                        <a:rPr lang="de-DE" sz="1600" b="0" err="1">
                          <a:solidFill>
                            <a:schemeClr val="tx1"/>
                          </a:solidFill>
                          <a:latin typeface="Helvetica" panose="020B0604020202020204" pitchFamily="34" charset="0"/>
                          <a:cs typeface="Helvetica" panose="020B0604020202020204" pitchFamily="34" charset="0"/>
                        </a:rPr>
                        <a:t>Shiptype</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Tan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438599">
                <a:tc>
                  <a:txBody>
                    <a:bodyPr/>
                    <a:lstStyle/>
                    <a:p>
                      <a:r>
                        <a:rPr lang="de-DE" sz="1600" b="0">
                          <a:solidFill>
                            <a:schemeClr val="tx1"/>
                          </a:solidFill>
                          <a:latin typeface="Helvetica" panose="020B0604020202020204" pitchFamily="34" charset="0"/>
                          <a:cs typeface="Helvetica" panose="020B0604020202020204" pitchFamily="34" charset="0"/>
                        </a:rPr>
                        <a:t>Wid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438599">
                <a:tc>
                  <a:txBody>
                    <a:bodyPr/>
                    <a:lstStyle/>
                    <a:p>
                      <a:r>
                        <a:rPr lang="de-DE" sz="1600" b="0" err="1">
                          <a:solidFill>
                            <a:schemeClr val="tx1"/>
                          </a:solidFill>
                          <a:latin typeface="Helvetica" panose="020B0604020202020204" pitchFamily="34" charset="0"/>
                          <a:cs typeface="Helvetica" panose="020B0604020202020204" pitchFamily="34" charset="0"/>
                        </a:rPr>
                        <a:t>Length</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bl>
          </a:graphicData>
        </a:graphic>
      </p:graphicFrame>
      <p:sp>
        <p:nvSpPr>
          <p:cNvPr id="92" name="Rechteck: obere Ecken abgerundet 91">
            <a:extLst>
              <a:ext uri="{FF2B5EF4-FFF2-40B4-BE49-F238E27FC236}">
                <a16:creationId xmlns:a16="http://schemas.microsoft.com/office/drawing/2014/main" id="{D59DEBDF-B7AF-4365-B32E-9D780E9DC2DD}"/>
              </a:ext>
            </a:extLst>
          </p:cNvPr>
          <p:cNvSpPr/>
          <p:nvPr/>
        </p:nvSpPr>
        <p:spPr>
          <a:xfrm>
            <a:off x="8303517" y="777118"/>
            <a:ext cx="3753743"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1" name="Diagramm 30">
            <a:extLst>
              <a:ext uri="{FF2B5EF4-FFF2-40B4-BE49-F238E27FC236}">
                <a16:creationId xmlns:a16="http://schemas.microsoft.com/office/drawing/2014/main" id="{E1F285C0-D100-4CBF-AFDA-8B694D2E6A75}"/>
              </a:ext>
            </a:extLst>
          </p:cNvPr>
          <p:cNvGraphicFramePr>
            <a:graphicFrameLocks/>
          </p:cNvGraphicFramePr>
          <p:nvPr/>
        </p:nvGraphicFramePr>
        <p:xfrm>
          <a:off x="8308002" y="822924"/>
          <a:ext cx="3530384" cy="2713095"/>
        </p:xfrm>
        <a:graphic>
          <a:graphicData uri="http://schemas.openxmlformats.org/drawingml/2006/chart">
            <c:chart xmlns:c="http://schemas.openxmlformats.org/drawingml/2006/chart" xmlns:r="http://schemas.openxmlformats.org/officeDocument/2006/relationships" r:id="rId8"/>
          </a:graphicData>
        </a:graphic>
      </p:graphicFrame>
      <p:pic>
        <p:nvPicPr>
          <p:cNvPr id="87" name="Grafik 86" descr="Messgerät Silhouette">
            <a:extLst>
              <a:ext uri="{FF2B5EF4-FFF2-40B4-BE49-F238E27FC236}">
                <a16:creationId xmlns:a16="http://schemas.microsoft.com/office/drawing/2014/main" id="{4AA3C71A-402C-4DE0-B690-1D4FCA769B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65832" y="774257"/>
            <a:ext cx="405162" cy="412564"/>
          </a:xfrm>
          <a:prstGeom prst="rect">
            <a:avLst/>
          </a:prstGeom>
        </p:spPr>
      </p:pic>
      <p:sp>
        <p:nvSpPr>
          <p:cNvPr id="94" name="Rechteck: obere Ecken abgerundet 93">
            <a:extLst>
              <a:ext uri="{FF2B5EF4-FFF2-40B4-BE49-F238E27FC236}">
                <a16:creationId xmlns:a16="http://schemas.microsoft.com/office/drawing/2014/main" id="{C1C2F33D-FA9D-4762-A2B8-6FEE923FBE94}"/>
              </a:ext>
            </a:extLst>
          </p:cNvPr>
          <p:cNvSpPr/>
          <p:nvPr/>
        </p:nvSpPr>
        <p:spPr>
          <a:xfrm>
            <a:off x="131808" y="4533070"/>
            <a:ext cx="3757021"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3A3DD95E-285B-4717-A67D-D73A60C155AB}"/>
              </a:ext>
            </a:extLst>
          </p:cNvPr>
          <p:cNvPicPr>
            <a:picLocks noChangeAspect="1"/>
          </p:cNvPicPr>
          <p:nvPr/>
        </p:nvPicPr>
        <p:blipFill rotWithShape="1">
          <a:blip r:embed="rId11"/>
          <a:srcRect l="6260" r="4429" b="-2"/>
          <a:stretch/>
        </p:blipFill>
        <p:spPr>
          <a:xfrm>
            <a:off x="8300489" y="3685467"/>
            <a:ext cx="3752915" cy="2789552"/>
          </a:xfrm>
          <a:prstGeom prst="roundRect">
            <a:avLst>
              <a:gd name="adj" fmla="val 7197"/>
            </a:avLst>
          </a:prstGeom>
          <a:ln w="19050">
            <a:solidFill>
              <a:srgbClr val="39445B"/>
            </a:solidFill>
          </a:ln>
        </p:spPr>
      </p:pic>
      <p:sp>
        <p:nvSpPr>
          <p:cNvPr id="44" name="Textfeld 43">
            <a:extLst>
              <a:ext uri="{FF2B5EF4-FFF2-40B4-BE49-F238E27FC236}">
                <a16:creationId xmlns:a16="http://schemas.microsoft.com/office/drawing/2014/main" id="{B6ADA23B-74E1-4A1D-BD2D-4A1ED09109FB}"/>
              </a:ext>
            </a:extLst>
          </p:cNvPr>
          <p:cNvSpPr txBox="1"/>
          <p:nvPr/>
        </p:nvSpPr>
        <p:spPr>
          <a:xfrm>
            <a:off x="9545406" y="5210129"/>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2</a:t>
            </a:r>
          </a:p>
        </p:txBody>
      </p:sp>
      <p:sp>
        <p:nvSpPr>
          <p:cNvPr id="45" name="Textfeld 44">
            <a:extLst>
              <a:ext uri="{FF2B5EF4-FFF2-40B4-BE49-F238E27FC236}">
                <a16:creationId xmlns:a16="http://schemas.microsoft.com/office/drawing/2014/main" id="{71AD1DDD-BF27-4B88-BA34-7A3703E12165}"/>
              </a:ext>
            </a:extLst>
          </p:cNvPr>
          <p:cNvSpPr txBox="1"/>
          <p:nvPr/>
        </p:nvSpPr>
        <p:spPr>
          <a:xfrm>
            <a:off x="8966189" y="4336140"/>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3</a:t>
            </a:r>
          </a:p>
        </p:txBody>
      </p:sp>
      <p:sp>
        <p:nvSpPr>
          <p:cNvPr id="43" name="Textfeld 42">
            <a:extLst>
              <a:ext uri="{FF2B5EF4-FFF2-40B4-BE49-F238E27FC236}">
                <a16:creationId xmlns:a16="http://schemas.microsoft.com/office/drawing/2014/main" id="{7A303450-841C-4E65-ACC8-5B0D34B99C64}"/>
              </a:ext>
            </a:extLst>
          </p:cNvPr>
          <p:cNvSpPr txBox="1"/>
          <p:nvPr/>
        </p:nvSpPr>
        <p:spPr>
          <a:xfrm>
            <a:off x="10425746" y="6037694"/>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1</a:t>
            </a:r>
          </a:p>
        </p:txBody>
      </p:sp>
      <p:sp>
        <p:nvSpPr>
          <p:cNvPr id="50" name="Gleichschenkliges Dreieck 49">
            <a:extLst>
              <a:ext uri="{FF2B5EF4-FFF2-40B4-BE49-F238E27FC236}">
                <a16:creationId xmlns:a16="http://schemas.microsoft.com/office/drawing/2014/main" id="{C9114AEA-7C63-4DA9-BDFC-A325D56E9BEC}"/>
              </a:ext>
            </a:extLst>
          </p:cNvPr>
          <p:cNvSpPr/>
          <p:nvPr/>
        </p:nvSpPr>
        <p:spPr>
          <a:xfrm>
            <a:off x="8778251" y="4322517"/>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1" name="Gleichschenkliges Dreieck 50">
            <a:extLst>
              <a:ext uri="{FF2B5EF4-FFF2-40B4-BE49-F238E27FC236}">
                <a16:creationId xmlns:a16="http://schemas.microsoft.com/office/drawing/2014/main" id="{C9114AEA-7C63-4DA9-BDFC-A325D56E9BEC}"/>
              </a:ext>
            </a:extLst>
          </p:cNvPr>
          <p:cNvSpPr/>
          <p:nvPr/>
        </p:nvSpPr>
        <p:spPr>
          <a:xfrm>
            <a:off x="9376711" y="5240905"/>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2" name="Gleichschenkliges Dreieck 51">
            <a:extLst>
              <a:ext uri="{FF2B5EF4-FFF2-40B4-BE49-F238E27FC236}">
                <a16:creationId xmlns:a16="http://schemas.microsoft.com/office/drawing/2014/main" id="{C9114AEA-7C63-4DA9-BDFC-A325D56E9BEC}"/>
              </a:ext>
            </a:extLst>
          </p:cNvPr>
          <p:cNvSpPr/>
          <p:nvPr/>
        </p:nvSpPr>
        <p:spPr>
          <a:xfrm>
            <a:off x="10284709" y="6177072"/>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10" name="Ellipse 9">
            <a:extLst>
              <a:ext uri="{FF2B5EF4-FFF2-40B4-BE49-F238E27FC236}">
                <a16:creationId xmlns:a16="http://schemas.microsoft.com/office/drawing/2014/main" id="{936AD436-16FA-4C8A-B617-403CEF7D8301}"/>
              </a:ext>
            </a:extLst>
          </p:cNvPr>
          <p:cNvSpPr/>
          <p:nvPr/>
        </p:nvSpPr>
        <p:spPr>
          <a:xfrm>
            <a:off x="11301884" y="6148808"/>
            <a:ext cx="156312" cy="146998"/>
          </a:xfrm>
          <a:prstGeom prst="ellipse">
            <a:avLst/>
          </a:pr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53" name="Textfeld 52">
            <a:extLst>
              <a:ext uri="{FF2B5EF4-FFF2-40B4-BE49-F238E27FC236}">
                <a16:creationId xmlns:a16="http://schemas.microsoft.com/office/drawing/2014/main" id="{9175F0A2-4736-456E-B15C-5DD1D35728FC}"/>
              </a:ext>
            </a:extLst>
          </p:cNvPr>
          <p:cNvSpPr txBox="1"/>
          <p:nvPr/>
        </p:nvSpPr>
        <p:spPr>
          <a:xfrm>
            <a:off x="11145040" y="5902945"/>
            <a:ext cx="505267" cy="261610"/>
          </a:xfrm>
          <a:prstGeom prst="rect">
            <a:avLst/>
          </a:prstGeom>
          <a:noFill/>
        </p:spPr>
        <p:txBody>
          <a:bodyPr wrap="none" rtlCol="0">
            <a:spAutoFit/>
          </a:bodyPr>
          <a:lstStyle/>
          <a:p>
            <a:r>
              <a:rPr lang="de-DE" sz="1100" b="1">
                <a:solidFill>
                  <a:srgbClr val="707070"/>
                </a:solidFill>
                <a:latin typeface="Helvetica" panose="020B0604020202020204" pitchFamily="34" charset="0"/>
                <a:cs typeface="Helvetica" panose="020B0604020202020204" pitchFamily="34" charset="0"/>
              </a:rPr>
              <a:t>Start</a:t>
            </a:r>
            <a:endParaRPr lang="de-DE" sz="1000" b="1">
              <a:solidFill>
                <a:srgbClr val="707070"/>
              </a:solidFill>
              <a:latin typeface="Helvetica" panose="020B0604020202020204" pitchFamily="34" charset="0"/>
              <a:cs typeface="Helvetica" panose="020B0604020202020204" pitchFamily="34" charset="0"/>
            </a:endParaRPr>
          </a:p>
        </p:txBody>
      </p:sp>
      <p:sp>
        <p:nvSpPr>
          <p:cNvPr id="70" name="Rechteck: abgerundete Ecken 69">
            <a:extLst>
              <a:ext uri="{FF2B5EF4-FFF2-40B4-BE49-F238E27FC236}">
                <a16:creationId xmlns:a16="http://schemas.microsoft.com/office/drawing/2014/main" id="{C95B3374-B475-4E15-993C-0F484DF69B75}"/>
              </a:ext>
            </a:extLst>
          </p:cNvPr>
          <p:cNvSpPr/>
          <p:nvPr/>
        </p:nvSpPr>
        <p:spPr>
          <a:xfrm>
            <a:off x="10363630" y="3723658"/>
            <a:ext cx="1606731" cy="381790"/>
          </a:xfrm>
          <a:prstGeom prst="roundRect">
            <a:avLst>
              <a:gd name="adj" fmla="val 3795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9" name="Textfeld 68">
            <a:extLst>
              <a:ext uri="{FF2B5EF4-FFF2-40B4-BE49-F238E27FC236}">
                <a16:creationId xmlns:a16="http://schemas.microsoft.com/office/drawing/2014/main" id="{C4926EBB-A852-47F5-8022-42525D8CD151}"/>
              </a:ext>
            </a:extLst>
          </p:cNvPr>
          <p:cNvSpPr txBox="1"/>
          <p:nvPr/>
        </p:nvSpPr>
        <p:spPr>
          <a:xfrm>
            <a:off x="10384222" y="3878230"/>
            <a:ext cx="1734457" cy="246221"/>
          </a:xfrm>
          <a:prstGeom prst="rect">
            <a:avLst/>
          </a:prstGeom>
          <a:noFill/>
        </p:spPr>
        <p:txBody>
          <a:bodyPr wrap="square">
            <a:spAutoFit/>
          </a:bodyPr>
          <a:lstStyle/>
          <a:p>
            <a:pPr algn="l" fontAlgn="base"/>
            <a:r>
              <a:rPr lang="de-DE" sz="1000" b="0" i="0">
                <a:effectLst/>
                <a:latin typeface="Helvetica" panose="020B0604020202020204" pitchFamily="34" charset="0"/>
                <a:cs typeface="Helvetica" panose="020B0604020202020204" pitchFamily="34" charset="0"/>
              </a:rPr>
              <a:t>50°01'08.1"N 8°06'08.1"E</a:t>
            </a:r>
          </a:p>
        </p:txBody>
      </p:sp>
      <p:sp>
        <p:nvSpPr>
          <p:cNvPr id="33" name="Textfeld 32">
            <a:extLst>
              <a:ext uri="{FF2B5EF4-FFF2-40B4-BE49-F238E27FC236}">
                <a16:creationId xmlns:a16="http://schemas.microsoft.com/office/drawing/2014/main" id="{0081B6B1-66D3-49F5-A39B-646C5A53F768}"/>
              </a:ext>
            </a:extLst>
          </p:cNvPr>
          <p:cNvSpPr txBox="1"/>
          <p:nvPr/>
        </p:nvSpPr>
        <p:spPr>
          <a:xfrm>
            <a:off x="10359936" y="3696331"/>
            <a:ext cx="1687568" cy="261610"/>
          </a:xfrm>
          <a:prstGeom prst="rect">
            <a:avLst/>
          </a:prstGeom>
          <a:noFill/>
        </p:spPr>
        <p:txBody>
          <a:bodyPr wrap="square" rtlCol="0">
            <a:spAutoFit/>
          </a:bodyPr>
          <a:lstStyle/>
          <a:p>
            <a:r>
              <a:rPr lang="de-DE" sz="1100" err="1">
                <a:latin typeface="Helvetica" panose="020B0604020202020204" pitchFamily="34" charset="0"/>
                <a:cs typeface="Helvetica" panose="020B0604020202020204" pitchFamily="34" charset="0"/>
              </a:rPr>
              <a:t>Current</a:t>
            </a:r>
            <a:r>
              <a:rPr lang="de-DE" sz="1100">
                <a:latin typeface="Helvetica" panose="020B0604020202020204" pitchFamily="34" charset="0"/>
                <a:cs typeface="Helvetica" panose="020B0604020202020204" pitchFamily="34" charset="0"/>
              </a:rPr>
              <a:t> Position</a:t>
            </a:r>
          </a:p>
        </p:txBody>
      </p:sp>
      <p:pic>
        <p:nvPicPr>
          <p:cNvPr id="89" name="Grafik 88" descr="Lenkrad Silhouette">
            <a:extLst>
              <a:ext uri="{FF2B5EF4-FFF2-40B4-BE49-F238E27FC236}">
                <a16:creationId xmlns:a16="http://schemas.microsoft.com/office/drawing/2014/main" id="{8E214D5F-F575-4CF7-ADA2-15375B544B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8706" y="4605281"/>
            <a:ext cx="349592" cy="349592"/>
          </a:xfrm>
          <a:prstGeom prst="rect">
            <a:avLst/>
          </a:prstGeom>
        </p:spPr>
      </p:pic>
      <p:sp>
        <p:nvSpPr>
          <p:cNvPr id="95" name="Textfeld 94">
            <a:extLst>
              <a:ext uri="{FF2B5EF4-FFF2-40B4-BE49-F238E27FC236}">
                <a16:creationId xmlns:a16="http://schemas.microsoft.com/office/drawing/2014/main" id="{2D87C623-723B-4BF4-9C5C-E72B5DF67502}"/>
              </a:ext>
            </a:extLst>
          </p:cNvPr>
          <p:cNvSpPr txBox="1"/>
          <p:nvPr/>
        </p:nvSpPr>
        <p:spPr>
          <a:xfrm>
            <a:off x="758563" y="4589673"/>
            <a:ext cx="2952551" cy="338554"/>
          </a:xfrm>
          <a:prstGeom prst="rect">
            <a:avLst/>
          </a:prstGeom>
          <a:noFill/>
        </p:spPr>
        <p:txBody>
          <a:bodyPr wrap="square" rtlCol="0">
            <a:spAutoFit/>
          </a:bodyPr>
          <a:lstStyle/>
          <a:p>
            <a:r>
              <a:rPr lang="de-DE" sz="1600" u="sng" err="1">
                <a:solidFill>
                  <a:schemeClr val="bg1">
                    <a:lumMod val="75000"/>
                  </a:schemeClr>
                </a:solidFill>
                <a:latin typeface="Helvetica" panose="020B0604020202020204" pitchFamily="34" charset="0"/>
                <a:cs typeface="Helvetica" panose="020B0604020202020204" pitchFamily="34" charset="0"/>
              </a:rPr>
              <a:t>Specific</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ship</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information</a:t>
            </a:r>
            <a:endParaRPr lang="de-DE" sz="1600" u="sng">
              <a:solidFill>
                <a:schemeClr val="bg1">
                  <a:lumMod val="75000"/>
                </a:schemeClr>
              </a:solidFill>
              <a:latin typeface="Helvetica" panose="020B0604020202020204" pitchFamily="34" charset="0"/>
              <a:cs typeface="Helvetica" panose="020B0604020202020204" pitchFamily="34" charset="0"/>
            </a:endParaRPr>
          </a:p>
        </p:txBody>
      </p:sp>
      <p:sp>
        <p:nvSpPr>
          <p:cNvPr id="63" name="Rechteck 62">
            <a:extLst>
              <a:ext uri="{FF2B5EF4-FFF2-40B4-BE49-F238E27FC236}">
                <a16:creationId xmlns:a16="http://schemas.microsoft.com/office/drawing/2014/main" id="{29A9DD03-2184-49CA-BC79-75C72C597E32}"/>
              </a:ext>
            </a:extLst>
          </p:cNvPr>
          <p:cNvSpPr/>
          <p:nvPr/>
        </p:nvSpPr>
        <p:spPr>
          <a:xfrm>
            <a:off x="11722650" y="878476"/>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66EB093B-9098-4348-9588-0CC12E22C217}"/>
              </a:ext>
            </a:extLst>
          </p:cNvPr>
          <p:cNvSpPr/>
          <p:nvPr/>
        </p:nvSpPr>
        <p:spPr>
          <a:xfrm>
            <a:off x="11671423" y="920817"/>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9" name="Grafik 48" descr="Fracht mit einfarbiger Füllung">
            <a:extLst>
              <a:ext uri="{FF2B5EF4-FFF2-40B4-BE49-F238E27FC236}">
                <a16:creationId xmlns:a16="http://schemas.microsoft.com/office/drawing/2014/main" id="{DAD1452E-E4CA-4D74-961B-6DA77228BDC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11157237" y="6009676"/>
            <a:ext cx="352976" cy="315917"/>
          </a:xfrm>
          <a:prstGeom prst="rect">
            <a:avLst/>
          </a:prstGeom>
        </p:spPr>
      </p:pic>
      <p:sp>
        <p:nvSpPr>
          <p:cNvPr id="65" name="Rechteck: abgerundete Ecken 64">
            <a:extLst>
              <a:ext uri="{FF2B5EF4-FFF2-40B4-BE49-F238E27FC236}">
                <a16:creationId xmlns:a16="http://schemas.microsoft.com/office/drawing/2014/main" id="{29521579-A50C-454E-8123-1EF557EA032B}"/>
              </a:ext>
            </a:extLst>
          </p:cNvPr>
          <p:cNvSpPr/>
          <p:nvPr/>
        </p:nvSpPr>
        <p:spPr>
          <a:xfrm>
            <a:off x="124895" y="782661"/>
            <a:ext cx="3763588" cy="3666352"/>
          </a:xfrm>
          <a:prstGeom prst="roundRect">
            <a:avLst>
              <a:gd name="adj" fmla="val 777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aphicFrame>
        <p:nvGraphicFramePr>
          <p:cNvPr id="81" name="Tabelle 4">
            <a:extLst>
              <a:ext uri="{FF2B5EF4-FFF2-40B4-BE49-F238E27FC236}">
                <a16:creationId xmlns:a16="http://schemas.microsoft.com/office/drawing/2014/main" id="{218988A1-B80C-4254-8982-2D8B67B05D1D}"/>
              </a:ext>
            </a:extLst>
          </p:cNvPr>
          <p:cNvGraphicFramePr>
            <a:graphicFrameLocks noGrp="1"/>
          </p:cNvGraphicFramePr>
          <p:nvPr/>
        </p:nvGraphicFramePr>
        <p:xfrm>
          <a:off x="266969" y="1673241"/>
          <a:ext cx="3387468" cy="2698323"/>
        </p:xfrm>
        <a:graphic>
          <a:graphicData uri="http://schemas.openxmlformats.org/drawingml/2006/table">
            <a:tbl>
              <a:tblPr firstRow="1" bandRow="1">
                <a:tableStyleId>{5C22544A-7EE6-4342-B048-85BDC9FD1C3A}</a:tableStyleId>
              </a:tblPr>
              <a:tblGrid>
                <a:gridCol w="1617249">
                  <a:extLst>
                    <a:ext uri="{9D8B030D-6E8A-4147-A177-3AD203B41FA5}">
                      <a16:colId xmlns:a16="http://schemas.microsoft.com/office/drawing/2014/main" val="2991778072"/>
                    </a:ext>
                  </a:extLst>
                </a:gridCol>
                <a:gridCol w="1770219">
                  <a:extLst>
                    <a:ext uri="{9D8B030D-6E8A-4147-A177-3AD203B41FA5}">
                      <a16:colId xmlns:a16="http://schemas.microsoft.com/office/drawing/2014/main" val="293995898"/>
                    </a:ext>
                  </a:extLst>
                </a:gridCol>
              </a:tblGrid>
              <a:tr h="563367">
                <a:tc>
                  <a:txBody>
                    <a:bodyPr/>
                    <a:lstStyle/>
                    <a:p>
                      <a:r>
                        <a:rPr lang="de-DE" sz="1200" b="0">
                          <a:solidFill>
                            <a:schemeClr val="tx1"/>
                          </a:solidFill>
                          <a:latin typeface="Helvetica" panose="020B0604020202020204" pitchFamily="34" charset="0"/>
                          <a:cs typeface="Helvetica" panose="020B0604020202020204" pitchFamily="34" charset="0"/>
                        </a:rPr>
                        <a:t>Star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2021-07-15 6:00AM</a:t>
                      </a:r>
                      <a:br>
                        <a:rPr lang="de-DE" sz="1200" b="0" kern="1200">
                          <a:solidFill>
                            <a:schemeClr val="tx1"/>
                          </a:solidFill>
                          <a:latin typeface="Helvetica" panose="020B0604020202020204" pitchFamily="34" charset="0"/>
                          <a:ea typeface="+mn-ea"/>
                          <a:cs typeface="Helvetica" panose="020B0604020202020204" pitchFamily="34" charset="0"/>
                        </a:rPr>
                      </a:br>
                      <a:r>
                        <a:rPr lang="de-DE" sz="1200" b="0" kern="1200">
                          <a:solidFill>
                            <a:schemeClr val="tx1"/>
                          </a:solidFill>
                          <a:latin typeface="Helvetica" panose="020B0604020202020204" pitchFamily="34" charset="0"/>
                          <a:ea typeface="+mn-ea"/>
                          <a:cs typeface="Helvetica" panose="020B0604020202020204" pitchFamily="34" charset="0"/>
                        </a:rPr>
                        <a:t>Frankfurt a. 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estin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Rotterd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ock </a:t>
                      </a:r>
                      <a:r>
                        <a:rPr lang="de-DE" sz="1200" b="0" err="1">
                          <a:solidFill>
                            <a:schemeClr val="tx1"/>
                          </a:solidFill>
                          <a:latin typeface="Helvetica" panose="020B0604020202020204" pitchFamily="34" charset="0"/>
                          <a:cs typeface="Helvetica" panose="020B0604020202020204" pitchFamily="34" charset="0"/>
                        </a:rPr>
                        <a:t>planned</a:t>
                      </a:r>
                      <a:endParaRPr lang="de-DE" sz="1200" b="0">
                        <a:solidFill>
                          <a:schemeClr val="tx1"/>
                        </a:solidFill>
                        <a:latin typeface="Helvetica" panose="020B0604020202020204" pitchFamily="34" charset="0"/>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NLRTDOCK1209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957981"/>
                  </a:ext>
                </a:extLst>
              </a:tr>
              <a:tr h="676070">
                <a:tc>
                  <a:txBody>
                    <a:bodyPr/>
                    <a:lstStyle/>
                    <a:p>
                      <a:r>
                        <a:rPr lang="de-DE" sz="1200" b="0">
                          <a:solidFill>
                            <a:schemeClr val="tx1"/>
                          </a:solidFill>
                          <a:latin typeface="Helvetica" panose="020B0604020202020204" pitchFamily="34" charset="0"/>
                          <a:cs typeface="Helvetica" panose="020B0604020202020204" pitchFamily="34" charset="0"/>
                        </a:rPr>
                        <a:t>Outstanding </a:t>
                      </a:r>
                      <a:r>
                        <a:rPr lang="de-DE" sz="1200" b="0" err="1">
                          <a:solidFill>
                            <a:schemeClr val="tx1"/>
                          </a:solidFill>
                          <a:latin typeface="Helvetica" panose="020B0604020202020204" pitchFamily="34" charset="0"/>
                          <a:cs typeface="Helvetica" panose="020B0604020202020204" pitchFamily="34" charset="0"/>
                        </a:rPr>
                        <a:t>Distance</a:t>
                      </a:r>
                      <a:r>
                        <a:rPr lang="de-DE" sz="12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00 N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6296507"/>
                  </a:ext>
                </a:extLst>
              </a:tr>
              <a:tr h="676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a:solidFill>
                            <a:schemeClr val="tx1"/>
                          </a:solidFill>
                          <a:latin typeface="Helvetica" panose="020B0604020202020204" pitchFamily="34" charset="0"/>
                          <a:cs typeface="Helvetica" panose="020B0604020202020204" pitchFamily="34" charset="0"/>
                        </a:rPr>
                        <a:t>Outstanding Stop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 (</a:t>
                      </a:r>
                      <a:r>
                        <a:rPr lang="de-DE" sz="1200" b="0" kern="1200" err="1">
                          <a:solidFill>
                            <a:schemeClr val="tx1"/>
                          </a:solidFill>
                          <a:latin typeface="Helvetica" panose="020B0604020202020204" pitchFamily="34" charset="0"/>
                          <a:ea typeface="+mn-ea"/>
                          <a:cs typeface="Helvetica" panose="020B0604020202020204" pitchFamily="34" charset="0"/>
                        </a:rPr>
                        <a:t>floodgate</a:t>
                      </a:r>
                      <a:r>
                        <a:rPr lang="de-DE" sz="1200" b="0" kern="1200">
                          <a:solidFill>
                            <a:schemeClr val="tx1"/>
                          </a:solidFill>
                          <a:latin typeface="Helvetica" panose="020B0604020202020204" pitchFamily="34" charset="0"/>
                          <a:ea typeface="+mn-ea"/>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485702"/>
                  </a:ext>
                </a:extLst>
              </a:tr>
            </a:tbl>
          </a:graphicData>
        </a:graphic>
      </p:graphicFrame>
      <p:sp>
        <p:nvSpPr>
          <p:cNvPr id="97" name="Rechteck: obere Ecken abgerundet 96">
            <a:extLst>
              <a:ext uri="{FF2B5EF4-FFF2-40B4-BE49-F238E27FC236}">
                <a16:creationId xmlns:a16="http://schemas.microsoft.com/office/drawing/2014/main" id="{B9E0DA7B-2F4F-4642-B1E5-47D3F7B28F32}"/>
              </a:ext>
            </a:extLst>
          </p:cNvPr>
          <p:cNvSpPr/>
          <p:nvPr/>
        </p:nvSpPr>
        <p:spPr>
          <a:xfrm>
            <a:off x="124895" y="759610"/>
            <a:ext cx="3756226" cy="920114"/>
          </a:xfrm>
          <a:prstGeom prst="round2SameRect">
            <a:avLst>
              <a:gd name="adj1" fmla="val 28719"/>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948CCE22-876E-45C9-9BDD-B145269198D0}"/>
              </a:ext>
            </a:extLst>
          </p:cNvPr>
          <p:cNvSpPr txBox="1"/>
          <p:nvPr/>
        </p:nvSpPr>
        <p:spPr>
          <a:xfrm>
            <a:off x="299115" y="931540"/>
            <a:ext cx="913032" cy="677108"/>
          </a:xfrm>
          <a:prstGeom prst="rect">
            <a:avLst/>
          </a:prstGeom>
          <a:noFill/>
        </p:spPr>
        <p:txBody>
          <a:bodyPr wrap="square" rtlCol="0">
            <a:spAutoFit/>
          </a:bodyPr>
          <a:lstStyle/>
          <a:p>
            <a:r>
              <a:rPr lang="de-DE" sz="1400" b="1">
                <a:solidFill>
                  <a:schemeClr val="bg1">
                    <a:lumMod val="75000"/>
                  </a:schemeClr>
                </a:solidFill>
                <a:latin typeface="Helvetica" panose="020B0604020202020204" pitchFamily="34" charset="0"/>
                <a:cs typeface="Helvetica" panose="020B0604020202020204" pitchFamily="34" charset="0"/>
              </a:rPr>
              <a:t>Input</a:t>
            </a:r>
          </a:p>
          <a:p>
            <a:r>
              <a:rPr lang="de-DE" sz="1200" err="1">
                <a:solidFill>
                  <a:schemeClr val="bg1">
                    <a:lumMod val="75000"/>
                  </a:schemeClr>
                </a:solidFill>
                <a:latin typeface="Helvetica" panose="020B0604020202020204" pitchFamily="34" charset="0"/>
                <a:cs typeface="Helvetica" panose="020B0604020202020204" pitchFamily="34" charset="0"/>
              </a:rPr>
              <a:t>Vessel</a:t>
            </a:r>
            <a:r>
              <a:rPr lang="de-DE" sz="1200">
                <a:solidFill>
                  <a:schemeClr val="bg1">
                    <a:lumMod val="75000"/>
                  </a:schemeClr>
                </a:solidFill>
                <a:latin typeface="Helvetica" panose="020B0604020202020204" pitchFamily="34" charset="0"/>
                <a:cs typeface="Helvetica" panose="020B0604020202020204" pitchFamily="34" charset="0"/>
              </a:rPr>
              <a:t> Name:</a:t>
            </a:r>
          </a:p>
        </p:txBody>
      </p:sp>
      <p:sp>
        <p:nvSpPr>
          <p:cNvPr id="13" name="Rechteck: abgerundete Ecken 12">
            <a:extLst>
              <a:ext uri="{FF2B5EF4-FFF2-40B4-BE49-F238E27FC236}">
                <a16:creationId xmlns:a16="http://schemas.microsoft.com/office/drawing/2014/main" id="{54C6DF2F-7EDD-407F-9A53-3A8DBD5AA64F}"/>
              </a:ext>
            </a:extLst>
          </p:cNvPr>
          <p:cNvSpPr/>
          <p:nvPr/>
        </p:nvSpPr>
        <p:spPr>
          <a:xfrm>
            <a:off x="1048758" y="1002573"/>
            <a:ext cx="1823891" cy="525865"/>
          </a:xfrm>
          <a:prstGeom prst="roundRect">
            <a:avLst/>
          </a:prstGeom>
          <a:solidFill>
            <a:schemeClr val="bg1">
              <a:lumMod val="95000"/>
            </a:schemeClr>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latin typeface="Helvetica" panose="020B0604020202020204" pitchFamily="34" charset="0"/>
                <a:cs typeface="Helvetica" panose="020B0604020202020204" pitchFamily="34" charset="0"/>
              </a:rPr>
              <a:t>VESSEL 10</a:t>
            </a:r>
          </a:p>
        </p:txBody>
      </p:sp>
      <p:grpSp>
        <p:nvGrpSpPr>
          <p:cNvPr id="73" name="Gruppieren 72">
            <a:extLst>
              <a:ext uri="{FF2B5EF4-FFF2-40B4-BE49-F238E27FC236}">
                <a16:creationId xmlns:a16="http://schemas.microsoft.com/office/drawing/2014/main" id="{B6F753FD-2BBD-420B-AE52-0ABB9CC90166}"/>
              </a:ext>
            </a:extLst>
          </p:cNvPr>
          <p:cNvGrpSpPr/>
          <p:nvPr/>
        </p:nvGrpSpPr>
        <p:grpSpPr>
          <a:xfrm>
            <a:off x="3094310" y="1026690"/>
            <a:ext cx="479796" cy="486808"/>
            <a:chOff x="11354045" y="59347"/>
            <a:chExt cx="604479" cy="656522"/>
          </a:xfrm>
        </p:grpSpPr>
        <p:sp>
          <p:nvSpPr>
            <p:cNvPr id="75" name="Rechteck 74">
              <a:extLst>
                <a:ext uri="{FF2B5EF4-FFF2-40B4-BE49-F238E27FC236}">
                  <a16:creationId xmlns:a16="http://schemas.microsoft.com/office/drawing/2014/main" id="{0691EBA9-5212-41C2-8FBE-1115B8E86F11}"/>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77" name="Ellipse 76">
              <a:extLst>
                <a:ext uri="{FF2B5EF4-FFF2-40B4-BE49-F238E27FC236}">
                  <a16:creationId xmlns:a16="http://schemas.microsoft.com/office/drawing/2014/main" id="{44A35A39-1732-4FC7-AD2C-F6AFF809833D}"/>
                </a:ext>
              </a:extLst>
            </p:cNvPr>
            <p:cNvSpPr/>
            <p:nvPr/>
          </p:nvSpPr>
          <p:spPr>
            <a:xfrm>
              <a:off x="11354045" y="59347"/>
              <a:ext cx="604479" cy="656522"/>
            </a:xfrm>
            <a:prstGeom prst="ellipse">
              <a:avLst/>
            </a:prstGeom>
            <a:solidFill>
              <a:srgbClr val="990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pSp>
      <p:sp>
        <p:nvSpPr>
          <p:cNvPr id="79" name="Textfeld 78">
            <a:extLst>
              <a:ext uri="{FF2B5EF4-FFF2-40B4-BE49-F238E27FC236}">
                <a16:creationId xmlns:a16="http://schemas.microsoft.com/office/drawing/2014/main" id="{3BC8BB24-B604-4A29-B487-6BB2B809ECE5}"/>
              </a:ext>
            </a:extLst>
          </p:cNvPr>
          <p:cNvSpPr txBox="1"/>
          <p:nvPr/>
        </p:nvSpPr>
        <p:spPr>
          <a:xfrm>
            <a:off x="3079312" y="1100817"/>
            <a:ext cx="586951" cy="338554"/>
          </a:xfrm>
          <a:prstGeom prst="rect">
            <a:avLst/>
          </a:prstGeom>
          <a:noFill/>
        </p:spPr>
        <p:txBody>
          <a:bodyPr wrap="square" rtlCol="0">
            <a:spAutoFit/>
          </a:bodyPr>
          <a:lstStyle/>
          <a:p>
            <a:r>
              <a:rPr lang="de-DE" sz="1600" b="1">
                <a:solidFill>
                  <a:schemeClr val="bg1">
                    <a:lumMod val="75000"/>
                  </a:schemeClr>
                </a:solidFill>
                <a:latin typeface="Helvetica" panose="020B0604020202020204" pitchFamily="34" charset="0"/>
                <a:cs typeface="Helvetica" panose="020B0604020202020204" pitchFamily="34" charset="0"/>
              </a:rPr>
              <a:t>Go!</a:t>
            </a:r>
          </a:p>
        </p:txBody>
      </p:sp>
      <p:pic>
        <p:nvPicPr>
          <p:cNvPr id="55" name="Grafik 54" descr="Cursor mit einfarbiger Füllung">
            <a:extLst>
              <a:ext uri="{FF2B5EF4-FFF2-40B4-BE49-F238E27FC236}">
                <a16:creationId xmlns:a16="http://schemas.microsoft.com/office/drawing/2014/main" id="{867FDEC3-C9DC-4AFA-B093-FD3D8D5BDE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259539">
            <a:off x="3310603" y="1296024"/>
            <a:ext cx="434948" cy="434948"/>
          </a:xfrm>
          <a:prstGeom prst="rect">
            <a:avLst/>
          </a:prstGeom>
        </p:spPr>
      </p:pic>
      <p:sp>
        <p:nvSpPr>
          <p:cNvPr id="74" name="Rechteck 73">
            <a:extLst>
              <a:ext uri="{FF2B5EF4-FFF2-40B4-BE49-F238E27FC236}">
                <a16:creationId xmlns:a16="http://schemas.microsoft.com/office/drawing/2014/main" id="{50A7B259-5992-D543-B103-2E1128D99F0A}"/>
              </a:ext>
            </a:extLst>
          </p:cNvPr>
          <p:cNvSpPr/>
          <p:nvPr/>
        </p:nvSpPr>
        <p:spPr>
          <a:xfrm>
            <a:off x="-10222" y="1"/>
            <a:ext cx="12192000" cy="6860116"/>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64" name="Rechteck: abgerundete Ecken 63">
            <a:extLst>
              <a:ext uri="{FF2B5EF4-FFF2-40B4-BE49-F238E27FC236}">
                <a16:creationId xmlns:a16="http://schemas.microsoft.com/office/drawing/2014/main" id="{BA19356F-7A56-4060-9E18-0AE520282805}"/>
              </a:ext>
            </a:extLst>
          </p:cNvPr>
          <p:cNvSpPr/>
          <p:nvPr/>
        </p:nvSpPr>
        <p:spPr>
          <a:xfrm>
            <a:off x="3963967" y="784417"/>
            <a:ext cx="4257901" cy="895307"/>
          </a:xfrm>
          <a:prstGeom prst="roundRect">
            <a:avLst>
              <a:gd name="adj" fmla="val 22341"/>
            </a:avLst>
          </a:prstGeom>
          <a:solidFill>
            <a:srgbClr val="2134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37" name="Textfeld 36">
            <a:extLst>
              <a:ext uri="{FF2B5EF4-FFF2-40B4-BE49-F238E27FC236}">
                <a16:creationId xmlns:a16="http://schemas.microsoft.com/office/drawing/2014/main" id="{3CC3761C-DAF6-4249-B031-35F1D072D1C2}"/>
              </a:ext>
            </a:extLst>
          </p:cNvPr>
          <p:cNvSpPr txBox="1"/>
          <p:nvPr/>
        </p:nvSpPr>
        <p:spPr>
          <a:xfrm>
            <a:off x="4013378" y="905216"/>
            <a:ext cx="1756358" cy="646331"/>
          </a:xfrm>
          <a:prstGeom prst="rect">
            <a:avLst/>
          </a:prstGeom>
          <a:noFill/>
        </p:spPr>
        <p:txBody>
          <a:bodyPr wrap="square" rtlCol="0">
            <a:spAutoFit/>
          </a:bodyPr>
          <a:lstStyle/>
          <a:p>
            <a:r>
              <a:rPr lang="de-DE" err="1">
                <a:solidFill>
                  <a:schemeClr val="bg1">
                    <a:lumMod val="75000"/>
                  </a:schemeClr>
                </a:solidFill>
                <a:latin typeface="Helvetica" panose="020B0604020202020204" pitchFamily="34" charset="0"/>
                <a:cs typeface="Helvetica" panose="020B0604020202020204" pitchFamily="34" charset="0"/>
              </a:rPr>
              <a:t>Estimated</a:t>
            </a:r>
            <a:r>
              <a:rPr lang="de-DE">
                <a:solidFill>
                  <a:schemeClr val="bg1">
                    <a:lumMod val="75000"/>
                  </a:schemeClr>
                </a:solidFill>
                <a:latin typeface="Helvetica" panose="020B0604020202020204" pitchFamily="34" charset="0"/>
                <a:cs typeface="Helvetica" panose="020B0604020202020204" pitchFamily="34" charset="0"/>
              </a:rPr>
              <a:t> Time </a:t>
            </a:r>
            <a:r>
              <a:rPr lang="de-DE" err="1">
                <a:solidFill>
                  <a:schemeClr val="bg1">
                    <a:lumMod val="75000"/>
                  </a:schemeClr>
                </a:solidFill>
                <a:latin typeface="Helvetica" panose="020B0604020202020204" pitchFamily="34" charset="0"/>
                <a:cs typeface="Helvetica" panose="020B0604020202020204" pitchFamily="34" charset="0"/>
              </a:rPr>
              <a:t>of</a:t>
            </a:r>
            <a:r>
              <a:rPr lang="de-DE">
                <a:solidFill>
                  <a:schemeClr val="bg1">
                    <a:lumMod val="75000"/>
                  </a:schemeClr>
                </a:solidFill>
                <a:latin typeface="Helvetica" panose="020B0604020202020204" pitchFamily="34" charset="0"/>
                <a:cs typeface="Helvetica" panose="020B0604020202020204" pitchFamily="34" charset="0"/>
              </a:rPr>
              <a:t> Arrival: </a:t>
            </a:r>
          </a:p>
        </p:txBody>
      </p:sp>
      <p:sp>
        <p:nvSpPr>
          <p:cNvPr id="38" name="Textfeld 37">
            <a:extLst>
              <a:ext uri="{FF2B5EF4-FFF2-40B4-BE49-F238E27FC236}">
                <a16:creationId xmlns:a16="http://schemas.microsoft.com/office/drawing/2014/main" id="{B39E70F3-DA01-469A-8579-DF16BF243794}"/>
              </a:ext>
            </a:extLst>
          </p:cNvPr>
          <p:cNvSpPr txBox="1"/>
          <p:nvPr/>
        </p:nvSpPr>
        <p:spPr>
          <a:xfrm>
            <a:off x="5821982" y="795023"/>
            <a:ext cx="2459210" cy="830997"/>
          </a:xfrm>
          <a:prstGeom prst="rect">
            <a:avLst/>
          </a:prstGeom>
          <a:noFill/>
        </p:spPr>
        <p:txBody>
          <a:bodyPr wrap="square">
            <a:spAutoFit/>
          </a:bodyPr>
          <a:lstStyle/>
          <a:p>
            <a:r>
              <a:rPr lang="de-DE" sz="2800">
                <a:solidFill>
                  <a:schemeClr val="bg1">
                    <a:lumMod val="75000"/>
                  </a:schemeClr>
                </a:solidFill>
                <a:latin typeface="Helvetica" panose="020B0604020202020204" pitchFamily="34" charset="0"/>
                <a:cs typeface="Helvetica" panose="020B0604020202020204" pitchFamily="34" charset="0"/>
              </a:rPr>
              <a:t>01:30 AM </a:t>
            </a:r>
          </a:p>
          <a:p>
            <a:r>
              <a:rPr lang="de-DE" sz="2000">
                <a:solidFill>
                  <a:schemeClr val="bg1">
                    <a:lumMod val="75000"/>
                  </a:schemeClr>
                </a:solidFill>
                <a:latin typeface="Helvetica" panose="020B0604020202020204" pitchFamily="34" charset="0"/>
                <a:cs typeface="Helvetica" panose="020B0604020202020204" pitchFamily="34" charset="0"/>
              </a:rPr>
              <a:t>2021-07-17</a:t>
            </a:r>
          </a:p>
        </p:txBody>
      </p:sp>
      <p:sp>
        <p:nvSpPr>
          <p:cNvPr id="68" name="Rechteck: abgerundete Ecken 67">
            <a:extLst>
              <a:ext uri="{FF2B5EF4-FFF2-40B4-BE49-F238E27FC236}">
                <a16:creationId xmlns:a16="http://schemas.microsoft.com/office/drawing/2014/main" id="{DD63FDD9-3CF4-4835-B20C-1D51FF012EFB}"/>
              </a:ext>
            </a:extLst>
          </p:cNvPr>
          <p:cNvSpPr/>
          <p:nvPr/>
        </p:nvSpPr>
        <p:spPr>
          <a:xfrm>
            <a:off x="3982259" y="1747729"/>
            <a:ext cx="4257901" cy="4727290"/>
          </a:xfrm>
          <a:prstGeom prst="roundRect">
            <a:avLst>
              <a:gd name="adj" fmla="val 867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0" name="Textfeld 99">
            <a:extLst>
              <a:ext uri="{FF2B5EF4-FFF2-40B4-BE49-F238E27FC236}">
                <a16:creationId xmlns:a16="http://schemas.microsoft.com/office/drawing/2014/main" id="{6E0EF5F2-4025-4A36-9C0C-1DD09EC012A9}"/>
              </a:ext>
            </a:extLst>
          </p:cNvPr>
          <p:cNvSpPr txBox="1"/>
          <p:nvPr/>
        </p:nvSpPr>
        <p:spPr>
          <a:xfrm>
            <a:off x="4462107" y="1850077"/>
            <a:ext cx="3387619" cy="461665"/>
          </a:xfrm>
          <a:prstGeom prst="rect">
            <a:avLst/>
          </a:prstGeom>
          <a:noFill/>
        </p:spPr>
        <p:txBody>
          <a:bodyPr wrap="square" rtlCol="0">
            <a:spAutoFit/>
          </a:bodyPr>
          <a:lstStyle/>
          <a:p>
            <a:r>
              <a:rPr lang="de-DE" sz="2400" u="sng">
                <a:solidFill>
                  <a:schemeClr val="bg1">
                    <a:lumMod val="75000"/>
                  </a:schemeClr>
                </a:solidFill>
                <a:latin typeface="Helvetica" panose="020B0604020202020204" pitchFamily="34" charset="0"/>
                <a:cs typeface="Helvetica" panose="020B0604020202020204" pitchFamily="34" charset="0"/>
              </a:rPr>
              <a:t>ALERT INFORMATION</a:t>
            </a:r>
          </a:p>
        </p:txBody>
      </p:sp>
      <p:graphicFrame>
        <p:nvGraphicFramePr>
          <p:cNvPr id="101" name="Tabelle 4">
            <a:extLst>
              <a:ext uri="{FF2B5EF4-FFF2-40B4-BE49-F238E27FC236}">
                <a16:creationId xmlns:a16="http://schemas.microsoft.com/office/drawing/2014/main" id="{7418C3E7-1AC1-46B5-9C14-5FD27DE58DBC}"/>
              </a:ext>
            </a:extLst>
          </p:cNvPr>
          <p:cNvGraphicFramePr>
            <a:graphicFrameLocks noGrp="1"/>
          </p:cNvGraphicFramePr>
          <p:nvPr/>
        </p:nvGraphicFramePr>
        <p:xfrm>
          <a:off x="4663298" y="2384219"/>
          <a:ext cx="3513733" cy="1229474"/>
        </p:xfrm>
        <a:graphic>
          <a:graphicData uri="http://schemas.openxmlformats.org/drawingml/2006/table">
            <a:tbl>
              <a:tblPr firstRow="1" bandRow="1">
                <a:tableStyleId>{5C22544A-7EE6-4342-B048-85BDC9FD1C3A}</a:tableStyleId>
              </a:tblPr>
              <a:tblGrid>
                <a:gridCol w="907632">
                  <a:extLst>
                    <a:ext uri="{9D8B030D-6E8A-4147-A177-3AD203B41FA5}">
                      <a16:colId xmlns:a16="http://schemas.microsoft.com/office/drawing/2014/main" val="2991778072"/>
                    </a:ext>
                  </a:extLst>
                </a:gridCol>
                <a:gridCol w="2606101">
                  <a:extLst>
                    <a:ext uri="{9D8B030D-6E8A-4147-A177-3AD203B41FA5}">
                      <a16:colId xmlns:a16="http://schemas.microsoft.com/office/drawing/2014/main" val="293995898"/>
                    </a:ext>
                  </a:extLst>
                </a:gridCol>
              </a:tblGrid>
              <a:tr h="550496">
                <a:tc gridSpan="2">
                  <a:txBody>
                    <a:bodyPr/>
                    <a:lstStyle/>
                    <a:p>
                      <a:pPr marL="0" algn="l" defTabSz="914400" rtl="0" eaLnBrk="1" latinLnBrk="0" hangingPunct="1"/>
                      <a:r>
                        <a:rPr lang="de-DE" sz="1600" b="0" kern="1200">
                          <a:solidFill>
                            <a:srgbClr val="BFBFBF"/>
                          </a:solidFill>
                          <a:latin typeface="Helvetica" panose="020B0604020202020204" pitchFamily="34" charset="0"/>
                          <a:ea typeface="+mn-ea"/>
                          <a:cs typeface="Helvetica" panose="020B0604020202020204" pitchFamily="34" charset="0"/>
                        </a:rPr>
                        <a:t>Change of ETA:</a:t>
                      </a:r>
                      <a:br>
                        <a:rPr lang="de-DE" sz="1600" b="0" kern="1200">
                          <a:solidFill>
                            <a:srgbClr val="BFBFBF"/>
                          </a:solidFill>
                          <a:latin typeface="Helvetica" panose="020B0604020202020204" pitchFamily="34" charset="0"/>
                          <a:ea typeface="+mn-ea"/>
                          <a:cs typeface="Helvetica" panose="020B0604020202020204" pitchFamily="34" charset="0"/>
                        </a:rPr>
                      </a:br>
                      <a:r>
                        <a:rPr lang="de-DE" sz="1600" b="0" kern="1200">
                          <a:solidFill>
                            <a:srgbClr val="BFBFBF"/>
                          </a:solidFill>
                          <a:latin typeface="Helvetica" panose="020B0604020202020204" pitchFamily="34" charset="0"/>
                          <a:ea typeface="+mn-ea"/>
                          <a:cs typeface="Helvetica" panose="020B0604020202020204" pitchFamily="34" charset="0"/>
                        </a:rPr>
                        <a:t>previous ETA 11:30 PM, 2021-07-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r>
                        <a:rPr lang="de-DE" sz="1300" b="0" kern="1200">
                          <a:solidFill>
                            <a:srgbClr val="BFBFBF"/>
                          </a:solidFill>
                          <a:latin typeface="Helvetica" panose="020B0604020202020204" pitchFamily="34" charset="0"/>
                          <a:ea typeface="+mn-ea"/>
                          <a:cs typeface="Helvetica" panose="020B0604020202020204" pitchFamily="34" charset="0"/>
                        </a:rPr>
                        <a:t>Change </a:t>
                      </a:r>
                      <a:r>
                        <a:rPr lang="de-DE" sz="1300" b="0" kern="1200" err="1">
                          <a:solidFill>
                            <a:srgbClr val="BFBFBF"/>
                          </a:solidFill>
                          <a:latin typeface="Helvetica" panose="020B0604020202020204" pitchFamily="34" charset="0"/>
                          <a:ea typeface="+mn-ea"/>
                          <a:cs typeface="Helvetica" panose="020B0604020202020204" pitchFamily="34" charset="0"/>
                        </a:rPr>
                        <a:t>of</a:t>
                      </a:r>
                      <a:r>
                        <a:rPr lang="de-DE" sz="1300" b="0" kern="1200">
                          <a:solidFill>
                            <a:srgbClr val="BFBFBF"/>
                          </a:solidFill>
                          <a:latin typeface="Helvetica" panose="020B0604020202020204" pitchFamily="34" charset="0"/>
                          <a:ea typeface="+mn-ea"/>
                          <a:cs typeface="Helvetica" panose="020B0604020202020204" pitchFamily="34" charset="0"/>
                        </a:rPr>
                        <a:t> ETA, </a:t>
                      </a:r>
                      <a:r>
                        <a:rPr lang="de-DE" sz="1300" b="0" kern="1200" err="1">
                          <a:solidFill>
                            <a:srgbClr val="BFBFBF"/>
                          </a:solidFill>
                          <a:latin typeface="Helvetica" panose="020B0604020202020204" pitchFamily="34" charset="0"/>
                          <a:ea typeface="+mn-ea"/>
                          <a:cs typeface="Helvetica" panose="020B0604020202020204" pitchFamily="34" charset="0"/>
                        </a:rPr>
                        <a:t>previous</a:t>
                      </a:r>
                      <a:r>
                        <a:rPr lang="de-DE" sz="1300" b="0" kern="1200">
                          <a:solidFill>
                            <a:srgbClr val="BFBFBF"/>
                          </a:solidFill>
                          <a:latin typeface="Helvetica" panose="020B0604020202020204" pitchFamily="34" charset="0"/>
                          <a:ea typeface="+mn-ea"/>
                          <a:cs typeface="Helvetica" panose="020B0604020202020204" pitchFamily="34" charset="0"/>
                        </a:rPr>
                        <a:t> ETA 11:30 P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650354">
                <a:tc>
                  <a:txBody>
                    <a:bodyPr/>
                    <a:lstStyle/>
                    <a:p>
                      <a:r>
                        <a:rPr lang="de-DE" sz="1200" b="0">
                          <a:solidFill>
                            <a:schemeClr val="bg1">
                              <a:lumMod val="75000"/>
                            </a:schemeClr>
                          </a:solidFill>
                          <a:latin typeface="Helvetica" panose="020B0604020202020204" pitchFamily="34" charset="0"/>
                          <a:cs typeface="Helvetica" panose="020B0604020202020204" pitchFamily="34" charset="0"/>
                        </a:rPr>
                        <a:t>Possible </a:t>
                      </a:r>
                      <a:r>
                        <a:rPr lang="de-DE" sz="1200" b="0" err="1">
                          <a:solidFill>
                            <a:schemeClr val="bg1">
                              <a:lumMod val="75000"/>
                            </a:schemeClr>
                          </a:solidFill>
                          <a:latin typeface="Helvetica" panose="020B0604020202020204" pitchFamily="34" charset="0"/>
                          <a:cs typeface="Helvetica" panose="020B0604020202020204" pitchFamily="34" charset="0"/>
                        </a:rPr>
                        <a:t>cause</a:t>
                      </a:r>
                      <a:r>
                        <a:rPr lang="de-DE" sz="1200" b="0">
                          <a:solidFill>
                            <a:schemeClr val="bg1">
                              <a:lumMod val="75000"/>
                            </a:schemeClr>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de-DE" sz="1200" b="0" kern="1200">
                          <a:solidFill>
                            <a:srgbClr val="BFBFBF"/>
                          </a:solidFill>
                          <a:latin typeface="Helvetica" panose="020B0604020202020204" pitchFamily="34" charset="0"/>
                          <a:ea typeface="+mn-ea"/>
                          <a:cs typeface="Helvetica" panose="020B0604020202020204" pitchFamily="34" charset="0"/>
                        </a:rPr>
                        <a:t>Stop2-Loading </a:t>
                      </a:r>
                      <a:r>
                        <a:rPr lang="de-DE" sz="1200" b="0" kern="1200" err="1">
                          <a:solidFill>
                            <a:srgbClr val="BFBFBF"/>
                          </a:solidFill>
                          <a:latin typeface="Helvetica" panose="020B0604020202020204" pitchFamily="34" charset="0"/>
                          <a:ea typeface="+mn-ea"/>
                          <a:cs typeface="Helvetica" panose="020B0604020202020204" pitchFamily="34" charset="0"/>
                        </a:rPr>
                        <a:t>took</a:t>
                      </a:r>
                      <a:r>
                        <a:rPr lang="de-DE" sz="1200" b="0" kern="1200">
                          <a:solidFill>
                            <a:srgbClr val="BFBFBF"/>
                          </a:solidFill>
                          <a:latin typeface="Helvetica" panose="020B0604020202020204" pitchFamily="34" charset="0"/>
                          <a:ea typeface="+mn-ea"/>
                          <a:cs typeface="Helvetica" panose="020B0604020202020204" pitchFamily="34" charset="0"/>
                        </a:rPr>
                        <a:t> longer </a:t>
                      </a:r>
                      <a:r>
                        <a:rPr lang="de-DE" sz="1200" b="0" kern="1200" err="1">
                          <a:solidFill>
                            <a:srgbClr val="BFBFBF"/>
                          </a:solidFill>
                          <a:latin typeface="Helvetica" panose="020B0604020202020204" pitchFamily="34" charset="0"/>
                          <a:ea typeface="+mn-ea"/>
                          <a:cs typeface="Helvetica" panose="020B0604020202020204" pitchFamily="34" charset="0"/>
                        </a:rPr>
                        <a:t>than</a:t>
                      </a:r>
                      <a:r>
                        <a:rPr lang="de-DE" sz="1200" b="0" kern="1200">
                          <a:solidFill>
                            <a:srgbClr val="BFBFBF"/>
                          </a:solidFill>
                          <a:latin typeface="Helvetica" panose="020B0604020202020204" pitchFamily="34" charset="0"/>
                          <a:ea typeface="+mn-ea"/>
                          <a:cs typeface="Helvetica" panose="020B0604020202020204" pitchFamily="34" charset="0"/>
                        </a:rPr>
                        <a:t> </a:t>
                      </a:r>
                      <a:r>
                        <a:rPr lang="de-DE" sz="1200" b="0" kern="1200" err="1">
                          <a:solidFill>
                            <a:srgbClr val="BFBFBF"/>
                          </a:solidFill>
                          <a:latin typeface="Helvetica" panose="020B0604020202020204" pitchFamily="34" charset="0"/>
                          <a:ea typeface="+mn-ea"/>
                          <a:cs typeface="Helvetica" panose="020B0604020202020204" pitchFamily="34" charset="0"/>
                        </a:rPr>
                        <a:t>predicted</a:t>
                      </a:r>
                      <a:endParaRPr lang="de-DE" sz="1200" b="0" kern="1200">
                        <a:solidFill>
                          <a:srgbClr val="BFBFBF"/>
                        </a:solidFill>
                        <a:latin typeface="Helvetica" panose="020B0604020202020204" pitchFamily="34" charset="0"/>
                        <a:ea typeface="+mn-ea"/>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648891"/>
                  </a:ext>
                </a:extLst>
              </a:tr>
            </a:tbl>
          </a:graphicData>
        </a:graphic>
      </p:graphicFrame>
      <p:sp>
        <p:nvSpPr>
          <p:cNvPr id="83" name="Rechteck: abgerundete Ecken 82">
            <a:extLst>
              <a:ext uri="{FF2B5EF4-FFF2-40B4-BE49-F238E27FC236}">
                <a16:creationId xmlns:a16="http://schemas.microsoft.com/office/drawing/2014/main" id="{41878636-5366-44D9-8384-1BBED9BCEA20}"/>
              </a:ext>
            </a:extLst>
          </p:cNvPr>
          <p:cNvSpPr/>
          <p:nvPr/>
        </p:nvSpPr>
        <p:spPr>
          <a:xfrm>
            <a:off x="4139412" y="3785834"/>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84" name="Grafik 83" descr="Warnung mit einfarbiger Füllung">
            <a:extLst>
              <a:ext uri="{FF2B5EF4-FFF2-40B4-BE49-F238E27FC236}">
                <a16:creationId xmlns:a16="http://schemas.microsoft.com/office/drawing/2014/main" id="{7ECE676F-642C-49FC-9FC1-551736B579F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19150" y="2456956"/>
            <a:ext cx="461665" cy="461665"/>
          </a:xfrm>
          <a:prstGeom prst="rect">
            <a:avLst/>
          </a:prstGeom>
        </p:spPr>
      </p:pic>
      <p:pic>
        <p:nvPicPr>
          <p:cNvPr id="85" name="Grafik 84" descr="Klemmbrett abgehakt mit einfarbiger Füllung">
            <a:extLst>
              <a:ext uri="{FF2B5EF4-FFF2-40B4-BE49-F238E27FC236}">
                <a16:creationId xmlns:a16="http://schemas.microsoft.com/office/drawing/2014/main" id="{C1FF41E0-F423-451F-BAA0-0E2282FF43F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181691" y="3908469"/>
            <a:ext cx="367233" cy="367233"/>
          </a:xfrm>
          <a:prstGeom prst="rect">
            <a:avLst/>
          </a:prstGeom>
        </p:spPr>
      </p:pic>
      <p:sp>
        <p:nvSpPr>
          <p:cNvPr id="88" name="Rechteck: abgerundete Ecken 87">
            <a:extLst>
              <a:ext uri="{FF2B5EF4-FFF2-40B4-BE49-F238E27FC236}">
                <a16:creationId xmlns:a16="http://schemas.microsoft.com/office/drawing/2014/main" id="{876341DB-0CE2-4819-B00A-7F19A9907F17}"/>
              </a:ext>
            </a:extLst>
          </p:cNvPr>
          <p:cNvSpPr/>
          <p:nvPr/>
        </p:nvSpPr>
        <p:spPr>
          <a:xfrm>
            <a:off x="4150100" y="450363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0" name="Grafik 89" descr="Klemmbrett abgehakt mit einfarbiger Füllung">
            <a:extLst>
              <a:ext uri="{FF2B5EF4-FFF2-40B4-BE49-F238E27FC236}">
                <a16:creationId xmlns:a16="http://schemas.microsoft.com/office/drawing/2014/main" id="{78F9F1E8-C38B-494A-9BB8-BAFA1D4C66E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192379" y="4626271"/>
            <a:ext cx="367233" cy="367233"/>
          </a:xfrm>
          <a:prstGeom prst="rect">
            <a:avLst/>
          </a:prstGeom>
        </p:spPr>
      </p:pic>
      <p:sp>
        <p:nvSpPr>
          <p:cNvPr id="54" name="Textfeld 53">
            <a:extLst>
              <a:ext uri="{FF2B5EF4-FFF2-40B4-BE49-F238E27FC236}">
                <a16:creationId xmlns:a16="http://schemas.microsoft.com/office/drawing/2014/main" id="{B2798D0E-C231-4C55-86B5-7C0AABBE3DED}"/>
              </a:ext>
            </a:extLst>
          </p:cNvPr>
          <p:cNvSpPr txBox="1"/>
          <p:nvPr/>
        </p:nvSpPr>
        <p:spPr>
          <a:xfrm>
            <a:off x="4514890" y="3853846"/>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ange </a:t>
            </a:r>
            <a:r>
              <a:rPr lang="de-DE" sz="1400" err="1">
                <a:latin typeface="Helvetica" panose="020B0604020202020204" pitchFamily="34" charset="0"/>
                <a:cs typeface="Helvetica" panose="020B0604020202020204" pitchFamily="34" charset="0"/>
              </a:rPr>
              <a:t>of</a:t>
            </a:r>
            <a:r>
              <a:rPr lang="de-DE" sz="1400">
                <a:latin typeface="Helvetica" panose="020B0604020202020204" pitchFamily="34" charset="0"/>
                <a:cs typeface="Helvetica" panose="020B0604020202020204" pitchFamily="34" charset="0"/>
              </a:rPr>
              <a:t> dock </a:t>
            </a:r>
            <a:r>
              <a:rPr lang="de-DE" sz="1400" err="1">
                <a:latin typeface="Helvetica" panose="020B0604020202020204" pitchFamily="34" charset="0"/>
                <a:cs typeface="Helvetica" panose="020B0604020202020204" pitchFamily="34" charset="0"/>
              </a:rPr>
              <a:t>required</a:t>
            </a:r>
            <a:br>
              <a:rPr lang="de-DE" sz="1400">
                <a:latin typeface="Helvetica" panose="020B0604020202020204" pitchFamily="34" charset="0"/>
                <a:cs typeface="Helvetica" panose="020B0604020202020204" pitchFamily="34" charset="0"/>
              </a:rPr>
            </a:br>
            <a:r>
              <a:rPr lang="de-DE" sz="1400">
                <a:latin typeface="Helvetica" panose="020B0604020202020204" pitchFamily="34" charset="0"/>
                <a:cs typeface="Helvetica" panose="020B0604020202020204" pitchFamily="34" charset="0"/>
              </a:rPr>
              <a:t>Free possible </a:t>
            </a:r>
            <a:r>
              <a:rPr lang="de-DE" sz="1400" err="1">
                <a:latin typeface="Helvetica" panose="020B0604020202020204" pitchFamily="34" charset="0"/>
                <a:cs typeface="Helvetica" panose="020B0604020202020204" pitchFamily="34" charset="0"/>
              </a:rPr>
              <a:t>docks</a:t>
            </a:r>
            <a:r>
              <a:rPr lang="de-DE" sz="1400">
                <a:latin typeface="Helvetica" panose="020B0604020202020204" pitchFamily="34" charset="0"/>
                <a:cs typeface="Helvetica" panose="020B0604020202020204" pitchFamily="34" charset="0"/>
              </a:rPr>
              <a:t>: Dock 14, 301, 90</a:t>
            </a:r>
          </a:p>
        </p:txBody>
      </p:sp>
      <p:sp>
        <p:nvSpPr>
          <p:cNvPr id="96" name="Rechteck: abgerundete Ecken 95">
            <a:extLst>
              <a:ext uri="{FF2B5EF4-FFF2-40B4-BE49-F238E27FC236}">
                <a16:creationId xmlns:a16="http://schemas.microsoft.com/office/drawing/2014/main" id="{28806A75-C8CC-47DB-8F68-78C4C5A4E313}"/>
              </a:ext>
            </a:extLst>
          </p:cNvPr>
          <p:cNvSpPr/>
          <p:nvPr/>
        </p:nvSpPr>
        <p:spPr>
          <a:xfrm>
            <a:off x="4150100" y="523976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8" name="Grafik 97" descr="Klemmbrett abgehakt mit einfarbiger Füllung">
            <a:extLst>
              <a:ext uri="{FF2B5EF4-FFF2-40B4-BE49-F238E27FC236}">
                <a16:creationId xmlns:a16="http://schemas.microsoft.com/office/drawing/2014/main" id="{D06F24B3-CF84-4AFA-B507-177F0FD8695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192379" y="5362401"/>
            <a:ext cx="367233" cy="367233"/>
          </a:xfrm>
          <a:prstGeom prst="rect">
            <a:avLst/>
          </a:prstGeom>
        </p:spPr>
      </p:pic>
      <p:sp>
        <p:nvSpPr>
          <p:cNvPr id="91" name="Textfeld 90">
            <a:extLst>
              <a:ext uri="{FF2B5EF4-FFF2-40B4-BE49-F238E27FC236}">
                <a16:creationId xmlns:a16="http://schemas.microsoft.com/office/drawing/2014/main" id="{92F27234-4AA0-4D7E-856A-66EEDA6D7527}"/>
              </a:ext>
            </a:extLst>
          </p:cNvPr>
          <p:cNvSpPr txBox="1"/>
          <p:nvPr/>
        </p:nvSpPr>
        <p:spPr>
          <a:xfrm>
            <a:off x="4514890" y="5288524"/>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Inform </a:t>
            </a:r>
            <a:r>
              <a:rPr lang="de-DE" sz="1400" err="1">
                <a:latin typeface="Helvetica" panose="020B0604020202020204" pitchFamily="34" charset="0"/>
                <a:cs typeface="Helvetica" panose="020B0604020202020204" pitchFamily="34" charset="0"/>
              </a:rPr>
              <a:t>responsibles</a:t>
            </a:r>
            <a:r>
              <a:rPr lang="de-DE" sz="1400">
                <a:latin typeface="Helvetica" panose="020B0604020202020204" pitchFamily="34" charset="0"/>
                <a:cs typeface="Helvetica" panose="020B0604020202020204" pitchFamily="34" charset="0"/>
              </a:rPr>
              <a:t>: </a:t>
            </a:r>
            <a:br>
              <a:rPr lang="de-DE" sz="1400">
                <a:latin typeface="Helvetica" panose="020B0604020202020204" pitchFamily="34" charset="0"/>
                <a:cs typeface="Helvetica" panose="020B0604020202020204" pitchFamily="34" charset="0"/>
              </a:rPr>
            </a:br>
            <a:r>
              <a:rPr lang="de-DE" sz="1400" u="sng" err="1">
                <a:latin typeface="Helvetica" panose="020B0604020202020204" pitchFamily="34" charset="0"/>
                <a:cs typeface="Helvetica" panose="020B0604020202020204" pitchFamily="34" charset="0"/>
              </a:rPr>
              <a:t>click</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here</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for</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contact</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information</a:t>
            </a:r>
            <a:endParaRPr lang="de-DE" sz="1400" u="sng">
              <a:latin typeface="Helvetica" panose="020B0604020202020204" pitchFamily="34" charset="0"/>
              <a:cs typeface="Helvetica" panose="020B0604020202020204" pitchFamily="34" charset="0"/>
            </a:endParaRPr>
          </a:p>
        </p:txBody>
      </p:sp>
      <p:sp>
        <p:nvSpPr>
          <p:cNvPr id="104" name="Textfeld 103">
            <a:extLst>
              <a:ext uri="{FF2B5EF4-FFF2-40B4-BE49-F238E27FC236}">
                <a16:creationId xmlns:a16="http://schemas.microsoft.com/office/drawing/2014/main" id="{7E6A3FD1-3C07-4F30-B2AE-8F606ECA1258}"/>
              </a:ext>
            </a:extLst>
          </p:cNvPr>
          <p:cNvSpPr txBox="1"/>
          <p:nvPr/>
        </p:nvSpPr>
        <p:spPr>
          <a:xfrm>
            <a:off x="4514890" y="4652498"/>
            <a:ext cx="3278559" cy="307777"/>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eck </a:t>
            </a:r>
            <a:r>
              <a:rPr lang="de-DE" sz="1400" err="1">
                <a:latin typeface="Helvetica" panose="020B0604020202020204" pitchFamily="34" charset="0"/>
                <a:cs typeface="Helvetica" panose="020B0604020202020204" pitchFamily="34" charset="0"/>
              </a:rPr>
              <a:t>resource</a:t>
            </a:r>
            <a:r>
              <a:rPr lang="de-DE" sz="1400">
                <a:latin typeface="Helvetica" panose="020B0604020202020204" pitchFamily="34" charset="0"/>
                <a:cs typeface="Helvetica" panose="020B0604020202020204" pitchFamily="34" charset="0"/>
              </a:rPr>
              <a:t> </a:t>
            </a:r>
            <a:r>
              <a:rPr lang="de-DE" sz="1400" err="1">
                <a:latin typeface="Helvetica" panose="020B0604020202020204" pitchFamily="34" charset="0"/>
                <a:cs typeface="Helvetica" panose="020B0604020202020204" pitchFamily="34" charset="0"/>
              </a:rPr>
              <a:t>planning</a:t>
            </a:r>
            <a:endParaRPr lang="de-DE" sz="1400">
              <a:latin typeface="Helvetica" panose="020B0604020202020204" pitchFamily="34" charset="0"/>
              <a:cs typeface="Helvetica" panose="020B0604020202020204" pitchFamily="34" charset="0"/>
            </a:endParaRPr>
          </a:p>
        </p:txBody>
      </p:sp>
      <p:pic>
        <p:nvPicPr>
          <p:cNvPr id="105" name="Grafik 104" descr="Kreis mit Pfeil nach links mit einfarbiger Füllung">
            <a:extLst>
              <a:ext uri="{FF2B5EF4-FFF2-40B4-BE49-F238E27FC236}">
                <a16:creationId xmlns:a16="http://schemas.microsoft.com/office/drawing/2014/main" id="{B55B7563-C7FD-44D4-9028-8640B952F2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6634263" y="4667692"/>
            <a:ext cx="281136" cy="283093"/>
          </a:xfrm>
          <a:prstGeom prst="rect">
            <a:avLst/>
          </a:prstGeom>
        </p:spPr>
      </p:pic>
    </p:spTree>
    <p:extLst>
      <p:ext uri="{BB962C8B-B14F-4D97-AF65-F5344CB8AC3E}">
        <p14:creationId xmlns:p14="http://schemas.microsoft.com/office/powerpoint/2010/main" val="143611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D241CA9-F96D-41F6-B292-96D74DD6BAA8}"/>
              </a:ext>
            </a:extLst>
          </p:cNvPr>
          <p:cNvSpPr/>
          <p:nvPr/>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Rechteck: abgerundete Ecken 65">
            <a:extLst>
              <a:ext uri="{FF2B5EF4-FFF2-40B4-BE49-F238E27FC236}">
                <a16:creationId xmlns:a16="http://schemas.microsoft.com/office/drawing/2014/main" id="{34E1A081-8F09-417E-89E3-1BC3A2E5D96D}"/>
              </a:ext>
            </a:extLst>
          </p:cNvPr>
          <p:cNvSpPr/>
          <p:nvPr/>
        </p:nvSpPr>
        <p:spPr>
          <a:xfrm>
            <a:off x="148302" y="4547433"/>
            <a:ext cx="3740627" cy="1945223"/>
          </a:xfrm>
          <a:prstGeom prst="roundRect">
            <a:avLst>
              <a:gd name="adj" fmla="val 1092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5" name="Grafik 4">
            <a:extLst>
              <a:ext uri="{FF2B5EF4-FFF2-40B4-BE49-F238E27FC236}">
                <a16:creationId xmlns:a16="http://schemas.microsoft.com/office/drawing/2014/main" id="{588CBF33-04DA-4670-977E-27B5D9A8752B}"/>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80811" y="210222"/>
            <a:ext cx="523640" cy="384090"/>
          </a:xfrm>
          <a:prstGeom prst="rect">
            <a:avLst/>
          </a:prstGeom>
        </p:spPr>
      </p:pic>
      <p:sp>
        <p:nvSpPr>
          <p:cNvPr id="6" name="Textfeld 5">
            <a:extLst>
              <a:ext uri="{FF2B5EF4-FFF2-40B4-BE49-F238E27FC236}">
                <a16:creationId xmlns:a16="http://schemas.microsoft.com/office/drawing/2014/main" id="{781B1EDF-F19A-4C86-B73C-495416ED4D92}"/>
              </a:ext>
            </a:extLst>
          </p:cNvPr>
          <p:cNvSpPr txBox="1"/>
          <p:nvPr/>
        </p:nvSpPr>
        <p:spPr>
          <a:xfrm>
            <a:off x="694291" y="191535"/>
            <a:ext cx="6999727" cy="400110"/>
          </a:xfrm>
          <a:prstGeom prst="rect">
            <a:avLst/>
          </a:prstGeom>
          <a:noFill/>
        </p:spPr>
        <p:txBody>
          <a:bodyPr wrap="square" rtlCol="0">
            <a:spAutoFit/>
          </a:bodyPr>
          <a:lstStyle/>
          <a:p>
            <a:r>
              <a:rPr lang="de-DE" sz="2000" b="1" i="1">
                <a:solidFill>
                  <a:schemeClr val="tx1">
                    <a:lumMod val="65000"/>
                    <a:lumOff val="35000"/>
                  </a:schemeClr>
                </a:solidFill>
                <a:latin typeface="Helvetica" panose="020B0604020202020204" pitchFamily="34" charset="0"/>
                <a:cs typeface="Helvetica" panose="020B0604020202020204" pitchFamily="34" charset="0"/>
              </a:rPr>
              <a:t>TUBOLOG</a:t>
            </a:r>
          </a:p>
        </p:txBody>
      </p:sp>
      <p:grpSp>
        <p:nvGrpSpPr>
          <p:cNvPr id="42" name="Gruppieren 41">
            <a:extLst>
              <a:ext uri="{FF2B5EF4-FFF2-40B4-BE49-F238E27FC236}">
                <a16:creationId xmlns:a16="http://schemas.microsoft.com/office/drawing/2014/main" id="{E1CB552E-6DCA-47D2-A559-5FF52F01196C}"/>
              </a:ext>
            </a:extLst>
          </p:cNvPr>
          <p:cNvGrpSpPr/>
          <p:nvPr/>
        </p:nvGrpSpPr>
        <p:grpSpPr>
          <a:xfrm>
            <a:off x="11363261" y="53877"/>
            <a:ext cx="651099" cy="663064"/>
            <a:chOff x="11383176" y="32803"/>
            <a:chExt cx="651099" cy="663064"/>
          </a:xfrm>
        </p:grpSpPr>
        <p:sp>
          <p:nvSpPr>
            <p:cNvPr id="67" name="Rechteck: abgerundete Ecken 66">
              <a:extLst>
                <a:ext uri="{FF2B5EF4-FFF2-40B4-BE49-F238E27FC236}">
                  <a16:creationId xmlns:a16="http://schemas.microsoft.com/office/drawing/2014/main" id="{C3AE41E6-98B1-474C-8D22-9833CEAB951E}"/>
                </a:ext>
              </a:extLst>
            </p:cNvPr>
            <p:cNvSpPr/>
            <p:nvPr/>
          </p:nvSpPr>
          <p:spPr>
            <a:xfrm>
              <a:off x="11383176" y="32803"/>
              <a:ext cx="651099" cy="663064"/>
            </a:xfrm>
            <a:prstGeom prst="roundRect">
              <a:avLst/>
            </a:prstGeom>
            <a:solidFill>
              <a:srgbClr val="70707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a:extLst>
                <a:ext uri="{FF2B5EF4-FFF2-40B4-BE49-F238E27FC236}">
                  <a16:creationId xmlns:a16="http://schemas.microsoft.com/office/drawing/2014/main" id="{C005BD2A-4C1C-4C46-BB9E-E0F3229E0CD9}"/>
                </a:ext>
              </a:extLst>
            </p:cNvPr>
            <p:cNvGrpSpPr/>
            <p:nvPr/>
          </p:nvGrpSpPr>
          <p:grpSpPr>
            <a:xfrm>
              <a:off x="11413313" y="84078"/>
              <a:ext cx="576228" cy="546132"/>
              <a:chOff x="11289906" y="19826"/>
              <a:chExt cx="725969" cy="736528"/>
            </a:xfrm>
          </p:grpSpPr>
          <p:pic>
            <p:nvPicPr>
              <p:cNvPr id="16" name="Grafik 15" descr="Start mit einfarbiger Füllung">
                <a:extLst>
                  <a:ext uri="{FF2B5EF4-FFF2-40B4-BE49-F238E27FC236}">
                    <a16:creationId xmlns:a16="http://schemas.microsoft.com/office/drawing/2014/main" id="{DF0B759D-9539-425C-A9C9-6F49A3196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89906" y="19826"/>
                <a:ext cx="725969" cy="736528"/>
              </a:xfrm>
              <a:prstGeom prst="rect">
                <a:avLst/>
              </a:prstGeom>
            </p:spPr>
          </p:pic>
          <p:sp>
            <p:nvSpPr>
              <p:cNvPr id="24" name="Rechteck 23">
                <a:extLst>
                  <a:ext uri="{FF2B5EF4-FFF2-40B4-BE49-F238E27FC236}">
                    <a16:creationId xmlns:a16="http://schemas.microsoft.com/office/drawing/2014/main" id="{01AF9439-9DFC-4811-B2E2-2349E8D50BA6}"/>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uppieren 20">
                <a:extLst>
                  <a:ext uri="{FF2B5EF4-FFF2-40B4-BE49-F238E27FC236}">
                    <a16:creationId xmlns:a16="http://schemas.microsoft.com/office/drawing/2014/main" id="{C059AF37-B18D-4CFF-AFF9-CF74DD09C02D}"/>
                  </a:ext>
                </a:extLst>
              </p:cNvPr>
              <p:cNvGrpSpPr/>
              <p:nvPr/>
            </p:nvGrpSpPr>
            <p:grpSpPr>
              <a:xfrm>
                <a:off x="11532842" y="384003"/>
                <a:ext cx="227866" cy="245618"/>
                <a:chOff x="12619843" y="1120419"/>
                <a:chExt cx="414641" cy="414640"/>
              </a:xfrm>
            </p:grpSpPr>
            <p:sp>
              <p:nvSpPr>
                <p:cNvPr id="19" name="Ellipse 18">
                  <a:extLst>
                    <a:ext uri="{FF2B5EF4-FFF2-40B4-BE49-F238E27FC236}">
                      <a16:creationId xmlns:a16="http://schemas.microsoft.com/office/drawing/2014/main" id="{11D0684A-DEB0-4546-A88D-92A9F472C4B9}"/>
                    </a:ext>
                  </a:extLst>
                </p:cNvPr>
                <p:cNvSpPr/>
                <p:nvPr/>
              </p:nvSpPr>
              <p:spPr>
                <a:xfrm>
                  <a:off x="12625489" y="1122976"/>
                  <a:ext cx="396000" cy="396000"/>
                </a:xfrm>
                <a:prstGeom prst="ellipse">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Kreis mit Pfeil nach links mit einfarbiger Füllung">
                  <a:extLst>
                    <a:ext uri="{FF2B5EF4-FFF2-40B4-BE49-F238E27FC236}">
                      <a16:creationId xmlns:a16="http://schemas.microsoft.com/office/drawing/2014/main" id="{0922C70C-FB53-48CA-90BF-72B6DC8F91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2619843" y="1120419"/>
                  <a:ext cx="414641" cy="414640"/>
                </a:xfrm>
                <a:prstGeom prst="rect">
                  <a:avLst/>
                </a:prstGeom>
              </p:spPr>
            </p:pic>
          </p:grpSp>
        </p:grpSp>
      </p:grpSp>
      <p:graphicFrame>
        <p:nvGraphicFramePr>
          <p:cNvPr id="80" name="Tabelle 4">
            <a:extLst>
              <a:ext uri="{FF2B5EF4-FFF2-40B4-BE49-F238E27FC236}">
                <a16:creationId xmlns:a16="http://schemas.microsoft.com/office/drawing/2014/main" id="{8C2B61EA-7768-48BB-A4FA-7796FFC4D592}"/>
              </a:ext>
            </a:extLst>
          </p:cNvPr>
          <p:cNvGraphicFramePr>
            <a:graphicFrameLocks noGrp="1"/>
          </p:cNvGraphicFramePr>
          <p:nvPr/>
        </p:nvGraphicFramePr>
        <p:xfrm>
          <a:off x="304977" y="5078439"/>
          <a:ext cx="3348240" cy="1315797"/>
        </p:xfrm>
        <a:graphic>
          <a:graphicData uri="http://schemas.openxmlformats.org/drawingml/2006/table">
            <a:tbl>
              <a:tblPr firstRow="1" bandRow="1">
                <a:tableStyleId>{5C22544A-7EE6-4342-B048-85BDC9FD1C3A}</a:tableStyleId>
              </a:tblPr>
              <a:tblGrid>
                <a:gridCol w="1221664">
                  <a:extLst>
                    <a:ext uri="{9D8B030D-6E8A-4147-A177-3AD203B41FA5}">
                      <a16:colId xmlns:a16="http://schemas.microsoft.com/office/drawing/2014/main" val="2991778072"/>
                    </a:ext>
                  </a:extLst>
                </a:gridCol>
                <a:gridCol w="2126576">
                  <a:extLst>
                    <a:ext uri="{9D8B030D-6E8A-4147-A177-3AD203B41FA5}">
                      <a16:colId xmlns:a16="http://schemas.microsoft.com/office/drawing/2014/main" val="293995898"/>
                    </a:ext>
                  </a:extLst>
                </a:gridCol>
              </a:tblGrid>
              <a:tr h="438599">
                <a:tc>
                  <a:txBody>
                    <a:bodyPr/>
                    <a:lstStyle/>
                    <a:p>
                      <a:r>
                        <a:rPr lang="de-DE" sz="1600" b="0" err="1">
                          <a:solidFill>
                            <a:schemeClr val="tx1"/>
                          </a:solidFill>
                          <a:latin typeface="Helvetica" panose="020B0604020202020204" pitchFamily="34" charset="0"/>
                          <a:cs typeface="Helvetica" panose="020B0604020202020204" pitchFamily="34" charset="0"/>
                        </a:rPr>
                        <a:t>Shiptype</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Tan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438599">
                <a:tc>
                  <a:txBody>
                    <a:bodyPr/>
                    <a:lstStyle/>
                    <a:p>
                      <a:r>
                        <a:rPr lang="de-DE" sz="1600" b="0">
                          <a:solidFill>
                            <a:schemeClr val="tx1"/>
                          </a:solidFill>
                          <a:latin typeface="Helvetica" panose="020B0604020202020204" pitchFamily="34" charset="0"/>
                          <a:cs typeface="Helvetica" panose="020B0604020202020204" pitchFamily="34" charset="0"/>
                        </a:rPr>
                        <a:t>Wid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438599">
                <a:tc>
                  <a:txBody>
                    <a:bodyPr/>
                    <a:lstStyle/>
                    <a:p>
                      <a:r>
                        <a:rPr lang="de-DE" sz="1600" b="0" err="1">
                          <a:solidFill>
                            <a:schemeClr val="tx1"/>
                          </a:solidFill>
                          <a:latin typeface="Helvetica" panose="020B0604020202020204" pitchFamily="34" charset="0"/>
                          <a:cs typeface="Helvetica" panose="020B0604020202020204" pitchFamily="34" charset="0"/>
                        </a:rPr>
                        <a:t>Length</a:t>
                      </a:r>
                      <a:r>
                        <a:rPr lang="de-DE" sz="16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600" b="0" kern="1200">
                          <a:solidFill>
                            <a:schemeClr val="tx1"/>
                          </a:solidFill>
                          <a:latin typeface="Helvetica" panose="020B0604020202020204" pitchFamily="34" charset="0"/>
                          <a:ea typeface="+mn-ea"/>
                          <a:cs typeface="Helvetica" panose="020B0604020202020204" pitchFamily="34" charset="0"/>
                        </a:rPr>
                        <a: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504668"/>
                  </a:ext>
                </a:extLst>
              </a:tr>
            </a:tbl>
          </a:graphicData>
        </a:graphic>
      </p:graphicFrame>
      <p:sp>
        <p:nvSpPr>
          <p:cNvPr id="94" name="Rechteck: obere Ecken abgerundet 93">
            <a:extLst>
              <a:ext uri="{FF2B5EF4-FFF2-40B4-BE49-F238E27FC236}">
                <a16:creationId xmlns:a16="http://schemas.microsoft.com/office/drawing/2014/main" id="{C1C2F33D-FA9D-4762-A2B8-6FEE923FBE94}"/>
              </a:ext>
            </a:extLst>
          </p:cNvPr>
          <p:cNvSpPr/>
          <p:nvPr/>
        </p:nvSpPr>
        <p:spPr>
          <a:xfrm>
            <a:off x="131808" y="4533070"/>
            <a:ext cx="3757021"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9" name="Grafik 88" descr="Lenkrad Silhouette">
            <a:extLst>
              <a:ext uri="{FF2B5EF4-FFF2-40B4-BE49-F238E27FC236}">
                <a16:creationId xmlns:a16="http://schemas.microsoft.com/office/drawing/2014/main" id="{8E214D5F-F575-4CF7-ADA2-15375B544B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8706" y="4605281"/>
            <a:ext cx="349592" cy="349592"/>
          </a:xfrm>
          <a:prstGeom prst="rect">
            <a:avLst/>
          </a:prstGeom>
        </p:spPr>
      </p:pic>
      <p:sp>
        <p:nvSpPr>
          <p:cNvPr id="95" name="Textfeld 94">
            <a:extLst>
              <a:ext uri="{FF2B5EF4-FFF2-40B4-BE49-F238E27FC236}">
                <a16:creationId xmlns:a16="http://schemas.microsoft.com/office/drawing/2014/main" id="{2D87C623-723B-4BF4-9C5C-E72B5DF67502}"/>
              </a:ext>
            </a:extLst>
          </p:cNvPr>
          <p:cNvSpPr txBox="1"/>
          <p:nvPr/>
        </p:nvSpPr>
        <p:spPr>
          <a:xfrm>
            <a:off x="758563" y="4589673"/>
            <a:ext cx="2952551" cy="338554"/>
          </a:xfrm>
          <a:prstGeom prst="rect">
            <a:avLst/>
          </a:prstGeom>
          <a:noFill/>
        </p:spPr>
        <p:txBody>
          <a:bodyPr wrap="square" rtlCol="0">
            <a:spAutoFit/>
          </a:bodyPr>
          <a:lstStyle/>
          <a:p>
            <a:r>
              <a:rPr lang="de-DE" sz="1600" u="sng" err="1">
                <a:solidFill>
                  <a:schemeClr val="bg1">
                    <a:lumMod val="75000"/>
                  </a:schemeClr>
                </a:solidFill>
                <a:latin typeface="Helvetica" panose="020B0604020202020204" pitchFamily="34" charset="0"/>
                <a:cs typeface="Helvetica" panose="020B0604020202020204" pitchFamily="34" charset="0"/>
              </a:rPr>
              <a:t>Specific</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ship</a:t>
            </a:r>
            <a:r>
              <a:rPr lang="de-DE" sz="1600" u="sng">
                <a:solidFill>
                  <a:schemeClr val="bg1">
                    <a:lumMod val="75000"/>
                  </a:schemeClr>
                </a:solidFill>
                <a:latin typeface="Helvetica" panose="020B0604020202020204" pitchFamily="34" charset="0"/>
                <a:cs typeface="Helvetica" panose="020B0604020202020204" pitchFamily="34" charset="0"/>
              </a:rPr>
              <a:t> </a:t>
            </a:r>
            <a:r>
              <a:rPr lang="de-DE" sz="1600" u="sng" err="1">
                <a:solidFill>
                  <a:schemeClr val="bg1">
                    <a:lumMod val="75000"/>
                  </a:schemeClr>
                </a:solidFill>
                <a:latin typeface="Helvetica" panose="020B0604020202020204" pitchFamily="34" charset="0"/>
                <a:cs typeface="Helvetica" panose="020B0604020202020204" pitchFamily="34" charset="0"/>
              </a:rPr>
              <a:t>information</a:t>
            </a:r>
            <a:endParaRPr lang="de-DE" sz="1600" u="sng">
              <a:solidFill>
                <a:schemeClr val="bg1">
                  <a:lumMod val="75000"/>
                </a:schemeClr>
              </a:solidFill>
              <a:latin typeface="Helvetica" panose="020B0604020202020204" pitchFamily="34" charset="0"/>
              <a:cs typeface="Helvetica" panose="020B0604020202020204" pitchFamily="34" charset="0"/>
            </a:endParaRPr>
          </a:p>
        </p:txBody>
      </p:sp>
      <p:sp>
        <p:nvSpPr>
          <p:cNvPr id="65" name="Rechteck: abgerundete Ecken 64">
            <a:extLst>
              <a:ext uri="{FF2B5EF4-FFF2-40B4-BE49-F238E27FC236}">
                <a16:creationId xmlns:a16="http://schemas.microsoft.com/office/drawing/2014/main" id="{29521579-A50C-454E-8123-1EF557EA032B}"/>
              </a:ext>
            </a:extLst>
          </p:cNvPr>
          <p:cNvSpPr/>
          <p:nvPr/>
        </p:nvSpPr>
        <p:spPr>
          <a:xfrm>
            <a:off x="124895" y="782661"/>
            <a:ext cx="3763588" cy="3666352"/>
          </a:xfrm>
          <a:prstGeom prst="roundRect">
            <a:avLst>
              <a:gd name="adj" fmla="val 7775"/>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aphicFrame>
        <p:nvGraphicFramePr>
          <p:cNvPr id="81" name="Tabelle 4">
            <a:extLst>
              <a:ext uri="{FF2B5EF4-FFF2-40B4-BE49-F238E27FC236}">
                <a16:creationId xmlns:a16="http://schemas.microsoft.com/office/drawing/2014/main" id="{218988A1-B80C-4254-8982-2D8B67B05D1D}"/>
              </a:ext>
            </a:extLst>
          </p:cNvPr>
          <p:cNvGraphicFramePr>
            <a:graphicFrameLocks noGrp="1"/>
          </p:cNvGraphicFramePr>
          <p:nvPr/>
        </p:nvGraphicFramePr>
        <p:xfrm>
          <a:off x="266969" y="1673241"/>
          <a:ext cx="3387468" cy="2698323"/>
        </p:xfrm>
        <a:graphic>
          <a:graphicData uri="http://schemas.openxmlformats.org/drawingml/2006/table">
            <a:tbl>
              <a:tblPr firstRow="1" bandRow="1">
                <a:tableStyleId>{5C22544A-7EE6-4342-B048-85BDC9FD1C3A}</a:tableStyleId>
              </a:tblPr>
              <a:tblGrid>
                <a:gridCol w="1617249">
                  <a:extLst>
                    <a:ext uri="{9D8B030D-6E8A-4147-A177-3AD203B41FA5}">
                      <a16:colId xmlns:a16="http://schemas.microsoft.com/office/drawing/2014/main" val="2991778072"/>
                    </a:ext>
                  </a:extLst>
                </a:gridCol>
                <a:gridCol w="1770219">
                  <a:extLst>
                    <a:ext uri="{9D8B030D-6E8A-4147-A177-3AD203B41FA5}">
                      <a16:colId xmlns:a16="http://schemas.microsoft.com/office/drawing/2014/main" val="293995898"/>
                    </a:ext>
                  </a:extLst>
                </a:gridCol>
              </a:tblGrid>
              <a:tr h="563367">
                <a:tc>
                  <a:txBody>
                    <a:bodyPr/>
                    <a:lstStyle/>
                    <a:p>
                      <a:r>
                        <a:rPr lang="de-DE" sz="1200" b="0">
                          <a:solidFill>
                            <a:schemeClr val="tx1"/>
                          </a:solidFill>
                          <a:latin typeface="Helvetica" panose="020B0604020202020204" pitchFamily="34" charset="0"/>
                          <a:cs typeface="Helvetica" panose="020B0604020202020204" pitchFamily="34" charset="0"/>
                        </a:rPr>
                        <a:t>Star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2021-07-15 6:00AM</a:t>
                      </a:r>
                      <a:br>
                        <a:rPr lang="de-DE" sz="1200" b="0" kern="1200">
                          <a:solidFill>
                            <a:schemeClr val="tx1"/>
                          </a:solidFill>
                          <a:latin typeface="Helvetica" panose="020B0604020202020204" pitchFamily="34" charset="0"/>
                          <a:ea typeface="+mn-ea"/>
                          <a:cs typeface="Helvetica" panose="020B0604020202020204" pitchFamily="34" charset="0"/>
                        </a:rPr>
                      </a:br>
                      <a:r>
                        <a:rPr lang="de-DE" sz="1200" b="0" kern="1200">
                          <a:solidFill>
                            <a:schemeClr val="tx1"/>
                          </a:solidFill>
                          <a:latin typeface="Helvetica" panose="020B0604020202020204" pitchFamily="34" charset="0"/>
                          <a:ea typeface="+mn-ea"/>
                          <a:cs typeface="Helvetica" panose="020B0604020202020204" pitchFamily="34" charset="0"/>
                        </a:rPr>
                        <a:t>Frankfurt a. 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estin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Rotterd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596949"/>
                  </a:ext>
                </a:extLst>
              </a:tr>
              <a:tr h="391408">
                <a:tc>
                  <a:txBody>
                    <a:bodyPr/>
                    <a:lstStyle/>
                    <a:p>
                      <a:r>
                        <a:rPr lang="de-DE" sz="1200" b="0">
                          <a:solidFill>
                            <a:schemeClr val="tx1"/>
                          </a:solidFill>
                          <a:latin typeface="Helvetica" panose="020B0604020202020204" pitchFamily="34" charset="0"/>
                          <a:cs typeface="Helvetica" panose="020B0604020202020204" pitchFamily="34" charset="0"/>
                        </a:rPr>
                        <a:t>Dock </a:t>
                      </a:r>
                      <a:r>
                        <a:rPr lang="de-DE" sz="1200" b="0" err="1">
                          <a:solidFill>
                            <a:schemeClr val="tx1"/>
                          </a:solidFill>
                          <a:latin typeface="Helvetica" panose="020B0604020202020204" pitchFamily="34" charset="0"/>
                          <a:cs typeface="Helvetica" panose="020B0604020202020204" pitchFamily="34" charset="0"/>
                        </a:rPr>
                        <a:t>planned</a:t>
                      </a:r>
                      <a:endParaRPr lang="de-DE" sz="1200" b="0">
                        <a:solidFill>
                          <a:schemeClr val="tx1"/>
                        </a:solidFill>
                        <a:latin typeface="Helvetica" panose="020B0604020202020204" pitchFamily="34" charset="0"/>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NLRTDOCK1209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957981"/>
                  </a:ext>
                </a:extLst>
              </a:tr>
              <a:tr h="676070">
                <a:tc>
                  <a:txBody>
                    <a:bodyPr/>
                    <a:lstStyle/>
                    <a:p>
                      <a:r>
                        <a:rPr lang="de-DE" sz="1200" b="0">
                          <a:solidFill>
                            <a:schemeClr val="tx1"/>
                          </a:solidFill>
                          <a:latin typeface="Helvetica" panose="020B0604020202020204" pitchFamily="34" charset="0"/>
                          <a:cs typeface="Helvetica" panose="020B0604020202020204" pitchFamily="34" charset="0"/>
                        </a:rPr>
                        <a:t>Outstanding </a:t>
                      </a:r>
                      <a:r>
                        <a:rPr lang="de-DE" sz="1200" b="0" err="1">
                          <a:solidFill>
                            <a:schemeClr val="tx1"/>
                          </a:solidFill>
                          <a:latin typeface="Helvetica" panose="020B0604020202020204" pitchFamily="34" charset="0"/>
                          <a:cs typeface="Helvetica" panose="020B0604020202020204" pitchFamily="34" charset="0"/>
                        </a:rPr>
                        <a:t>Distance</a:t>
                      </a:r>
                      <a:r>
                        <a:rPr lang="de-DE" sz="1200" b="0">
                          <a:solidFill>
                            <a:schemeClr val="tx1"/>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00 N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6296507"/>
                  </a:ext>
                </a:extLst>
              </a:tr>
              <a:tr h="676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a:solidFill>
                            <a:schemeClr val="tx1"/>
                          </a:solidFill>
                          <a:latin typeface="Helvetica" panose="020B0604020202020204" pitchFamily="34" charset="0"/>
                          <a:cs typeface="Helvetica" panose="020B0604020202020204" pitchFamily="34" charset="0"/>
                        </a:rPr>
                        <a:t>Outstanding Stop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Helvetica" panose="020B0604020202020204" pitchFamily="34" charset="0"/>
                          <a:ea typeface="+mn-ea"/>
                          <a:cs typeface="Helvetica" panose="020B0604020202020204" pitchFamily="34" charset="0"/>
                        </a:rPr>
                        <a:t>1 (</a:t>
                      </a:r>
                      <a:r>
                        <a:rPr lang="de-DE" sz="1200" b="0" kern="1200" err="1">
                          <a:solidFill>
                            <a:schemeClr val="tx1"/>
                          </a:solidFill>
                          <a:latin typeface="Helvetica" panose="020B0604020202020204" pitchFamily="34" charset="0"/>
                          <a:ea typeface="+mn-ea"/>
                          <a:cs typeface="Helvetica" panose="020B0604020202020204" pitchFamily="34" charset="0"/>
                        </a:rPr>
                        <a:t>floodgate</a:t>
                      </a:r>
                      <a:r>
                        <a:rPr lang="de-DE" sz="1200" b="0" kern="1200">
                          <a:solidFill>
                            <a:schemeClr val="tx1"/>
                          </a:solidFill>
                          <a:latin typeface="Helvetica" panose="020B0604020202020204" pitchFamily="34" charset="0"/>
                          <a:ea typeface="+mn-ea"/>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1485702"/>
                  </a:ext>
                </a:extLst>
              </a:tr>
            </a:tbl>
          </a:graphicData>
        </a:graphic>
      </p:graphicFrame>
      <p:sp>
        <p:nvSpPr>
          <p:cNvPr id="97" name="Rechteck: obere Ecken abgerundet 96">
            <a:extLst>
              <a:ext uri="{FF2B5EF4-FFF2-40B4-BE49-F238E27FC236}">
                <a16:creationId xmlns:a16="http://schemas.microsoft.com/office/drawing/2014/main" id="{B9E0DA7B-2F4F-4642-B1E5-47D3F7B28F32}"/>
              </a:ext>
            </a:extLst>
          </p:cNvPr>
          <p:cNvSpPr/>
          <p:nvPr/>
        </p:nvSpPr>
        <p:spPr>
          <a:xfrm>
            <a:off x="124895" y="759610"/>
            <a:ext cx="3756226" cy="920114"/>
          </a:xfrm>
          <a:prstGeom prst="round2SameRect">
            <a:avLst>
              <a:gd name="adj1" fmla="val 28719"/>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948CCE22-876E-45C9-9BDD-B145269198D0}"/>
              </a:ext>
            </a:extLst>
          </p:cNvPr>
          <p:cNvSpPr txBox="1"/>
          <p:nvPr/>
        </p:nvSpPr>
        <p:spPr>
          <a:xfrm>
            <a:off x="299115" y="931540"/>
            <a:ext cx="913032" cy="677108"/>
          </a:xfrm>
          <a:prstGeom prst="rect">
            <a:avLst/>
          </a:prstGeom>
          <a:noFill/>
        </p:spPr>
        <p:txBody>
          <a:bodyPr wrap="square" rtlCol="0">
            <a:spAutoFit/>
          </a:bodyPr>
          <a:lstStyle/>
          <a:p>
            <a:r>
              <a:rPr lang="de-DE" sz="1400" b="1">
                <a:solidFill>
                  <a:schemeClr val="bg1">
                    <a:lumMod val="75000"/>
                  </a:schemeClr>
                </a:solidFill>
                <a:latin typeface="Helvetica" panose="020B0604020202020204" pitchFamily="34" charset="0"/>
                <a:cs typeface="Helvetica" panose="020B0604020202020204" pitchFamily="34" charset="0"/>
              </a:rPr>
              <a:t>Input</a:t>
            </a:r>
          </a:p>
          <a:p>
            <a:r>
              <a:rPr lang="de-DE" sz="1200" err="1">
                <a:solidFill>
                  <a:schemeClr val="bg1">
                    <a:lumMod val="75000"/>
                  </a:schemeClr>
                </a:solidFill>
                <a:latin typeface="Helvetica" panose="020B0604020202020204" pitchFamily="34" charset="0"/>
                <a:cs typeface="Helvetica" panose="020B0604020202020204" pitchFamily="34" charset="0"/>
              </a:rPr>
              <a:t>Vessel</a:t>
            </a:r>
            <a:r>
              <a:rPr lang="de-DE" sz="1200">
                <a:solidFill>
                  <a:schemeClr val="bg1">
                    <a:lumMod val="75000"/>
                  </a:schemeClr>
                </a:solidFill>
                <a:latin typeface="Helvetica" panose="020B0604020202020204" pitchFamily="34" charset="0"/>
                <a:cs typeface="Helvetica" panose="020B0604020202020204" pitchFamily="34" charset="0"/>
              </a:rPr>
              <a:t> Name:</a:t>
            </a:r>
          </a:p>
        </p:txBody>
      </p:sp>
      <p:sp>
        <p:nvSpPr>
          <p:cNvPr id="13" name="Rechteck: abgerundete Ecken 12">
            <a:extLst>
              <a:ext uri="{FF2B5EF4-FFF2-40B4-BE49-F238E27FC236}">
                <a16:creationId xmlns:a16="http://schemas.microsoft.com/office/drawing/2014/main" id="{54C6DF2F-7EDD-407F-9A53-3A8DBD5AA64F}"/>
              </a:ext>
            </a:extLst>
          </p:cNvPr>
          <p:cNvSpPr/>
          <p:nvPr/>
        </p:nvSpPr>
        <p:spPr>
          <a:xfrm>
            <a:off x="1048758" y="1002573"/>
            <a:ext cx="1823891" cy="525865"/>
          </a:xfrm>
          <a:prstGeom prst="roundRect">
            <a:avLst/>
          </a:prstGeom>
          <a:solidFill>
            <a:schemeClr val="bg1">
              <a:lumMod val="95000"/>
            </a:schemeClr>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latin typeface="Helvetica" panose="020B0604020202020204" pitchFamily="34" charset="0"/>
                <a:cs typeface="Helvetica" panose="020B0604020202020204" pitchFamily="34" charset="0"/>
              </a:rPr>
              <a:t>VESSEL 10</a:t>
            </a:r>
          </a:p>
        </p:txBody>
      </p:sp>
      <p:grpSp>
        <p:nvGrpSpPr>
          <p:cNvPr id="73" name="Gruppieren 72">
            <a:extLst>
              <a:ext uri="{FF2B5EF4-FFF2-40B4-BE49-F238E27FC236}">
                <a16:creationId xmlns:a16="http://schemas.microsoft.com/office/drawing/2014/main" id="{B6F753FD-2BBD-420B-AE52-0ABB9CC90166}"/>
              </a:ext>
            </a:extLst>
          </p:cNvPr>
          <p:cNvGrpSpPr/>
          <p:nvPr/>
        </p:nvGrpSpPr>
        <p:grpSpPr>
          <a:xfrm>
            <a:off x="3094310" y="1026690"/>
            <a:ext cx="479796" cy="486808"/>
            <a:chOff x="11354045" y="59347"/>
            <a:chExt cx="604479" cy="656522"/>
          </a:xfrm>
        </p:grpSpPr>
        <p:sp>
          <p:nvSpPr>
            <p:cNvPr id="75" name="Rechteck 74">
              <a:extLst>
                <a:ext uri="{FF2B5EF4-FFF2-40B4-BE49-F238E27FC236}">
                  <a16:creationId xmlns:a16="http://schemas.microsoft.com/office/drawing/2014/main" id="{0691EBA9-5212-41C2-8FBE-1115B8E86F11}"/>
                </a:ext>
              </a:extLst>
            </p:cNvPr>
            <p:cNvSpPr/>
            <p:nvPr/>
          </p:nvSpPr>
          <p:spPr>
            <a:xfrm>
              <a:off x="11577090" y="394513"/>
              <a:ext cx="129832" cy="2597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77" name="Ellipse 76">
              <a:extLst>
                <a:ext uri="{FF2B5EF4-FFF2-40B4-BE49-F238E27FC236}">
                  <a16:creationId xmlns:a16="http://schemas.microsoft.com/office/drawing/2014/main" id="{44A35A39-1732-4FC7-AD2C-F6AFF809833D}"/>
                </a:ext>
              </a:extLst>
            </p:cNvPr>
            <p:cNvSpPr/>
            <p:nvPr/>
          </p:nvSpPr>
          <p:spPr>
            <a:xfrm>
              <a:off x="11354045" y="59347"/>
              <a:ext cx="604479" cy="656522"/>
            </a:xfrm>
            <a:prstGeom prst="ellipse">
              <a:avLst/>
            </a:prstGeom>
            <a:solidFill>
              <a:srgbClr val="990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grpSp>
      <p:sp>
        <p:nvSpPr>
          <p:cNvPr id="79" name="Textfeld 78">
            <a:extLst>
              <a:ext uri="{FF2B5EF4-FFF2-40B4-BE49-F238E27FC236}">
                <a16:creationId xmlns:a16="http://schemas.microsoft.com/office/drawing/2014/main" id="{3BC8BB24-B604-4A29-B487-6BB2B809ECE5}"/>
              </a:ext>
            </a:extLst>
          </p:cNvPr>
          <p:cNvSpPr txBox="1"/>
          <p:nvPr/>
        </p:nvSpPr>
        <p:spPr>
          <a:xfrm>
            <a:off x="3079312" y="1100817"/>
            <a:ext cx="586951" cy="338554"/>
          </a:xfrm>
          <a:prstGeom prst="rect">
            <a:avLst/>
          </a:prstGeom>
          <a:noFill/>
        </p:spPr>
        <p:txBody>
          <a:bodyPr wrap="square" rtlCol="0">
            <a:spAutoFit/>
          </a:bodyPr>
          <a:lstStyle/>
          <a:p>
            <a:r>
              <a:rPr lang="de-DE" sz="1600" b="1">
                <a:solidFill>
                  <a:schemeClr val="bg1">
                    <a:lumMod val="75000"/>
                  </a:schemeClr>
                </a:solidFill>
                <a:latin typeface="Helvetica" panose="020B0604020202020204" pitchFamily="34" charset="0"/>
                <a:cs typeface="Helvetica" panose="020B0604020202020204" pitchFamily="34" charset="0"/>
              </a:rPr>
              <a:t>Go!</a:t>
            </a:r>
          </a:p>
        </p:txBody>
      </p:sp>
      <p:pic>
        <p:nvPicPr>
          <p:cNvPr id="55" name="Grafik 54" descr="Cursor mit einfarbiger Füllung">
            <a:extLst>
              <a:ext uri="{FF2B5EF4-FFF2-40B4-BE49-F238E27FC236}">
                <a16:creationId xmlns:a16="http://schemas.microsoft.com/office/drawing/2014/main" id="{867FDEC3-C9DC-4AFA-B093-FD3D8D5BDE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259539">
            <a:off x="3310603" y="1296024"/>
            <a:ext cx="434948" cy="434948"/>
          </a:xfrm>
          <a:prstGeom prst="rect">
            <a:avLst/>
          </a:prstGeom>
        </p:spPr>
      </p:pic>
      <p:sp>
        <p:nvSpPr>
          <p:cNvPr id="64" name="Rechteck: abgerundete Ecken 63">
            <a:extLst>
              <a:ext uri="{FF2B5EF4-FFF2-40B4-BE49-F238E27FC236}">
                <a16:creationId xmlns:a16="http://schemas.microsoft.com/office/drawing/2014/main" id="{BA19356F-7A56-4060-9E18-0AE520282805}"/>
              </a:ext>
            </a:extLst>
          </p:cNvPr>
          <p:cNvSpPr/>
          <p:nvPr/>
        </p:nvSpPr>
        <p:spPr>
          <a:xfrm>
            <a:off x="3963967" y="784417"/>
            <a:ext cx="4257901" cy="895307"/>
          </a:xfrm>
          <a:prstGeom prst="roundRect">
            <a:avLst>
              <a:gd name="adj" fmla="val 22341"/>
            </a:avLst>
          </a:prstGeom>
          <a:solidFill>
            <a:srgbClr val="2134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37" name="Textfeld 36">
            <a:extLst>
              <a:ext uri="{FF2B5EF4-FFF2-40B4-BE49-F238E27FC236}">
                <a16:creationId xmlns:a16="http://schemas.microsoft.com/office/drawing/2014/main" id="{3CC3761C-DAF6-4249-B031-35F1D072D1C2}"/>
              </a:ext>
            </a:extLst>
          </p:cNvPr>
          <p:cNvSpPr txBox="1"/>
          <p:nvPr/>
        </p:nvSpPr>
        <p:spPr>
          <a:xfrm>
            <a:off x="4013378" y="905216"/>
            <a:ext cx="1756358" cy="646331"/>
          </a:xfrm>
          <a:prstGeom prst="rect">
            <a:avLst/>
          </a:prstGeom>
          <a:noFill/>
        </p:spPr>
        <p:txBody>
          <a:bodyPr wrap="square" rtlCol="0">
            <a:spAutoFit/>
          </a:bodyPr>
          <a:lstStyle/>
          <a:p>
            <a:r>
              <a:rPr lang="de-DE" err="1">
                <a:solidFill>
                  <a:schemeClr val="bg1">
                    <a:lumMod val="75000"/>
                  </a:schemeClr>
                </a:solidFill>
                <a:latin typeface="Helvetica" panose="020B0604020202020204" pitchFamily="34" charset="0"/>
                <a:cs typeface="Helvetica" panose="020B0604020202020204" pitchFamily="34" charset="0"/>
              </a:rPr>
              <a:t>Estimated</a:t>
            </a:r>
            <a:r>
              <a:rPr lang="de-DE">
                <a:solidFill>
                  <a:schemeClr val="bg1">
                    <a:lumMod val="75000"/>
                  </a:schemeClr>
                </a:solidFill>
                <a:latin typeface="Helvetica" panose="020B0604020202020204" pitchFamily="34" charset="0"/>
                <a:cs typeface="Helvetica" panose="020B0604020202020204" pitchFamily="34" charset="0"/>
              </a:rPr>
              <a:t> Time </a:t>
            </a:r>
            <a:r>
              <a:rPr lang="de-DE" err="1">
                <a:solidFill>
                  <a:schemeClr val="bg1">
                    <a:lumMod val="75000"/>
                  </a:schemeClr>
                </a:solidFill>
                <a:latin typeface="Helvetica" panose="020B0604020202020204" pitchFamily="34" charset="0"/>
                <a:cs typeface="Helvetica" panose="020B0604020202020204" pitchFamily="34" charset="0"/>
              </a:rPr>
              <a:t>of</a:t>
            </a:r>
            <a:r>
              <a:rPr lang="de-DE">
                <a:solidFill>
                  <a:schemeClr val="bg1">
                    <a:lumMod val="75000"/>
                  </a:schemeClr>
                </a:solidFill>
                <a:latin typeface="Helvetica" panose="020B0604020202020204" pitchFamily="34" charset="0"/>
                <a:cs typeface="Helvetica" panose="020B0604020202020204" pitchFamily="34" charset="0"/>
              </a:rPr>
              <a:t> Arrival: </a:t>
            </a:r>
          </a:p>
        </p:txBody>
      </p:sp>
      <p:sp>
        <p:nvSpPr>
          <p:cNvPr id="38" name="Textfeld 37">
            <a:extLst>
              <a:ext uri="{FF2B5EF4-FFF2-40B4-BE49-F238E27FC236}">
                <a16:creationId xmlns:a16="http://schemas.microsoft.com/office/drawing/2014/main" id="{B39E70F3-DA01-469A-8579-DF16BF243794}"/>
              </a:ext>
            </a:extLst>
          </p:cNvPr>
          <p:cNvSpPr txBox="1"/>
          <p:nvPr/>
        </p:nvSpPr>
        <p:spPr>
          <a:xfrm>
            <a:off x="5821982" y="795023"/>
            <a:ext cx="2459210" cy="830997"/>
          </a:xfrm>
          <a:prstGeom prst="rect">
            <a:avLst/>
          </a:prstGeom>
          <a:noFill/>
        </p:spPr>
        <p:txBody>
          <a:bodyPr wrap="square">
            <a:spAutoFit/>
          </a:bodyPr>
          <a:lstStyle/>
          <a:p>
            <a:r>
              <a:rPr lang="de-DE" sz="2800">
                <a:solidFill>
                  <a:schemeClr val="bg1">
                    <a:lumMod val="75000"/>
                  </a:schemeClr>
                </a:solidFill>
                <a:latin typeface="Helvetica" panose="020B0604020202020204" pitchFamily="34" charset="0"/>
                <a:cs typeface="Helvetica" panose="020B0604020202020204" pitchFamily="34" charset="0"/>
              </a:rPr>
              <a:t>01:30 AM </a:t>
            </a:r>
          </a:p>
          <a:p>
            <a:r>
              <a:rPr lang="de-DE" sz="2000">
                <a:solidFill>
                  <a:schemeClr val="bg1">
                    <a:lumMod val="75000"/>
                  </a:schemeClr>
                </a:solidFill>
                <a:latin typeface="Helvetica" panose="020B0604020202020204" pitchFamily="34" charset="0"/>
                <a:cs typeface="Helvetica" panose="020B0604020202020204" pitchFamily="34" charset="0"/>
              </a:rPr>
              <a:t>2021-07-17</a:t>
            </a:r>
          </a:p>
        </p:txBody>
      </p:sp>
      <p:sp>
        <p:nvSpPr>
          <p:cNvPr id="68" name="Rechteck: abgerundete Ecken 67">
            <a:extLst>
              <a:ext uri="{FF2B5EF4-FFF2-40B4-BE49-F238E27FC236}">
                <a16:creationId xmlns:a16="http://schemas.microsoft.com/office/drawing/2014/main" id="{DD63FDD9-3CF4-4835-B20C-1D51FF012EFB}"/>
              </a:ext>
            </a:extLst>
          </p:cNvPr>
          <p:cNvSpPr/>
          <p:nvPr/>
        </p:nvSpPr>
        <p:spPr>
          <a:xfrm>
            <a:off x="3982259" y="1747729"/>
            <a:ext cx="4257901" cy="4727290"/>
          </a:xfrm>
          <a:prstGeom prst="roundRect">
            <a:avLst>
              <a:gd name="adj" fmla="val 8676"/>
            </a:avLst>
          </a:prstGeom>
          <a:solidFill>
            <a:srgbClr val="8000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100" name="Textfeld 99">
            <a:extLst>
              <a:ext uri="{FF2B5EF4-FFF2-40B4-BE49-F238E27FC236}">
                <a16:creationId xmlns:a16="http://schemas.microsoft.com/office/drawing/2014/main" id="{6E0EF5F2-4025-4A36-9C0C-1DD09EC012A9}"/>
              </a:ext>
            </a:extLst>
          </p:cNvPr>
          <p:cNvSpPr txBox="1"/>
          <p:nvPr/>
        </p:nvSpPr>
        <p:spPr>
          <a:xfrm>
            <a:off x="4462107" y="1850077"/>
            <a:ext cx="3387619" cy="461665"/>
          </a:xfrm>
          <a:prstGeom prst="rect">
            <a:avLst/>
          </a:prstGeom>
          <a:noFill/>
        </p:spPr>
        <p:txBody>
          <a:bodyPr wrap="square" rtlCol="0">
            <a:spAutoFit/>
          </a:bodyPr>
          <a:lstStyle/>
          <a:p>
            <a:r>
              <a:rPr lang="de-DE" sz="2400" u="sng">
                <a:solidFill>
                  <a:schemeClr val="bg1">
                    <a:lumMod val="75000"/>
                  </a:schemeClr>
                </a:solidFill>
                <a:latin typeface="Helvetica" panose="020B0604020202020204" pitchFamily="34" charset="0"/>
                <a:cs typeface="Helvetica" panose="020B0604020202020204" pitchFamily="34" charset="0"/>
              </a:rPr>
              <a:t>ALERT INFORMATION</a:t>
            </a:r>
          </a:p>
        </p:txBody>
      </p:sp>
      <p:graphicFrame>
        <p:nvGraphicFramePr>
          <p:cNvPr id="101" name="Tabelle 4">
            <a:extLst>
              <a:ext uri="{FF2B5EF4-FFF2-40B4-BE49-F238E27FC236}">
                <a16:creationId xmlns:a16="http://schemas.microsoft.com/office/drawing/2014/main" id="{7418C3E7-1AC1-46B5-9C14-5FD27DE58DBC}"/>
              </a:ext>
            </a:extLst>
          </p:cNvPr>
          <p:cNvGraphicFramePr>
            <a:graphicFrameLocks noGrp="1"/>
          </p:cNvGraphicFramePr>
          <p:nvPr/>
        </p:nvGraphicFramePr>
        <p:xfrm>
          <a:off x="4663298" y="2384219"/>
          <a:ext cx="3513733" cy="1229474"/>
        </p:xfrm>
        <a:graphic>
          <a:graphicData uri="http://schemas.openxmlformats.org/drawingml/2006/table">
            <a:tbl>
              <a:tblPr firstRow="1" bandRow="1">
                <a:tableStyleId>{5C22544A-7EE6-4342-B048-85BDC9FD1C3A}</a:tableStyleId>
              </a:tblPr>
              <a:tblGrid>
                <a:gridCol w="907632">
                  <a:extLst>
                    <a:ext uri="{9D8B030D-6E8A-4147-A177-3AD203B41FA5}">
                      <a16:colId xmlns:a16="http://schemas.microsoft.com/office/drawing/2014/main" val="2991778072"/>
                    </a:ext>
                  </a:extLst>
                </a:gridCol>
                <a:gridCol w="2606101">
                  <a:extLst>
                    <a:ext uri="{9D8B030D-6E8A-4147-A177-3AD203B41FA5}">
                      <a16:colId xmlns:a16="http://schemas.microsoft.com/office/drawing/2014/main" val="293995898"/>
                    </a:ext>
                  </a:extLst>
                </a:gridCol>
              </a:tblGrid>
              <a:tr h="550496">
                <a:tc gridSpan="2">
                  <a:txBody>
                    <a:bodyPr/>
                    <a:lstStyle/>
                    <a:p>
                      <a:pPr marL="0" algn="l" defTabSz="914400" rtl="0" eaLnBrk="1" latinLnBrk="0" hangingPunct="1"/>
                      <a:r>
                        <a:rPr lang="de-DE" sz="1600" b="0" kern="1200">
                          <a:solidFill>
                            <a:srgbClr val="BFBFBF"/>
                          </a:solidFill>
                          <a:latin typeface="Helvetica" panose="020B0604020202020204" pitchFamily="34" charset="0"/>
                          <a:ea typeface="+mn-ea"/>
                          <a:cs typeface="Helvetica" panose="020B0604020202020204" pitchFamily="34" charset="0"/>
                        </a:rPr>
                        <a:t>Change of ETA:</a:t>
                      </a:r>
                      <a:br>
                        <a:rPr lang="de-DE" sz="1600" b="0" kern="1200">
                          <a:solidFill>
                            <a:srgbClr val="BFBFBF"/>
                          </a:solidFill>
                          <a:latin typeface="Helvetica" panose="020B0604020202020204" pitchFamily="34" charset="0"/>
                          <a:ea typeface="+mn-ea"/>
                          <a:cs typeface="Helvetica" panose="020B0604020202020204" pitchFamily="34" charset="0"/>
                        </a:rPr>
                      </a:br>
                      <a:r>
                        <a:rPr lang="de-DE" sz="1600" b="0" kern="1200">
                          <a:solidFill>
                            <a:srgbClr val="BFBFBF"/>
                          </a:solidFill>
                          <a:latin typeface="Helvetica" panose="020B0604020202020204" pitchFamily="34" charset="0"/>
                          <a:ea typeface="+mn-ea"/>
                          <a:cs typeface="Helvetica" panose="020B0604020202020204" pitchFamily="34" charset="0"/>
                        </a:rPr>
                        <a:t>previous ETA 11:30 PM, 2021-07-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r>
                        <a:rPr lang="de-DE" sz="1300" b="0" kern="1200">
                          <a:solidFill>
                            <a:srgbClr val="BFBFBF"/>
                          </a:solidFill>
                          <a:latin typeface="Helvetica" panose="020B0604020202020204" pitchFamily="34" charset="0"/>
                          <a:ea typeface="+mn-ea"/>
                          <a:cs typeface="Helvetica" panose="020B0604020202020204" pitchFamily="34" charset="0"/>
                        </a:rPr>
                        <a:t>Change </a:t>
                      </a:r>
                      <a:r>
                        <a:rPr lang="de-DE" sz="1300" b="0" kern="1200" err="1">
                          <a:solidFill>
                            <a:srgbClr val="BFBFBF"/>
                          </a:solidFill>
                          <a:latin typeface="Helvetica" panose="020B0604020202020204" pitchFamily="34" charset="0"/>
                          <a:ea typeface="+mn-ea"/>
                          <a:cs typeface="Helvetica" panose="020B0604020202020204" pitchFamily="34" charset="0"/>
                        </a:rPr>
                        <a:t>of</a:t>
                      </a:r>
                      <a:r>
                        <a:rPr lang="de-DE" sz="1300" b="0" kern="1200">
                          <a:solidFill>
                            <a:srgbClr val="BFBFBF"/>
                          </a:solidFill>
                          <a:latin typeface="Helvetica" panose="020B0604020202020204" pitchFamily="34" charset="0"/>
                          <a:ea typeface="+mn-ea"/>
                          <a:cs typeface="Helvetica" panose="020B0604020202020204" pitchFamily="34" charset="0"/>
                        </a:rPr>
                        <a:t> ETA, </a:t>
                      </a:r>
                      <a:r>
                        <a:rPr lang="de-DE" sz="1300" b="0" kern="1200" err="1">
                          <a:solidFill>
                            <a:srgbClr val="BFBFBF"/>
                          </a:solidFill>
                          <a:latin typeface="Helvetica" panose="020B0604020202020204" pitchFamily="34" charset="0"/>
                          <a:ea typeface="+mn-ea"/>
                          <a:cs typeface="Helvetica" panose="020B0604020202020204" pitchFamily="34" charset="0"/>
                        </a:rPr>
                        <a:t>previous</a:t>
                      </a:r>
                      <a:r>
                        <a:rPr lang="de-DE" sz="1300" b="0" kern="1200">
                          <a:solidFill>
                            <a:srgbClr val="BFBFBF"/>
                          </a:solidFill>
                          <a:latin typeface="Helvetica" panose="020B0604020202020204" pitchFamily="34" charset="0"/>
                          <a:ea typeface="+mn-ea"/>
                          <a:cs typeface="Helvetica" panose="020B0604020202020204" pitchFamily="34" charset="0"/>
                        </a:rPr>
                        <a:t> ETA 11:30 P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481902"/>
                  </a:ext>
                </a:extLst>
              </a:tr>
              <a:tr h="650354">
                <a:tc>
                  <a:txBody>
                    <a:bodyPr/>
                    <a:lstStyle/>
                    <a:p>
                      <a:r>
                        <a:rPr lang="de-DE" sz="1200" b="0">
                          <a:solidFill>
                            <a:schemeClr val="bg1">
                              <a:lumMod val="75000"/>
                            </a:schemeClr>
                          </a:solidFill>
                          <a:latin typeface="Helvetica" panose="020B0604020202020204" pitchFamily="34" charset="0"/>
                          <a:cs typeface="Helvetica" panose="020B0604020202020204" pitchFamily="34" charset="0"/>
                        </a:rPr>
                        <a:t>Possible </a:t>
                      </a:r>
                      <a:r>
                        <a:rPr lang="de-DE" sz="1200" b="0" err="1">
                          <a:solidFill>
                            <a:schemeClr val="bg1">
                              <a:lumMod val="75000"/>
                            </a:schemeClr>
                          </a:solidFill>
                          <a:latin typeface="Helvetica" panose="020B0604020202020204" pitchFamily="34" charset="0"/>
                          <a:cs typeface="Helvetica" panose="020B0604020202020204" pitchFamily="34" charset="0"/>
                        </a:rPr>
                        <a:t>cause</a:t>
                      </a:r>
                      <a:r>
                        <a:rPr lang="de-DE" sz="1200" b="0">
                          <a:solidFill>
                            <a:schemeClr val="bg1">
                              <a:lumMod val="75000"/>
                            </a:schemeClr>
                          </a:solidFill>
                          <a:latin typeface="Helvetica" panose="020B0604020202020204" pitchFamily="34" charset="0"/>
                          <a:cs typeface="Helvetica"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de-DE" sz="1200" b="0" kern="1200">
                          <a:solidFill>
                            <a:srgbClr val="BFBFBF"/>
                          </a:solidFill>
                          <a:latin typeface="Helvetica" panose="020B0604020202020204" pitchFamily="34" charset="0"/>
                          <a:ea typeface="+mn-ea"/>
                          <a:cs typeface="Helvetica" panose="020B0604020202020204" pitchFamily="34" charset="0"/>
                        </a:rPr>
                        <a:t>Stop2-Loading </a:t>
                      </a:r>
                      <a:r>
                        <a:rPr lang="de-DE" sz="1200" b="0" kern="1200" err="1">
                          <a:solidFill>
                            <a:srgbClr val="BFBFBF"/>
                          </a:solidFill>
                          <a:latin typeface="Helvetica" panose="020B0604020202020204" pitchFamily="34" charset="0"/>
                          <a:ea typeface="+mn-ea"/>
                          <a:cs typeface="Helvetica" panose="020B0604020202020204" pitchFamily="34" charset="0"/>
                        </a:rPr>
                        <a:t>took</a:t>
                      </a:r>
                      <a:r>
                        <a:rPr lang="de-DE" sz="1200" b="0" kern="1200">
                          <a:solidFill>
                            <a:srgbClr val="BFBFBF"/>
                          </a:solidFill>
                          <a:latin typeface="Helvetica" panose="020B0604020202020204" pitchFamily="34" charset="0"/>
                          <a:ea typeface="+mn-ea"/>
                          <a:cs typeface="Helvetica" panose="020B0604020202020204" pitchFamily="34" charset="0"/>
                        </a:rPr>
                        <a:t> longer </a:t>
                      </a:r>
                      <a:r>
                        <a:rPr lang="de-DE" sz="1200" b="0" kern="1200" err="1">
                          <a:solidFill>
                            <a:srgbClr val="BFBFBF"/>
                          </a:solidFill>
                          <a:latin typeface="Helvetica" panose="020B0604020202020204" pitchFamily="34" charset="0"/>
                          <a:ea typeface="+mn-ea"/>
                          <a:cs typeface="Helvetica" panose="020B0604020202020204" pitchFamily="34" charset="0"/>
                        </a:rPr>
                        <a:t>than</a:t>
                      </a:r>
                      <a:r>
                        <a:rPr lang="de-DE" sz="1200" b="0" kern="1200">
                          <a:solidFill>
                            <a:srgbClr val="BFBFBF"/>
                          </a:solidFill>
                          <a:latin typeface="Helvetica" panose="020B0604020202020204" pitchFamily="34" charset="0"/>
                          <a:ea typeface="+mn-ea"/>
                          <a:cs typeface="Helvetica" panose="020B0604020202020204" pitchFamily="34" charset="0"/>
                        </a:rPr>
                        <a:t> </a:t>
                      </a:r>
                      <a:r>
                        <a:rPr lang="de-DE" sz="1200" b="0" kern="1200" err="1">
                          <a:solidFill>
                            <a:srgbClr val="BFBFBF"/>
                          </a:solidFill>
                          <a:latin typeface="Helvetica" panose="020B0604020202020204" pitchFamily="34" charset="0"/>
                          <a:ea typeface="+mn-ea"/>
                          <a:cs typeface="Helvetica" panose="020B0604020202020204" pitchFamily="34" charset="0"/>
                        </a:rPr>
                        <a:t>predicted</a:t>
                      </a:r>
                      <a:endParaRPr lang="de-DE" sz="1200" b="0" kern="1200">
                        <a:solidFill>
                          <a:srgbClr val="BFBFBF"/>
                        </a:solidFill>
                        <a:latin typeface="Helvetica" panose="020B0604020202020204" pitchFamily="34" charset="0"/>
                        <a:ea typeface="+mn-ea"/>
                        <a:cs typeface="Helvetica"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648891"/>
                  </a:ext>
                </a:extLst>
              </a:tr>
            </a:tbl>
          </a:graphicData>
        </a:graphic>
      </p:graphicFrame>
      <p:sp>
        <p:nvSpPr>
          <p:cNvPr id="83" name="Rechteck: abgerundete Ecken 82">
            <a:extLst>
              <a:ext uri="{FF2B5EF4-FFF2-40B4-BE49-F238E27FC236}">
                <a16:creationId xmlns:a16="http://schemas.microsoft.com/office/drawing/2014/main" id="{41878636-5366-44D9-8384-1BBED9BCEA20}"/>
              </a:ext>
            </a:extLst>
          </p:cNvPr>
          <p:cNvSpPr/>
          <p:nvPr/>
        </p:nvSpPr>
        <p:spPr>
          <a:xfrm>
            <a:off x="4139412" y="3785834"/>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84" name="Grafik 83" descr="Warnung mit einfarbiger Füllung">
            <a:extLst>
              <a:ext uri="{FF2B5EF4-FFF2-40B4-BE49-F238E27FC236}">
                <a16:creationId xmlns:a16="http://schemas.microsoft.com/office/drawing/2014/main" id="{7ECE676F-642C-49FC-9FC1-551736B579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19150" y="2456956"/>
            <a:ext cx="461665" cy="461665"/>
          </a:xfrm>
          <a:prstGeom prst="rect">
            <a:avLst/>
          </a:prstGeom>
        </p:spPr>
      </p:pic>
      <p:pic>
        <p:nvPicPr>
          <p:cNvPr id="85" name="Grafik 84" descr="Klemmbrett abgehakt mit einfarbiger Füllung">
            <a:extLst>
              <a:ext uri="{FF2B5EF4-FFF2-40B4-BE49-F238E27FC236}">
                <a16:creationId xmlns:a16="http://schemas.microsoft.com/office/drawing/2014/main" id="{C1FF41E0-F423-451F-BAA0-0E2282FF43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81691" y="3908469"/>
            <a:ext cx="367233" cy="367233"/>
          </a:xfrm>
          <a:prstGeom prst="rect">
            <a:avLst/>
          </a:prstGeom>
        </p:spPr>
      </p:pic>
      <p:sp>
        <p:nvSpPr>
          <p:cNvPr id="88" name="Rechteck: abgerundete Ecken 87">
            <a:extLst>
              <a:ext uri="{FF2B5EF4-FFF2-40B4-BE49-F238E27FC236}">
                <a16:creationId xmlns:a16="http://schemas.microsoft.com/office/drawing/2014/main" id="{876341DB-0CE2-4819-B00A-7F19A9907F17}"/>
              </a:ext>
            </a:extLst>
          </p:cNvPr>
          <p:cNvSpPr/>
          <p:nvPr/>
        </p:nvSpPr>
        <p:spPr>
          <a:xfrm>
            <a:off x="4150100" y="450363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0" name="Grafik 89" descr="Klemmbrett abgehakt mit einfarbiger Füllung">
            <a:extLst>
              <a:ext uri="{FF2B5EF4-FFF2-40B4-BE49-F238E27FC236}">
                <a16:creationId xmlns:a16="http://schemas.microsoft.com/office/drawing/2014/main" id="{78F9F1E8-C38B-494A-9BB8-BAFA1D4C66E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92379" y="4626271"/>
            <a:ext cx="367233" cy="367233"/>
          </a:xfrm>
          <a:prstGeom prst="rect">
            <a:avLst/>
          </a:prstGeom>
        </p:spPr>
      </p:pic>
      <p:sp>
        <p:nvSpPr>
          <p:cNvPr id="54" name="Textfeld 53">
            <a:extLst>
              <a:ext uri="{FF2B5EF4-FFF2-40B4-BE49-F238E27FC236}">
                <a16:creationId xmlns:a16="http://schemas.microsoft.com/office/drawing/2014/main" id="{B2798D0E-C231-4C55-86B5-7C0AABBE3DED}"/>
              </a:ext>
            </a:extLst>
          </p:cNvPr>
          <p:cNvSpPr txBox="1"/>
          <p:nvPr/>
        </p:nvSpPr>
        <p:spPr>
          <a:xfrm>
            <a:off x="4514890" y="3853846"/>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ange </a:t>
            </a:r>
            <a:r>
              <a:rPr lang="de-DE" sz="1400" err="1">
                <a:latin typeface="Helvetica" panose="020B0604020202020204" pitchFamily="34" charset="0"/>
                <a:cs typeface="Helvetica" panose="020B0604020202020204" pitchFamily="34" charset="0"/>
              </a:rPr>
              <a:t>of</a:t>
            </a:r>
            <a:r>
              <a:rPr lang="de-DE" sz="1400">
                <a:latin typeface="Helvetica" panose="020B0604020202020204" pitchFamily="34" charset="0"/>
                <a:cs typeface="Helvetica" panose="020B0604020202020204" pitchFamily="34" charset="0"/>
              </a:rPr>
              <a:t> dock </a:t>
            </a:r>
            <a:r>
              <a:rPr lang="de-DE" sz="1400" err="1">
                <a:latin typeface="Helvetica" panose="020B0604020202020204" pitchFamily="34" charset="0"/>
                <a:cs typeface="Helvetica" panose="020B0604020202020204" pitchFamily="34" charset="0"/>
              </a:rPr>
              <a:t>required</a:t>
            </a:r>
            <a:br>
              <a:rPr lang="de-DE" sz="1400">
                <a:latin typeface="Helvetica" panose="020B0604020202020204" pitchFamily="34" charset="0"/>
                <a:cs typeface="Helvetica" panose="020B0604020202020204" pitchFamily="34" charset="0"/>
              </a:rPr>
            </a:br>
            <a:r>
              <a:rPr lang="de-DE" sz="1400">
                <a:latin typeface="Helvetica" panose="020B0604020202020204" pitchFamily="34" charset="0"/>
                <a:cs typeface="Helvetica" panose="020B0604020202020204" pitchFamily="34" charset="0"/>
              </a:rPr>
              <a:t>Free possible </a:t>
            </a:r>
            <a:r>
              <a:rPr lang="de-DE" sz="1400" err="1">
                <a:latin typeface="Helvetica" panose="020B0604020202020204" pitchFamily="34" charset="0"/>
                <a:cs typeface="Helvetica" panose="020B0604020202020204" pitchFamily="34" charset="0"/>
              </a:rPr>
              <a:t>docks</a:t>
            </a:r>
            <a:r>
              <a:rPr lang="de-DE" sz="1400">
                <a:latin typeface="Helvetica" panose="020B0604020202020204" pitchFamily="34" charset="0"/>
                <a:cs typeface="Helvetica" panose="020B0604020202020204" pitchFamily="34" charset="0"/>
              </a:rPr>
              <a:t>: Dock 14, 301, 90</a:t>
            </a:r>
          </a:p>
        </p:txBody>
      </p:sp>
      <p:sp>
        <p:nvSpPr>
          <p:cNvPr id="96" name="Rechteck: abgerundete Ecken 95">
            <a:extLst>
              <a:ext uri="{FF2B5EF4-FFF2-40B4-BE49-F238E27FC236}">
                <a16:creationId xmlns:a16="http://schemas.microsoft.com/office/drawing/2014/main" id="{28806A75-C8CC-47DB-8F68-78C4C5A4E313}"/>
              </a:ext>
            </a:extLst>
          </p:cNvPr>
          <p:cNvSpPr/>
          <p:nvPr/>
        </p:nvSpPr>
        <p:spPr>
          <a:xfrm>
            <a:off x="4150100" y="5239766"/>
            <a:ext cx="3911508" cy="663179"/>
          </a:xfrm>
          <a:prstGeom prst="roundRect">
            <a:avLst>
              <a:gd name="adj" fmla="val 26137"/>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pic>
        <p:nvPicPr>
          <p:cNvPr id="98" name="Grafik 97" descr="Klemmbrett abgehakt mit einfarbiger Füllung">
            <a:extLst>
              <a:ext uri="{FF2B5EF4-FFF2-40B4-BE49-F238E27FC236}">
                <a16:creationId xmlns:a16="http://schemas.microsoft.com/office/drawing/2014/main" id="{D06F24B3-CF84-4AFA-B507-177F0FD8695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92379" y="5362401"/>
            <a:ext cx="367233" cy="367233"/>
          </a:xfrm>
          <a:prstGeom prst="rect">
            <a:avLst/>
          </a:prstGeom>
        </p:spPr>
      </p:pic>
      <p:sp>
        <p:nvSpPr>
          <p:cNvPr id="91" name="Textfeld 90">
            <a:extLst>
              <a:ext uri="{FF2B5EF4-FFF2-40B4-BE49-F238E27FC236}">
                <a16:creationId xmlns:a16="http://schemas.microsoft.com/office/drawing/2014/main" id="{92F27234-4AA0-4D7E-856A-66EEDA6D7527}"/>
              </a:ext>
            </a:extLst>
          </p:cNvPr>
          <p:cNvSpPr txBox="1"/>
          <p:nvPr/>
        </p:nvSpPr>
        <p:spPr>
          <a:xfrm>
            <a:off x="4514890" y="5288524"/>
            <a:ext cx="3278559" cy="523220"/>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Inform </a:t>
            </a:r>
            <a:r>
              <a:rPr lang="de-DE" sz="1400" err="1">
                <a:latin typeface="Helvetica" panose="020B0604020202020204" pitchFamily="34" charset="0"/>
                <a:cs typeface="Helvetica" panose="020B0604020202020204" pitchFamily="34" charset="0"/>
              </a:rPr>
              <a:t>responsibles</a:t>
            </a:r>
            <a:r>
              <a:rPr lang="de-DE" sz="1400">
                <a:latin typeface="Helvetica" panose="020B0604020202020204" pitchFamily="34" charset="0"/>
                <a:cs typeface="Helvetica" panose="020B0604020202020204" pitchFamily="34" charset="0"/>
              </a:rPr>
              <a:t>: </a:t>
            </a:r>
            <a:br>
              <a:rPr lang="de-DE" sz="1400">
                <a:latin typeface="Helvetica" panose="020B0604020202020204" pitchFamily="34" charset="0"/>
                <a:cs typeface="Helvetica" panose="020B0604020202020204" pitchFamily="34" charset="0"/>
              </a:rPr>
            </a:br>
            <a:r>
              <a:rPr lang="de-DE" sz="1400" u="sng" err="1">
                <a:latin typeface="Helvetica" panose="020B0604020202020204" pitchFamily="34" charset="0"/>
                <a:cs typeface="Helvetica" panose="020B0604020202020204" pitchFamily="34" charset="0"/>
              </a:rPr>
              <a:t>click</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here</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for</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contact</a:t>
            </a:r>
            <a:r>
              <a:rPr lang="de-DE" sz="1400" u="sng">
                <a:latin typeface="Helvetica" panose="020B0604020202020204" pitchFamily="34" charset="0"/>
                <a:cs typeface="Helvetica" panose="020B0604020202020204" pitchFamily="34" charset="0"/>
              </a:rPr>
              <a:t> </a:t>
            </a:r>
            <a:r>
              <a:rPr lang="de-DE" sz="1400" u="sng" err="1">
                <a:latin typeface="Helvetica" panose="020B0604020202020204" pitchFamily="34" charset="0"/>
                <a:cs typeface="Helvetica" panose="020B0604020202020204" pitchFamily="34" charset="0"/>
              </a:rPr>
              <a:t>information</a:t>
            </a:r>
            <a:endParaRPr lang="de-DE" sz="1400" u="sng">
              <a:latin typeface="Helvetica" panose="020B0604020202020204" pitchFamily="34" charset="0"/>
              <a:cs typeface="Helvetica" panose="020B0604020202020204" pitchFamily="34" charset="0"/>
            </a:endParaRPr>
          </a:p>
        </p:txBody>
      </p:sp>
      <p:sp>
        <p:nvSpPr>
          <p:cNvPr id="104" name="Textfeld 103">
            <a:extLst>
              <a:ext uri="{FF2B5EF4-FFF2-40B4-BE49-F238E27FC236}">
                <a16:creationId xmlns:a16="http://schemas.microsoft.com/office/drawing/2014/main" id="{7E6A3FD1-3C07-4F30-B2AE-8F606ECA1258}"/>
              </a:ext>
            </a:extLst>
          </p:cNvPr>
          <p:cNvSpPr txBox="1"/>
          <p:nvPr/>
        </p:nvSpPr>
        <p:spPr>
          <a:xfrm>
            <a:off x="4514890" y="4652498"/>
            <a:ext cx="3278559" cy="307777"/>
          </a:xfrm>
          <a:prstGeom prst="rect">
            <a:avLst/>
          </a:prstGeom>
          <a:noFill/>
          <a:ln>
            <a:noFill/>
          </a:ln>
        </p:spPr>
        <p:txBody>
          <a:bodyPr wrap="square" rtlCol="0">
            <a:spAutoFit/>
          </a:bodyPr>
          <a:lstStyle/>
          <a:p>
            <a:r>
              <a:rPr lang="de-DE" sz="1400">
                <a:latin typeface="Helvetica" panose="020B0604020202020204" pitchFamily="34" charset="0"/>
                <a:cs typeface="Helvetica" panose="020B0604020202020204" pitchFamily="34" charset="0"/>
              </a:rPr>
              <a:t>Check </a:t>
            </a:r>
            <a:r>
              <a:rPr lang="de-DE" sz="1400" err="1">
                <a:latin typeface="Helvetica" panose="020B0604020202020204" pitchFamily="34" charset="0"/>
                <a:cs typeface="Helvetica" panose="020B0604020202020204" pitchFamily="34" charset="0"/>
              </a:rPr>
              <a:t>resource</a:t>
            </a:r>
            <a:r>
              <a:rPr lang="de-DE" sz="1400">
                <a:latin typeface="Helvetica" panose="020B0604020202020204" pitchFamily="34" charset="0"/>
                <a:cs typeface="Helvetica" panose="020B0604020202020204" pitchFamily="34" charset="0"/>
              </a:rPr>
              <a:t> </a:t>
            </a:r>
            <a:r>
              <a:rPr lang="de-DE" sz="1400" err="1">
                <a:latin typeface="Helvetica" panose="020B0604020202020204" pitchFamily="34" charset="0"/>
                <a:cs typeface="Helvetica" panose="020B0604020202020204" pitchFamily="34" charset="0"/>
              </a:rPr>
              <a:t>planning</a:t>
            </a:r>
            <a:endParaRPr lang="de-DE" sz="1400">
              <a:latin typeface="Helvetica" panose="020B0604020202020204" pitchFamily="34" charset="0"/>
              <a:cs typeface="Helvetica" panose="020B0604020202020204" pitchFamily="34" charset="0"/>
            </a:endParaRPr>
          </a:p>
        </p:txBody>
      </p:sp>
      <p:pic>
        <p:nvPicPr>
          <p:cNvPr id="105" name="Grafik 104" descr="Kreis mit Pfeil nach links mit einfarbiger Füllung">
            <a:extLst>
              <a:ext uri="{FF2B5EF4-FFF2-40B4-BE49-F238E27FC236}">
                <a16:creationId xmlns:a16="http://schemas.microsoft.com/office/drawing/2014/main" id="{B55B7563-C7FD-44D4-9028-8640B952F2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6634263" y="4667692"/>
            <a:ext cx="281136" cy="283093"/>
          </a:xfrm>
          <a:prstGeom prst="rect">
            <a:avLst/>
          </a:prstGeom>
        </p:spPr>
      </p:pic>
      <p:sp>
        <p:nvSpPr>
          <p:cNvPr id="74" name="Rechteck 73">
            <a:extLst>
              <a:ext uri="{FF2B5EF4-FFF2-40B4-BE49-F238E27FC236}">
                <a16:creationId xmlns:a16="http://schemas.microsoft.com/office/drawing/2014/main" id="{50A7B259-5992-D543-B103-2E1128D99F0A}"/>
              </a:ext>
            </a:extLst>
          </p:cNvPr>
          <p:cNvSpPr/>
          <p:nvPr/>
        </p:nvSpPr>
        <p:spPr>
          <a:xfrm>
            <a:off x="-10222" y="1"/>
            <a:ext cx="12192000" cy="6860116"/>
          </a:xfrm>
          <a:prstGeom prst="rect">
            <a:avLst/>
          </a:prstGeom>
          <a:solidFill>
            <a:schemeClr val="tx1">
              <a:lumMod val="95000"/>
              <a:lumOff val="5000"/>
              <a:alpha val="69412"/>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8" name="Rechteck: abgerundete Ecken 47">
            <a:extLst>
              <a:ext uri="{FF2B5EF4-FFF2-40B4-BE49-F238E27FC236}">
                <a16:creationId xmlns:a16="http://schemas.microsoft.com/office/drawing/2014/main" id="{C2D809BB-723D-46A7-BD8A-AB8A17D9A9A8}"/>
              </a:ext>
            </a:extLst>
          </p:cNvPr>
          <p:cNvSpPr/>
          <p:nvPr/>
        </p:nvSpPr>
        <p:spPr>
          <a:xfrm>
            <a:off x="8303516" y="782660"/>
            <a:ext cx="3762000" cy="2856038"/>
          </a:xfrm>
          <a:prstGeom prst="roundRect">
            <a:avLst>
              <a:gd name="adj" fmla="val 7774"/>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92" name="Rechteck: obere Ecken abgerundet 91">
            <a:extLst>
              <a:ext uri="{FF2B5EF4-FFF2-40B4-BE49-F238E27FC236}">
                <a16:creationId xmlns:a16="http://schemas.microsoft.com/office/drawing/2014/main" id="{D59DEBDF-B7AF-4365-B32E-9D780E9DC2DD}"/>
              </a:ext>
            </a:extLst>
          </p:cNvPr>
          <p:cNvSpPr/>
          <p:nvPr/>
        </p:nvSpPr>
        <p:spPr>
          <a:xfrm>
            <a:off x="8303517" y="777118"/>
            <a:ext cx="3753743" cy="450911"/>
          </a:xfrm>
          <a:prstGeom prst="round2SameRect">
            <a:avLst>
              <a:gd name="adj1" fmla="val 50000"/>
              <a:gd name="adj2" fmla="val 0"/>
            </a:avLst>
          </a:prstGeom>
          <a:solidFill>
            <a:srgbClr val="213458"/>
          </a:solidFill>
          <a:ln>
            <a:solidFill>
              <a:srgbClr val="2134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1" name="Diagramm 30">
            <a:extLst>
              <a:ext uri="{FF2B5EF4-FFF2-40B4-BE49-F238E27FC236}">
                <a16:creationId xmlns:a16="http://schemas.microsoft.com/office/drawing/2014/main" id="{E1F285C0-D100-4CBF-AFDA-8B694D2E6A75}"/>
              </a:ext>
            </a:extLst>
          </p:cNvPr>
          <p:cNvGraphicFramePr>
            <a:graphicFrameLocks/>
          </p:cNvGraphicFramePr>
          <p:nvPr/>
        </p:nvGraphicFramePr>
        <p:xfrm>
          <a:off x="8308002" y="822924"/>
          <a:ext cx="3530384" cy="2713095"/>
        </p:xfrm>
        <a:graphic>
          <a:graphicData uri="http://schemas.openxmlformats.org/drawingml/2006/chart">
            <c:chart xmlns:c="http://schemas.openxmlformats.org/drawingml/2006/chart" xmlns:r="http://schemas.openxmlformats.org/officeDocument/2006/relationships" r:id="rId16"/>
          </a:graphicData>
        </a:graphic>
      </p:graphicFrame>
      <p:pic>
        <p:nvPicPr>
          <p:cNvPr id="87" name="Grafik 86" descr="Messgerät Silhouette">
            <a:extLst>
              <a:ext uri="{FF2B5EF4-FFF2-40B4-BE49-F238E27FC236}">
                <a16:creationId xmlns:a16="http://schemas.microsoft.com/office/drawing/2014/main" id="{4AA3C71A-402C-4DE0-B690-1D4FCA769BC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65832" y="774257"/>
            <a:ext cx="405162" cy="412564"/>
          </a:xfrm>
          <a:prstGeom prst="rect">
            <a:avLst/>
          </a:prstGeom>
        </p:spPr>
      </p:pic>
      <p:sp>
        <p:nvSpPr>
          <p:cNvPr id="63" name="Rechteck 62">
            <a:extLst>
              <a:ext uri="{FF2B5EF4-FFF2-40B4-BE49-F238E27FC236}">
                <a16:creationId xmlns:a16="http://schemas.microsoft.com/office/drawing/2014/main" id="{29A9DD03-2184-49CA-BC79-75C72C597E32}"/>
              </a:ext>
            </a:extLst>
          </p:cNvPr>
          <p:cNvSpPr/>
          <p:nvPr/>
        </p:nvSpPr>
        <p:spPr>
          <a:xfrm>
            <a:off x="11722650" y="878476"/>
            <a:ext cx="180000" cy="180000"/>
          </a:xfrm>
          <a:prstGeom prst="rect">
            <a:avLst/>
          </a:prstGeom>
          <a:no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66EB093B-9098-4348-9588-0CC12E22C217}"/>
              </a:ext>
            </a:extLst>
          </p:cNvPr>
          <p:cNvSpPr/>
          <p:nvPr/>
        </p:nvSpPr>
        <p:spPr>
          <a:xfrm>
            <a:off x="11671423" y="920817"/>
            <a:ext cx="180000" cy="180000"/>
          </a:xfrm>
          <a:prstGeom prst="rect">
            <a:avLst/>
          </a:prstGeom>
          <a:solidFill>
            <a:srgbClr val="213458"/>
          </a:solidFill>
          <a:ln w="19050">
            <a:solidFill>
              <a:srgbClr val="A2A2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3A3DD95E-285B-4717-A67D-D73A60C155AB}"/>
              </a:ext>
            </a:extLst>
          </p:cNvPr>
          <p:cNvPicPr>
            <a:picLocks noChangeAspect="1"/>
          </p:cNvPicPr>
          <p:nvPr/>
        </p:nvPicPr>
        <p:blipFill rotWithShape="1">
          <a:blip r:embed="rId19"/>
          <a:srcRect l="6260" r="4429" b="-2"/>
          <a:stretch/>
        </p:blipFill>
        <p:spPr>
          <a:xfrm>
            <a:off x="8300489" y="3685467"/>
            <a:ext cx="3752915" cy="2789552"/>
          </a:xfrm>
          <a:prstGeom prst="roundRect">
            <a:avLst>
              <a:gd name="adj" fmla="val 7197"/>
            </a:avLst>
          </a:prstGeom>
          <a:ln w="19050">
            <a:solidFill>
              <a:srgbClr val="39445B"/>
            </a:solidFill>
          </a:ln>
        </p:spPr>
      </p:pic>
      <p:sp>
        <p:nvSpPr>
          <p:cNvPr id="44" name="Textfeld 43">
            <a:extLst>
              <a:ext uri="{FF2B5EF4-FFF2-40B4-BE49-F238E27FC236}">
                <a16:creationId xmlns:a16="http://schemas.microsoft.com/office/drawing/2014/main" id="{B6ADA23B-74E1-4A1D-BD2D-4A1ED09109FB}"/>
              </a:ext>
            </a:extLst>
          </p:cNvPr>
          <p:cNvSpPr txBox="1"/>
          <p:nvPr/>
        </p:nvSpPr>
        <p:spPr>
          <a:xfrm>
            <a:off x="9545406" y="5210129"/>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2</a:t>
            </a:r>
          </a:p>
        </p:txBody>
      </p:sp>
      <p:sp>
        <p:nvSpPr>
          <p:cNvPr id="45" name="Textfeld 44">
            <a:extLst>
              <a:ext uri="{FF2B5EF4-FFF2-40B4-BE49-F238E27FC236}">
                <a16:creationId xmlns:a16="http://schemas.microsoft.com/office/drawing/2014/main" id="{71AD1DDD-BF27-4B88-BA34-7A3703E12165}"/>
              </a:ext>
            </a:extLst>
          </p:cNvPr>
          <p:cNvSpPr txBox="1"/>
          <p:nvPr/>
        </p:nvSpPr>
        <p:spPr>
          <a:xfrm>
            <a:off x="8966189" y="4336140"/>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3</a:t>
            </a:r>
          </a:p>
        </p:txBody>
      </p:sp>
      <p:sp>
        <p:nvSpPr>
          <p:cNvPr id="43" name="Textfeld 42">
            <a:extLst>
              <a:ext uri="{FF2B5EF4-FFF2-40B4-BE49-F238E27FC236}">
                <a16:creationId xmlns:a16="http://schemas.microsoft.com/office/drawing/2014/main" id="{7A303450-841C-4E65-ACC8-5B0D34B99C64}"/>
              </a:ext>
            </a:extLst>
          </p:cNvPr>
          <p:cNvSpPr txBox="1"/>
          <p:nvPr/>
        </p:nvSpPr>
        <p:spPr>
          <a:xfrm>
            <a:off x="10425746" y="6037694"/>
            <a:ext cx="615874" cy="261610"/>
          </a:xfrm>
          <a:prstGeom prst="rect">
            <a:avLst/>
          </a:prstGeom>
          <a:noFill/>
        </p:spPr>
        <p:txBody>
          <a:bodyPr wrap="none" rtlCol="0">
            <a:spAutoFit/>
          </a:bodyPr>
          <a:lstStyle/>
          <a:p>
            <a:r>
              <a:rPr lang="de-DE" sz="1100" b="1" err="1">
                <a:solidFill>
                  <a:srgbClr val="002060"/>
                </a:solidFill>
                <a:latin typeface="Helvetica" panose="020B0604020202020204" pitchFamily="34" charset="0"/>
                <a:cs typeface="Helvetica" panose="020B0604020202020204" pitchFamily="34" charset="0"/>
              </a:rPr>
              <a:t>Stop</a:t>
            </a:r>
            <a:r>
              <a:rPr lang="de-DE" sz="1100" b="1">
                <a:solidFill>
                  <a:srgbClr val="002060"/>
                </a:solidFill>
                <a:latin typeface="Helvetica" panose="020B0604020202020204" pitchFamily="34" charset="0"/>
                <a:cs typeface="Helvetica" panose="020B0604020202020204" pitchFamily="34" charset="0"/>
              </a:rPr>
              <a:t> 1</a:t>
            </a:r>
          </a:p>
        </p:txBody>
      </p:sp>
      <p:sp>
        <p:nvSpPr>
          <p:cNvPr id="50" name="Gleichschenkliges Dreieck 49">
            <a:extLst>
              <a:ext uri="{FF2B5EF4-FFF2-40B4-BE49-F238E27FC236}">
                <a16:creationId xmlns:a16="http://schemas.microsoft.com/office/drawing/2014/main" id="{C9114AEA-7C63-4DA9-BDFC-A325D56E9BEC}"/>
              </a:ext>
            </a:extLst>
          </p:cNvPr>
          <p:cNvSpPr/>
          <p:nvPr/>
        </p:nvSpPr>
        <p:spPr>
          <a:xfrm>
            <a:off x="8778251" y="4322517"/>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1" name="Gleichschenkliges Dreieck 50">
            <a:extLst>
              <a:ext uri="{FF2B5EF4-FFF2-40B4-BE49-F238E27FC236}">
                <a16:creationId xmlns:a16="http://schemas.microsoft.com/office/drawing/2014/main" id="{C9114AEA-7C63-4DA9-BDFC-A325D56E9BEC}"/>
              </a:ext>
            </a:extLst>
          </p:cNvPr>
          <p:cNvSpPr/>
          <p:nvPr/>
        </p:nvSpPr>
        <p:spPr>
          <a:xfrm>
            <a:off x="9376711" y="5240905"/>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52" name="Gleichschenkliges Dreieck 51">
            <a:extLst>
              <a:ext uri="{FF2B5EF4-FFF2-40B4-BE49-F238E27FC236}">
                <a16:creationId xmlns:a16="http://schemas.microsoft.com/office/drawing/2014/main" id="{C9114AEA-7C63-4DA9-BDFC-A325D56E9BEC}"/>
              </a:ext>
            </a:extLst>
          </p:cNvPr>
          <p:cNvSpPr/>
          <p:nvPr/>
        </p:nvSpPr>
        <p:spPr>
          <a:xfrm>
            <a:off x="10284709" y="6177072"/>
            <a:ext cx="224757" cy="2249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a:latin typeface="Helvetica" panose="020B0604020202020204" pitchFamily="34" charset="0"/>
              <a:cs typeface="Helvetica" panose="020B0604020202020204" pitchFamily="34" charset="0"/>
            </a:endParaRPr>
          </a:p>
        </p:txBody>
      </p:sp>
      <p:sp>
        <p:nvSpPr>
          <p:cNvPr id="10" name="Ellipse 9">
            <a:extLst>
              <a:ext uri="{FF2B5EF4-FFF2-40B4-BE49-F238E27FC236}">
                <a16:creationId xmlns:a16="http://schemas.microsoft.com/office/drawing/2014/main" id="{936AD436-16FA-4C8A-B617-403CEF7D8301}"/>
              </a:ext>
            </a:extLst>
          </p:cNvPr>
          <p:cNvSpPr/>
          <p:nvPr/>
        </p:nvSpPr>
        <p:spPr>
          <a:xfrm>
            <a:off x="11301884" y="6148808"/>
            <a:ext cx="156312" cy="146998"/>
          </a:xfrm>
          <a:prstGeom prst="ellipse">
            <a:avLst/>
          </a:pr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53" name="Textfeld 52">
            <a:extLst>
              <a:ext uri="{FF2B5EF4-FFF2-40B4-BE49-F238E27FC236}">
                <a16:creationId xmlns:a16="http://schemas.microsoft.com/office/drawing/2014/main" id="{9175F0A2-4736-456E-B15C-5DD1D35728FC}"/>
              </a:ext>
            </a:extLst>
          </p:cNvPr>
          <p:cNvSpPr txBox="1"/>
          <p:nvPr/>
        </p:nvSpPr>
        <p:spPr>
          <a:xfrm>
            <a:off x="11145040" y="5902945"/>
            <a:ext cx="505267" cy="261610"/>
          </a:xfrm>
          <a:prstGeom prst="rect">
            <a:avLst/>
          </a:prstGeom>
          <a:noFill/>
        </p:spPr>
        <p:txBody>
          <a:bodyPr wrap="none" rtlCol="0">
            <a:spAutoFit/>
          </a:bodyPr>
          <a:lstStyle/>
          <a:p>
            <a:r>
              <a:rPr lang="de-DE" sz="1100" b="1">
                <a:solidFill>
                  <a:srgbClr val="707070"/>
                </a:solidFill>
                <a:latin typeface="Helvetica" panose="020B0604020202020204" pitchFamily="34" charset="0"/>
                <a:cs typeface="Helvetica" panose="020B0604020202020204" pitchFamily="34" charset="0"/>
              </a:rPr>
              <a:t>Start</a:t>
            </a:r>
            <a:endParaRPr lang="de-DE" sz="1000" b="1">
              <a:solidFill>
                <a:srgbClr val="707070"/>
              </a:solidFill>
              <a:latin typeface="Helvetica" panose="020B0604020202020204" pitchFamily="34" charset="0"/>
              <a:cs typeface="Helvetica" panose="020B0604020202020204" pitchFamily="34" charset="0"/>
            </a:endParaRPr>
          </a:p>
        </p:txBody>
      </p:sp>
      <p:sp>
        <p:nvSpPr>
          <p:cNvPr id="70" name="Rechteck: abgerundete Ecken 69">
            <a:extLst>
              <a:ext uri="{FF2B5EF4-FFF2-40B4-BE49-F238E27FC236}">
                <a16:creationId xmlns:a16="http://schemas.microsoft.com/office/drawing/2014/main" id="{C95B3374-B475-4E15-993C-0F484DF69B75}"/>
              </a:ext>
            </a:extLst>
          </p:cNvPr>
          <p:cNvSpPr/>
          <p:nvPr/>
        </p:nvSpPr>
        <p:spPr>
          <a:xfrm>
            <a:off x="10363630" y="3723658"/>
            <a:ext cx="1606731" cy="381790"/>
          </a:xfrm>
          <a:prstGeom prst="roundRect">
            <a:avLst>
              <a:gd name="adj" fmla="val 37956"/>
            </a:avLst>
          </a:prstGeom>
          <a:solidFill>
            <a:schemeClr val="bg1">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Helvetica" panose="020B0604020202020204" pitchFamily="34" charset="0"/>
              <a:cs typeface="Helvetica" panose="020B0604020202020204" pitchFamily="34" charset="0"/>
            </a:endParaRPr>
          </a:p>
        </p:txBody>
      </p:sp>
      <p:sp>
        <p:nvSpPr>
          <p:cNvPr id="69" name="Textfeld 68">
            <a:extLst>
              <a:ext uri="{FF2B5EF4-FFF2-40B4-BE49-F238E27FC236}">
                <a16:creationId xmlns:a16="http://schemas.microsoft.com/office/drawing/2014/main" id="{C4926EBB-A852-47F5-8022-42525D8CD151}"/>
              </a:ext>
            </a:extLst>
          </p:cNvPr>
          <p:cNvSpPr txBox="1"/>
          <p:nvPr/>
        </p:nvSpPr>
        <p:spPr>
          <a:xfrm>
            <a:off x="10384222" y="3878230"/>
            <a:ext cx="1734457" cy="246221"/>
          </a:xfrm>
          <a:prstGeom prst="rect">
            <a:avLst/>
          </a:prstGeom>
          <a:noFill/>
        </p:spPr>
        <p:txBody>
          <a:bodyPr wrap="square">
            <a:spAutoFit/>
          </a:bodyPr>
          <a:lstStyle/>
          <a:p>
            <a:pPr algn="l" fontAlgn="base"/>
            <a:r>
              <a:rPr lang="de-DE" sz="1000" b="0" i="0">
                <a:effectLst/>
                <a:latin typeface="Helvetica" panose="020B0604020202020204" pitchFamily="34" charset="0"/>
                <a:cs typeface="Helvetica" panose="020B0604020202020204" pitchFamily="34" charset="0"/>
              </a:rPr>
              <a:t>50°01'08.1"N 8°06'08.1"E</a:t>
            </a:r>
          </a:p>
        </p:txBody>
      </p:sp>
      <p:sp>
        <p:nvSpPr>
          <p:cNvPr id="33" name="Textfeld 32">
            <a:extLst>
              <a:ext uri="{FF2B5EF4-FFF2-40B4-BE49-F238E27FC236}">
                <a16:creationId xmlns:a16="http://schemas.microsoft.com/office/drawing/2014/main" id="{0081B6B1-66D3-49F5-A39B-646C5A53F768}"/>
              </a:ext>
            </a:extLst>
          </p:cNvPr>
          <p:cNvSpPr txBox="1"/>
          <p:nvPr/>
        </p:nvSpPr>
        <p:spPr>
          <a:xfrm>
            <a:off x="10359936" y="3696331"/>
            <a:ext cx="1687568" cy="261610"/>
          </a:xfrm>
          <a:prstGeom prst="rect">
            <a:avLst/>
          </a:prstGeom>
          <a:noFill/>
        </p:spPr>
        <p:txBody>
          <a:bodyPr wrap="square" rtlCol="0">
            <a:spAutoFit/>
          </a:bodyPr>
          <a:lstStyle/>
          <a:p>
            <a:r>
              <a:rPr lang="de-DE" sz="1100" err="1">
                <a:latin typeface="Helvetica" panose="020B0604020202020204" pitchFamily="34" charset="0"/>
                <a:cs typeface="Helvetica" panose="020B0604020202020204" pitchFamily="34" charset="0"/>
              </a:rPr>
              <a:t>Current</a:t>
            </a:r>
            <a:r>
              <a:rPr lang="de-DE" sz="1100">
                <a:latin typeface="Helvetica" panose="020B0604020202020204" pitchFamily="34" charset="0"/>
                <a:cs typeface="Helvetica" panose="020B0604020202020204" pitchFamily="34" charset="0"/>
              </a:rPr>
              <a:t> Position</a:t>
            </a:r>
          </a:p>
        </p:txBody>
      </p:sp>
      <p:pic>
        <p:nvPicPr>
          <p:cNvPr id="49" name="Grafik 48" descr="Fracht mit einfarbiger Füllung">
            <a:extLst>
              <a:ext uri="{FF2B5EF4-FFF2-40B4-BE49-F238E27FC236}">
                <a16:creationId xmlns:a16="http://schemas.microsoft.com/office/drawing/2014/main" id="{DAD1452E-E4CA-4D74-961B-6DA77228BDC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flipH="1">
            <a:off x="11157237" y="6009676"/>
            <a:ext cx="352976" cy="315917"/>
          </a:xfrm>
          <a:prstGeom prst="rect">
            <a:avLst/>
          </a:prstGeom>
        </p:spPr>
      </p:pic>
    </p:spTree>
    <p:extLst>
      <p:ext uri="{BB962C8B-B14F-4D97-AF65-F5344CB8AC3E}">
        <p14:creationId xmlns:p14="http://schemas.microsoft.com/office/powerpoint/2010/main" val="153531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withEffect">
                                  <p:stCondLst>
                                    <p:cond delay="0"/>
                                  </p:stCondLst>
                                  <p:childTnLst>
                                    <p:animMotion origin="layout" path="M 0.00599 0.00763 L 0.00052 0.01041 C -0.00026 0.01088 -0.00104 0.01111 -0.00183 0.0118 C -0.00261 0.0125 -0.00339 0.01365 -0.00417 0.01458 C -0.00469 0.01597 -0.00495 0.01759 -0.00573 0.01875 C -0.01029 0.02592 -0.01042 0.0243 -0.01654 0.02569 C -0.01732 0.02615 -0.01797 0.02708 -0.01888 0.02708 C -0.02058 0.02708 -0.02735 0.02708 -0.03047 0.0243 C -0.03125 0.02361 -0.0319 0.02222 -0.03268 0.02152 C -0.03425 0.02037 -0.03737 0.01875 -0.03737 0.01875 C -0.03893 0.01921 -0.0405 0.01944 -0.04206 0.02013 C -0.04284 0.02037 -0.04349 0.02106 -0.0444 0.02152 C -0.04766 0.02314 -0.04766 0.02291 -0.0513 0.0243 C -0.05235 0.02476 -0.05339 0.02546 -0.05443 0.02569 C -0.06003 0.02638 -0.06576 0.02662 -0.07136 0.02708 C -0.07735 0.03055 -0.07448 0.03032 -0.07995 0.02847 C -0.08021 0.02708 -0.08047 0.02569 -0.08073 0.0243 C -0.08099 0.02199 -0.08099 0.01967 -0.08151 0.01736 C -0.08177 0.01574 -0.08216 0.01388 -0.08295 0.01319 C -0.08464 0.01203 -0.08659 0.01226 -0.08841 0.0118 C -0.08867 0.00902 -0.08828 0.00601 -0.0892 0.0037 C -0.09024 0.00092 -0.09388 -0.00186 -0.09388 -0.00186 C -0.0944 -0.00325 -0.09532 -0.0044 -0.09532 -0.00602 C -0.09532 -0.00764 -0.09336 -0.0088 -0.09388 -0.01019 C -0.09479 -0.01297 -0.09688 -0.01389 -0.09844 -0.01551 C -0.10209 -0.01991 -0.09987 -0.01806 -0.10547 -0.01968 C -0.10599 -0.02246 -0.10547 -0.02709 -0.10703 -0.02801 L -0.11159 -0.03079 C -0.11107 -0.0338 -0.1112 -0.03681 -0.10847 -0.03635 C -0.1069 -0.03588 -0.10391 -0.03357 -0.10391 -0.03357 C -0.10339 -0.03496 -0.10209 -0.03588 -0.10235 -0.0375 C -0.10261 -0.04005 -0.10703 -0.04144 -0.10768 -0.04167 C -0.10951 -0.05139 -0.1099 -0.04908 -0.10847 -0.05973 C -0.10821 -0.0625 -0.10703 -0.06783 -0.10703 -0.06783 L -0.11159 -0.07338 C -0.11237 -0.07431 -0.11302 -0.0757 -0.11393 -0.07616 L -0.11628 -0.07755 C -0.11732 -0.07709 -0.11823 -0.07616 -0.1194 -0.07616 C -0.12292 -0.07616 -0.12422 -0.07709 -0.12709 -0.07894 C -0.128 -0.08033 -0.13034 -0.08519 -0.13177 -0.08565 C -0.13399 -0.08681 -0.13633 -0.08658 -0.13867 -0.08704 C -0.14102 -0.08982 -0.14128 -0.08936 -0.14258 -0.09399 C -0.14284 -0.09537 -0.14284 -0.097 -0.14336 -0.09815 C -0.14388 -0.09931 -0.14492 -0.1 -0.14558 -0.10093 C -0.1461 -0.10232 -0.14688 -0.10348 -0.14714 -0.10487 C -0.14753 -0.10625 -0.14818 -0.11297 -0.1487 -0.11459 C -0.14987 -0.11783 -0.1517 -0.11945 -0.15339 -0.12153 L -0.15573 -0.1338 C -0.15599 -0.13519 -0.15573 -0.13727 -0.15651 -0.13797 L -0.15873 -0.14075 C -0.15899 -0.14213 -0.15899 -0.14375 -0.15951 -0.14491 C -0.16016 -0.14584 -0.1612 -0.14561 -0.16185 -0.1463 C -0.16276 -0.147 -0.16328 -0.14838 -0.1642 -0.14908 C -0.16745 -0.15162 -0.16875 -0.15139 -0.17188 -0.15301 C -0.17266 -0.15348 -0.17344 -0.15394 -0.17422 -0.1544 C -0.1763 -0.16551 -0.17318 -0.15255 -0.17735 -0.15996 C -0.17865 -0.16227 -0.17943 -0.16551 -0.18047 -0.16829 L -0.18203 -0.17223 L -0.18347 -0.17639 C -0.18268 -0.17732 -0.18203 -0.17848 -0.18125 -0.17917 C -0.17969 -0.18033 -0.17657 -0.18195 -0.17657 -0.18195 C -0.17683 -0.18334 -0.1767 -0.18519 -0.17735 -0.18612 C -0.17865 -0.18774 -0.18203 -0.18889 -0.18203 -0.18889 C -0.18646 -0.2007 -0.18112 -0.18565 -0.18425 -0.197 C -0.18724 -0.20764 -0.18464 -0.19491 -0.18659 -0.20533 C -0.18503 -0.20625 -0.18112 -0.20556 -0.18203 -0.20811 L -0.18503 -0.21644 C -0.18529 -0.2176 -0.18529 -0.21945 -0.18581 -0.22037 C -0.18646 -0.22153 -0.1875 -0.22107 -0.18815 -0.22176 C -0.18985 -0.22338 -0.19102 -0.22639 -0.19284 -0.22732 C -0.19362 -0.22778 -0.1944 -0.22801 -0.19518 -0.22871 C -0.19675 -0.23033 -0.19974 -0.23426 -0.19974 -0.23426 C -0.19948 -0.23565 -0.19961 -0.23727 -0.19896 -0.23843 C -0.19844 -0.23936 -0.1961 -0.23866 -0.19662 -0.23959 C -0.19779 -0.24167 -0.19974 -0.24144 -0.2013 -0.24237 L -0.20365 -0.24375 L -0.20521 -0.25209 C -0.20599 -0.25649 -0.20534 -0.25695 -0.20821 -0.25764 C -0.21107 -0.25834 -0.21393 -0.25857 -0.2168 -0.25903 C -0.21732 -0.26042 -0.21849 -0.26135 -0.21836 -0.26297 C -0.2181 -0.26505 -0.21446 -0.26667 -0.21367 -0.26713 C -0.21393 -0.26852 -0.21393 -0.27037 -0.21446 -0.2713 C -0.21862 -0.27871 -0.2155 -0.26575 -0.21758 -0.27686 C -0.21732 -0.27871 -0.21719 -0.28056 -0.2168 -0.28241 C -0.21641 -0.2838 -0.21563 -0.28496 -0.21524 -0.28635 C -0.21485 -0.28774 -0.21472 -0.28912 -0.21446 -0.29051 C -0.21602 -0.29237 -0.2181 -0.29329 -0.21914 -0.29607 C -0.2211 -0.30139 -0.21979 -0.29977 -0.22292 -0.30162 C -0.22266 -0.30301 -0.22279 -0.30487 -0.22214 -0.30579 C -0.22032 -0.30811 -0.21511 -0.30926 -0.21289 -0.30973 C -0.21472 -0.31181 -0.21602 -0.31227 -0.21602 -0.31667 C -0.21602 -0.31806 -0.2155 -0.31945 -0.21524 -0.32084 C -0.21602 -0.32176 -0.21667 -0.32292 -0.21758 -0.32362 C -0.21823 -0.32431 -0.21953 -0.32362 -0.21992 -0.325 C -0.22097 -0.32963 -0.21823 -0.33149 -0.2168 -0.33311 C -0.21732 -0.3345 -0.21771 -0.33612 -0.21836 -0.33727 C -0.21901 -0.33843 -0.22032 -0.33843 -0.22058 -0.34005 C -0.22097 -0.34144 -0.22018 -0.34283 -0.21992 -0.34422 C -0.22018 -0.34561 -0.21992 -0.34746 -0.22058 -0.34838 C -0.22201 -0.35 -0.22526 -0.35116 -0.22526 -0.35116 C -0.22604 -0.3507 -0.22683 -0.34977 -0.22761 -0.34977 C -0.22839 -0.34977 -0.2293 -0.35 -0.22995 -0.35116 C -0.23034 -0.35186 -0.23138 -0.36042 -0.23151 -0.36065 C -0.23177 -0.36135 -0.23255 -0.36065 -0.23295 -0.36065 " pathEditMode="relative" ptsTypes="AAAAAAAAAAAAAAAAAAAAAAAAAAAAAAAAAAAAAAAAAAAAAAAAAAAAAAAAAAAAAAAAAAAAAAAAAAAAAAAAAAAAAAAAAAAAAAAAAAAAAAAA">
                                      <p:cBhvr>
                                        <p:cTn id="6" dur="80000" fill="hold"/>
                                        <p:tgtEl>
                                          <p:spTgt spid="49"/>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F3ADC-30F1-4B13-812C-A77EF816AB3D}"/>
              </a:ext>
            </a:extLst>
          </p:cNvPr>
          <p:cNvSpPr>
            <a:spLocks noGrp="1"/>
          </p:cNvSpPr>
          <p:nvPr>
            <p:ph type="title"/>
          </p:nvPr>
        </p:nvSpPr>
        <p:spPr/>
        <p:txBody>
          <a:bodyPr/>
          <a:lstStyle/>
          <a:p>
            <a:r>
              <a:rPr lang="de-DE"/>
              <a:t>Agenda</a:t>
            </a:r>
          </a:p>
        </p:txBody>
      </p:sp>
      <p:grpSp>
        <p:nvGrpSpPr>
          <p:cNvPr id="7" name="Gruppieren 6">
            <a:extLst>
              <a:ext uri="{FF2B5EF4-FFF2-40B4-BE49-F238E27FC236}">
                <a16:creationId xmlns:a16="http://schemas.microsoft.com/office/drawing/2014/main" id="{49E39CA1-6732-4B87-8407-0E76949A0A44}"/>
              </a:ext>
            </a:extLst>
          </p:cNvPr>
          <p:cNvGrpSpPr/>
          <p:nvPr/>
        </p:nvGrpSpPr>
        <p:grpSpPr>
          <a:xfrm>
            <a:off x="705494" y="1633157"/>
            <a:ext cx="10738602" cy="963043"/>
            <a:chOff x="695325" y="1376363"/>
            <a:chExt cx="4907462" cy="360000"/>
          </a:xfrm>
        </p:grpSpPr>
        <p:sp>
          <p:nvSpPr>
            <p:cNvPr id="8" name="Freihandform 40">
              <a:extLst>
                <a:ext uri="{FF2B5EF4-FFF2-40B4-BE49-F238E27FC236}">
                  <a16:creationId xmlns:a16="http://schemas.microsoft.com/office/drawing/2014/main" id="{FE9BD1F8-CB05-449C-945F-29A295717892}"/>
                </a:ext>
              </a:extLst>
            </p:cNvPr>
            <p:cNvSpPr/>
            <p:nvPr/>
          </p:nvSpPr>
          <p:spPr>
            <a:xfrm>
              <a:off x="1179887" y="1376363"/>
              <a:ext cx="4422900" cy="360000"/>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de-DE" sz="2400">
                  <a:solidFill>
                    <a:schemeClr val="bg1"/>
                  </a:solidFill>
                </a:rPr>
                <a:t>Zielsetzung</a:t>
              </a:r>
            </a:p>
          </p:txBody>
        </p:sp>
        <p:sp>
          <p:nvSpPr>
            <p:cNvPr id="9" name="Abgerundetes Rechteck 11">
              <a:extLst>
                <a:ext uri="{FF2B5EF4-FFF2-40B4-BE49-F238E27FC236}">
                  <a16:creationId xmlns:a16="http://schemas.microsoft.com/office/drawing/2014/main" id="{577836FD-EC08-4590-87B4-2116C9E24635}"/>
                </a:ext>
              </a:extLst>
            </p:cNvPr>
            <p:cNvSpPr/>
            <p:nvPr/>
          </p:nvSpPr>
          <p:spPr>
            <a:xfrm>
              <a:off x="695325" y="1376363"/>
              <a:ext cx="432000" cy="360000"/>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bIns="36000" rtlCol="0" anchor="ctr" anchorCtr="0">
              <a:noAutofit/>
            </a:bodyPr>
            <a:lstStyle/>
            <a:p>
              <a:pPr algn="ctr"/>
              <a:r>
                <a:rPr lang="de-DE" sz="2400">
                  <a:solidFill>
                    <a:schemeClr val="bg1"/>
                  </a:solidFill>
                </a:rPr>
                <a:t>1.</a:t>
              </a:r>
            </a:p>
          </p:txBody>
        </p:sp>
      </p:grpSp>
      <p:sp>
        <p:nvSpPr>
          <p:cNvPr id="10" name="Freihandform 38">
            <a:extLst>
              <a:ext uri="{FF2B5EF4-FFF2-40B4-BE49-F238E27FC236}">
                <a16:creationId xmlns:a16="http://schemas.microsoft.com/office/drawing/2014/main" id="{7D7306D9-054E-49D2-B00C-2C7EA4A525D7}"/>
              </a:ext>
            </a:extLst>
          </p:cNvPr>
          <p:cNvSpPr/>
          <p:nvPr/>
        </p:nvSpPr>
        <p:spPr>
          <a:xfrm>
            <a:off x="1764754" y="2748318"/>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Vorstell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1" name="Abgerundetes Rechteck 11">
            <a:extLst>
              <a:ext uri="{FF2B5EF4-FFF2-40B4-BE49-F238E27FC236}">
                <a16:creationId xmlns:a16="http://schemas.microsoft.com/office/drawing/2014/main" id="{63713944-2916-451F-AD4E-9CA399694C6B}"/>
              </a:ext>
            </a:extLst>
          </p:cNvPr>
          <p:cNvSpPr/>
          <p:nvPr/>
        </p:nvSpPr>
        <p:spPr>
          <a:xfrm>
            <a:off x="704426" y="2748318"/>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2.</a:t>
            </a:r>
          </a:p>
        </p:txBody>
      </p:sp>
      <p:sp>
        <p:nvSpPr>
          <p:cNvPr id="12" name="Freihandform 33">
            <a:extLst>
              <a:ext uri="{FF2B5EF4-FFF2-40B4-BE49-F238E27FC236}">
                <a16:creationId xmlns:a16="http://schemas.microsoft.com/office/drawing/2014/main" id="{1D572B6A-7E25-4D79-8D6C-865986E5BBAB}"/>
              </a:ext>
            </a:extLst>
          </p:cNvPr>
          <p:cNvSpPr/>
          <p:nvPr/>
        </p:nvSpPr>
        <p:spPr>
          <a:xfrm>
            <a:off x="1764754" y="3873791"/>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Bewert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3" name="Abgerundetes Rechteck 11">
            <a:extLst>
              <a:ext uri="{FF2B5EF4-FFF2-40B4-BE49-F238E27FC236}">
                <a16:creationId xmlns:a16="http://schemas.microsoft.com/office/drawing/2014/main" id="{35E02864-D4C6-4021-8A78-1945552B66EF}"/>
              </a:ext>
            </a:extLst>
          </p:cNvPr>
          <p:cNvSpPr/>
          <p:nvPr/>
        </p:nvSpPr>
        <p:spPr>
          <a:xfrm>
            <a:off x="703315" y="3873791"/>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1F4542"/>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3.</a:t>
            </a:r>
          </a:p>
        </p:txBody>
      </p:sp>
      <p:sp>
        <p:nvSpPr>
          <p:cNvPr id="18" name="Fußzeilenplatzhalter 4">
            <a:extLst>
              <a:ext uri="{FF2B5EF4-FFF2-40B4-BE49-F238E27FC236}">
                <a16:creationId xmlns:a16="http://schemas.microsoft.com/office/drawing/2014/main" id="{DA8CAD28-5AB9-4353-ACCF-C6C5F61828BA}"/>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5" name="Textplatzhalter 4">
            <a:extLst>
              <a:ext uri="{FF2B5EF4-FFF2-40B4-BE49-F238E27FC236}">
                <a16:creationId xmlns:a16="http://schemas.microsoft.com/office/drawing/2014/main" id="{341F8D5A-E1B2-43B4-9E46-38D44F50DD5C}"/>
              </a:ext>
            </a:extLst>
          </p:cNvPr>
          <p:cNvSpPr>
            <a:spLocks noGrp="1"/>
          </p:cNvSpPr>
          <p:nvPr>
            <p:ph type="body" sz="quarter" idx="10"/>
          </p:nvPr>
        </p:nvSpPr>
        <p:spPr/>
        <p:txBody>
          <a:bodyPr/>
          <a:lstStyle/>
          <a:p>
            <a:endParaRPr lang="de-DE"/>
          </a:p>
        </p:txBody>
      </p:sp>
      <p:sp>
        <p:nvSpPr>
          <p:cNvPr id="14" name="Freihandform 33">
            <a:extLst>
              <a:ext uri="{FF2B5EF4-FFF2-40B4-BE49-F238E27FC236}">
                <a16:creationId xmlns:a16="http://schemas.microsoft.com/office/drawing/2014/main" id="{46204DC1-18FD-4430-9956-AC2DF3BCBB7A}"/>
              </a:ext>
            </a:extLst>
          </p:cNvPr>
          <p:cNvSpPr/>
          <p:nvPr/>
        </p:nvSpPr>
        <p:spPr>
          <a:xfrm>
            <a:off x="1764754" y="4988952"/>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Fazit</a:t>
            </a:r>
            <a:r>
              <a:rPr lang="en-US" sz="2400">
                <a:solidFill>
                  <a:schemeClr val="bg1"/>
                </a:solidFill>
              </a:rPr>
              <a:t> &amp; </a:t>
            </a:r>
            <a:r>
              <a:rPr lang="en-US" sz="2400" err="1">
                <a:solidFill>
                  <a:schemeClr val="bg1"/>
                </a:solidFill>
              </a:rPr>
              <a:t>Ausblick</a:t>
            </a:r>
            <a:endParaRPr lang="en-US" sz="2400">
              <a:solidFill>
                <a:schemeClr val="bg1"/>
              </a:solidFill>
            </a:endParaRPr>
          </a:p>
        </p:txBody>
      </p:sp>
      <p:sp>
        <p:nvSpPr>
          <p:cNvPr id="15" name="Abgerundetes Rechteck 11">
            <a:extLst>
              <a:ext uri="{FF2B5EF4-FFF2-40B4-BE49-F238E27FC236}">
                <a16:creationId xmlns:a16="http://schemas.microsoft.com/office/drawing/2014/main" id="{52AB4097-DDEE-42E1-BF75-0EF0E943D607}"/>
              </a:ext>
            </a:extLst>
          </p:cNvPr>
          <p:cNvSpPr/>
          <p:nvPr/>
        </p:nvSpPr>
        <p:spPr>
          <a:xfrm>
            <a:off x="703315" y="4988952"/>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4.</a:t>
            </a:r>
          </a:p>
        </p:txBody>
      </p:sp>
    </p:spTree>
    <p:extLst>
      <p:ext uri="{BB962C8B-B14F-4D97-AF65-F5344CB8AC3E}">
        <p14:creationId xmlns:p14="http://schemas.microsoft.com/office/powerpoint/2010/main" val="14011691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CCDC948E-9EB6-485B-A98B-ABA7F0558620}"/>
              </a:ext>
            </a:extLst>
          </p:cNvPr>
          <p:cNvPicPr>
            <a:picLocks noChangeAspect="1"/>
          </p:cNvPicPr>
          <p:nvPr/>
        </p:nvPicPr>
        <p:blipFill>
          <a:blip r:embed="rId3"/>
          <a:stretch>
            <a:fillRect/>
          </a:stretch>
        </p:blipFill>
        <p:spPr>
          <a:xfrm>
            <a:off x="622831" y="2373972"/>
            <a:ext cx="6011985" cy="3263406"/>
          </a:xfrm>
          <a:prstGeom prst="rect">
            <a:avLst/>
          </a:prstGeom>
        </p:spPr>
      </p:pic>
      <p:grpSp>
        <p:nvGrpSpPr>
          <p:cNvPr id="421" name="Gruppieren 420">
            <a:extLst>
              <a:ext uri="{FF2B5EF4-FFF2-40B4-BE49-F238E27FC236}">
                <a16:creationId xmlns:a16="http://schemas.microsoft.com/office/drawing/2014/main" id="{9941C6E3-43FA-40D2-9EB9-727648D1C11A}"/>
              </a:ext>
            </a:extLst>
          </p:cNvPr>
          <p:cNvGrpSpPr/>
          <p:nvPr/>
        </p:nvGrpSpPr>
        <p:grpSpPr>
          <a:xfrm>
            <a:off x="12762268" y="3013913"/>
            <a:ext cx="3483435" cy="1828661"/>
            <a:chOff x="7470327" y="4338309"/>
            <a:chExt cx="3483435" cy="1828661"/>
          </a:xfrm>
        </p:grpSpPr>
        <p:grpSp>
          <p:nvGrpSpPr>
            <p:cNvPr id="419" name="Gruppieren 418">
              <a:extLst>
                <a:ext uri="{FF2B5EF4-FFF2-40B4-BE49-F238E27FC236}">
                  <a16:creationId xmlns:a16="http://schemas.microsoft.com/office/drawing/2014/main" id="{B2D04071-08CD-4563-AEFB-9ECCC3C05EAB}"/>
                </a:ext>
              </a:extLst>
            </p:cNvPr>
            <p:cNvGrpSpPr/>
            <p:nvPr/>
          </p:nvGrpSpPr>
          <p:grpSpPr>
            <a:xfrm>
              <a:off x="7470327" y="4610810"/>
              <a:ext cx="3242606" cy="1556160"/>
              <a:chOff x="5523502" y="4958189"/>
              <a:chExt cx="3242606" cy="1556160"/>
            </a:xfrm>
          </p:grpSpPr>
          <p:pic>
            <p:nvPicPr>
              <p:cNvPr id="417" name="Grafik 416">
                <a:extLst>
                  <a:ext uri="{FF2B5EF4-FFF2-40B4-BE49-F238E27FC236}">
                    <a16:creationId xmlns:a16="http://schemas.microsoft.com/office/drawing/2014/main" id="{B5750E33-4D44-4CD7-AF17-5FE78938E48A}"/>
                  </a:ext>
                </a:extLst>
              </p:cNvPr>
              <p:cNvPicPr>
                <a:picLocks noChangeAspect="1"/>
              </p:cNvPicPr>
              <p:nvPr/>
            </p:nvPicPr>
            <p:blipFill>
              <a:blip r:embed="rId4">
                <a:duotone>
                  <a:schemeClr val="accent4">
                    <a:shade val="45000"/>
                    <a:satMod val="135000"/>
                  </a:schemeClr>
                  <a:prstClr val="white"/>
                </a:duotone>
              </a:blip>
              <a:stretch>
                <a:fillRect/>
              </a:stretch>
            </p:blipFill>
            <p:spPr>
              <a:xfrm>
                <a:off x="5882175" y="4958189"/>
                <a:ext cx="2871465" cy="1530229"/>
              </a:xfrm>
              <a:prstGeom prst="rect">
                <a:avLst/>
              </a:prstGeom>
            </p:spPr>
          </p:pic>
          <p:sp>
            <p:nvSpPr>
              <p:cNvPr id="418" name="Rechteck 417">
                <a:extLst>
                  <a:ext uri="{FF2B5EF4-FFF2-40B4-BE49-F238E27FC236}">
                    <a16:creationId xmlns:a16="http://schemas.microsoft.com/office/drawing/2014/main" id="{B19FA483-FB58-4721-9B5C-4F39D5081CD5}"/>
                  </a:ext>
                </a:extLst>
              </p:cNvPr>
              <p:cNvSpPr/>
              <p:nvPr/>
            </p:nvSpPr>
            <p:spPr>
              <a:xfrm>
                <a:off x="5523502" y="6154309"/>
                <a:ext cx="3242606"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420" name="Rechteck 419">
              <a:extLst>
                <a:ext uri="{FF2B5EF4-FFF2-40B4-BE49-F238E27FC236}">
                  <a16:creationId xmlns:a16="http://schemas.microsoft.com/office/drawing/2014/main" id="{B95A1830-3DE9-4FAF-BB96-8BCD027AB2E0}"/>
                </a:ext>
              </a:extLst>
            </p:cNvPr>
            <p:cNvSpPr/>
            <p:nvPr/>
          </p:nvSpPr>
          <p:spPr>
            <a:xfrm rot="5400000">
              <a:off x="10008627" y="4923404"/>
              <a:ext cx="1530229"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2" name="Titel 1">
            <a:extLst>
              <a:ext uri="{FF2B5EF4-FFF2-40B4-BE49-F238E27FC236}">
                <a16:creationId xmlns:a16="http://schemas.microsoft.com/office/drawing/2014/main" id="{5C404AE5-A648-4944-AC2D-C52C26B04543}"/>
              </a:ext>
            </a:extLst>
          </p:cNvPr>
          <p:cNvSpPr>
            <a:spLocks noGrp="1"/>
          </p:cNvSpPr>
          <p:nvPr>
            <p:ph type="title"/>
          </p:nvPr>
        </p:nvSpPr>
        <p:spPr/>
        <p:txBody>
          <a:bodyPr/>
          <a:lstStyle/>
          <a:p>
            <a:r>
              <a:rPr lang="de-DE"/>
              <a:t>Bewertung der Projektergebnisse </a:t>
            </a:r>
          </a:p>
        </p:txBody>
      </p:sp>
      <p:sp>
        <p:nvSpPr>
          <p:cNvPr id="4" name="Fußzeilenplatzhalter 3">
            <a:extLst>
              <a:ext uri="{FF2B5EF4-FFF2-40B4-BE49-F238E27FC236}">
                <a16:creationId xmlns:a16="http://schemas.microsoft.com/office/drawing/2014/main" id="{8B7B9FF0-BECE-4FF8-B3AD-8AD331F7E501}"/>
              </a:ext>
            </a:extLst>
          </p:cNvPr>
          <p:cNvSpPr>
            <a:spLocks noGrp="1"/>
          </p:cNvSpPr>
          <p:nvPr>
            <p:ph type="ftr" sz="quarter" idx="11"/>
          </p:nvPr>
        </p:nvSpPr>
        <p:spPr/>
        <p:txBody>
          <a:bodyPr/>
          <a:lstStyle/>
          <a:p>
            <a:pPr>
              <a:spcBef>
                <a:spcPct val="20000"/>
              </a:spcBef>
            </a:pPr>
            <a:r>
              <a:rPr lang="de-DE"/>
              <a:t>SCA Case Study – 28.07.2021</a:t>
            </a:r>
          </a:p>
        </p:txBody>
      </p:sp>
      <p:grpSp>
        <p:nvGrpSpPr>
          <p:cNvPr id="8" name="Gruppieren 7">
            <a:extLst>
              <a:ext uri="{FF2B5EF4-FFF2-40B4-BE49-F238E27FC236}">
                <a16:creationId xmlns:a16="http://schemas.microsoft.com/office/drawing/2014/main" id="{F6E779F6-F3B3-4396-8650-1465FF43081F}"/>
              </a:ext>
            </a:extLst>
          </p:cNvPr>
          <p:cNvGrpSpPr/>
          <p:nvPr/>
        </p:nvGrpSpPr>
        <p:grpSpPr>
          <a:xfrm>
            <a:off x="13882510" y="-1391288"/>
            <a:ext cx="8611362" cy="4677702"/>
            <a:chOff x="13882510" y="-1391288"/>
            <a:chExt cx="8611362" cy="4677702"/>
          </a:xfrm>
        </p:grpSpPr>
        <p:grpSp>
          <p:nvGrpSpPr>
            <p:cNvPr id="448" name="Gruppieren 447">
              <a:extLst>
                <a:ext uri="{FF2B5EF4-FFF2-40B4-BE49-F238E27FC236}">
                  <a16:creationId xmlns:a16="http://schemas.microsoft.com/office/drawing/2014/main" id="{F1B23281-4112-47BB-9F7B-A9EDF767267C}"/>
                </a:ext>
              </a:extLst>
            </p:cNvPr>
            <p:cNvGrpSpPr/>
            <p:nvPr/>
          </p:nvGrpSpPr>
          <p:grpSpPr>
            <a:xfrm>
              <a:off x="17402781" y="-1385413"/>
              <a:ext cx="5091091" cy="4671826"/>
              <a:chOff x="5861021" y="1123476"/>
              <a:chExt cx="5091091" cy="4671826"/>
            </a:xfrm>
          </p:grpSpPr>
          <p:sp>
            <p:nvSpPr>
              <p:cNvPr id="121" name="Rechteck: abgerundete Ecken 120">
                <a:extLst>
                  <a:ext uri="{FF2B5EF4-FFF2-40B4-BE49-F238E27FC236}">
                    <a16:creationId xmlns:a16="http://schemas.microsoft.com/office/drawing/2014/main" id="{E6FB5AA4-2465-409E-98E1-FB9B2B004BD5}"/>
                  </a:ext>
                </a:extLst>
              </p:cNvPr>
              <p:cNvSpPr/>
              <p:nvPr/>
            </p:nvSpPr>
            <p:spPr>
              <a:xfrm>
                <a:off x="6765937" y="1123476"/>
                <a:ext cx="3840037" cy="4671826"/>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r>
                  <a:rPr lang="de-DE" sz="800" b="1" u="sng">
                    <a:solidFill>
                      <a:srgbClr val="E0E0E0"/>
                    </a:solidFill>
                  </a:rPr>
                  <a:t>x</a:t>
                </a:r>
                <a:endParaRPr lang="de-DE" sz="1400">
                  <a:solidFill>
                    <a:schemeClr val="tx1"/>
                  </a:solidFill>
                </a:endParaRPr>
              </a:p>
              <a:p>
                <a:endParaRPr lang="de-DE" sz="1400">
                  <a:solidFill>
                    <a:schemeClr val="tx1"/>
                  </a:solidFill>
                </a:endParaRPr>
              </a:p>
            </p:txBody>
          </p:sp>
          <p:sp>
            <p:nvSpPr>
              <p:cNvPr id="157" name="Textfeld 156">
                <a:extLst>
                  <a:ext uri="{FF2B5EF4-FFF2-40B4-BE49-F238E27FC236}">
                    <a16:creationId xmlns:a16="http://schemas.microsoft.com/office/drawing/2014/main" id="{AB7D0F5E-2796-43C9-8F08-D23362B62802}"/>
                  </a:ext>
                </a:extLst>
              </p:cNvPr>
              <p:cNvSpPr txBox="1"/>
              <p:nvPr/>
            </p:nvSpPr>
            <p:spPr bwMode="auto">
              <a:xfrm>
                <a:off x="7939609" y="4816931"/>
                <a:ext cx="2263335" cy="787370"/>
              </a:xfrm>
              <a:prstGeom prst="rect">
                <a:avLst/>
              </a:prstGeom>
              <a:noFill/>
              <a:ln w="6350">
                <a:noFill/>
                <a:prstDash val="solid"/>
                <a:miter lim="800000"/>
                <a:headEnd/>
                <a:tailEnd/>
              </a:ln>
            </p:spPr>
            <p:txBody>
              <a:bodyPr wrap="square" lIns="72000" rIns="72000" rtlCol="0">
                <a:noAutofit/>
              </a:bodyPr>
              <a:lstStyle/>
              <a:p>
                <a:r>
                  <a:rPr lang="en-US" sz="1200" b="1">
                    <a:solidFill>
                      <a:schemeClr val="bg1">
                        <a:lumMod val="65000"/>
                      </a:schemeClr>
                    </a:solidFill>
                    <a:latin typeface="+mj-lt"/>
                    <a:cs typeface="Helvetica" panose="020B0604020202020204" pitchFamily="34" charset="0"/>
                  </a:rPr>
                  <a:t>ZIEL 2</a:t>
                </a:r>
              </a:p>
              <a:p>
                <a:r>
                  <a:rPr lang="en-US" sz="1400" b="1" err="1">
                    <a:solidFill>
                      <a:schemeClr val="tx1"/>
                    </a:solidFill>
                    <a:latin typeface="+mj-lt"/>
                    <a:cs typeface="Helvetica" panose="020B0604020202020204" pitchFamily="34" charset="0"/>
                  </a:rPr>
                  <a:t>Erstellung</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eines</a:t>
                </a:r>
                <a:r>
                  <a:rPr lang="en-US" sz="1400" b="1">
                    <a:solidFill>
                      <a:schemeClr val="tx1"/>
                    </a:solidFill>
                    <a:latin typeface="+mj-lt"/>
                    <a:cs typeface="Helvetica" panose="020B0604020202020204" pitchFamily="34" charset="0"/>
                  </a:rPr>
                  <a:t> Mock-</a:t>
                </a:r>
                <a:r>
                  <a:rPr lang="en-US" sz="1400" b="1">
                    <a:latin typeface="+mj-lt"/>
                    <a:cs typeface="Helvetica" panose="020B0604020202020204" pitchFamily="34" charset="0"/>
                  </a:rPr>
                  <a:t>Ups </a:t>
                </a:r>
                <a:r>
                  <a:rPr lang="en-US" sz="1400" b="1" err="1">
                    <a:latin typeface="+mj-lt"/>
                    <a:cs typeface="Helvetica" panose="020B0604020202020204" pitchFamily="34" charset="0"/>
                  </a:rPr>
                  <a:t>eines</a:t>
                </a:r>
                <a:r>
                  <a:rPr lang="en-US" sz="1400" b="1">
                    <a:latin typeface="+mj-lt"/>
                    <a:cs typeface="Helvetica" panose="020B0604020202020204" pitchFamily="34" charset="0"/>
                  </a:rPr>
                  <a:t> </a:t>
                </a:r>
                <a:r>
                  <a:rPr lang="en-US" sz="1400" b="1">
                    <a:solidFill>
                      <a:schemeClr val="tx1"/>
                    </a:solidFill>
                    <a:latin typeface="+mj-lt"/>
                    <a:cs typeface="Helvetica" panose="020B0604020202020204" pitchFamily="34" charset="0"/>
                  </a:rPr>
                  <a:t>Dashboards</a:t>
                </a:r>
                <a:br>
                  <a:rPr lang="en-US" sz="1400" b="1">
                    <a:solidFill>
                      <a:schemeClr val="tx1"/>
                    </a:solidFill>
                    <a:latin typeface="+mj-lt"/>
                    <a:cs typeface="Helvetica" panose="020B0604020202020204" pitchFamily="34" charset="0"/>
                  </a:rPr>
                </a:br>
                <a:endParaRPr lang="en-US" sz="1400" b="1">
                  <a:solidFill>
                    <a:schemeClr val="tx1"/>
                  </a:solidFill>
                  <a:latin typeface="+mj-lt"/>
                </a:endParaRPr>
              </a:p>
              <a:p>
                <a:pPr>
                  <a:lnSpc>
                    <a:spcPct val="125000"/>
                  </a:lnSpc>
                  <a:spcAft>
                    <a:spcPts val="400"/>
                  </a:spcAft>
                  <a:buClr>
                    <a:schemeClr val="accent1"/>
                  </a:buClr>
                </a:pPr>
                <a:endParaRPr lang="de-DE" sz="1400"/>
              </a:p>
            </p:txBody>
          </p:sp>
          <p:sp>
            <p:nvSpPr>
              <p:cNvPr id="257" name="Ellipse 256">
                <a:extLst>
                  <a:ext uri="{FF2B5EF4-FFF2-40B4-BE49-F238E27FC236}">
                    <a16:creationId xmlns:a16="http://schemas.microsoft.com/office/drawing/2014/main" id="{59415F2A-99A9-4351-854A-B5E42F5211DC}"/>
                  </a:ext>
                </a:extLst>
              </p:cNvPr>
              <p:cNvSpPr/>
              <p:nvPr/>
            </p:nvSpPr>
            <p:spPr>
              <a:xfrm>
                <a:off x="7143188" y="4842574"/>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58" name="Gruppieren 257">
                <a:extLst>
                  <a:ext uri="{FF2B5EF4-FFF2-40B4-BE49-F238E27FC236}">
                    <a16:creationId xmlns:a16="http://schemas.microsoft.com/office/drawing/2014/main" id="{7EF78689-4125-4B85-8E97-46BB0EE3A858}"/>
                  </a:ext>
                </a:extLst>
              </p:cNvPr>
              <p:cNvGrpSpPr/>
              <p:nvPr/>
            </p:nvGrpSpPr>
            <p:grpSpPr>
              <a:xfrm>
                <a:off x="7248380" y="4910846"/>
                <a:ext cx="565716" cy="573401"/>
                <a:chOff x="5005741" y="4020009"/>
                <a:chExt cx="914400" cy="914400"/>
              </a:xfrm>
              <a:solidFill>
                <a:schemeClr val="accent3"/>
              </a:solidFill>
            </p:grpSpPr>
            <p:pic>
              <p:nvPicPr>
                <p:cNvPr id="175" name="Grafik 174" descr="Liniendiagramm mit einfarbiger Füllung">
                  <a:extLst>
                    <a:ext uri="{FF2B5EF4-FFF2-40B4-BE49-F238E27FC236}">
                      <a16:creationId xmlns:a16="http://schemas.microsoft.com/office/drawing/2014/main" id="{E83061F0-7FF1-4F87-B999-AE8C61DBE7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5741" y="4020009"/>
                  <a:ext cx="914400" cy="914400"/>
                </a:xfrm>
                <a:prstGeom prst="rect">
                  <a:avLst/>
                </a:prstGeom>
              </p:spPr>
            </p:pic>
            <p:pic>
              <p:nvPicPr>
                <p:cNvPr id="177" name="Grafik 176" descr="Zahnräder mit einfarbiger Füllung">
                  <a:extLst>
                    <a:ext uri="{FF2B5EF4-FFF2-40B4-BE49-F238E27FC236}">
                      <a16:creationId xmlns:a16="http://schemas.microsoft.com/office/drawing/2014/main" id="{7DECBE55-DAF7-4B0C-9DFB-7799A778FE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71056">
                  <a:off x="5145071" y="4239380"/>
                  <a:ext cx="534076" cy="534076"/>
                </a:xfrm>
                <a:prstGeom prst="rect">
                  <a:avLst/>
                </a:prstGeom>
              </p:spPr>
            </p:pic>
          </p:grpSp>
          <p:sp>
            <p:nvSpPr>
              <p:cNvPr id="422" name="Textfeld 421">
                <a:extLst>
                  <a:ext uri="{FF2B5EF4-FFF2-40B4-BE49-F238E27FC236}">
                    <a16:creationId xmlns:a16="http://schemas.microsoft.com/office/drawing/2014/main" id="{D8D1D3A0-F7FD-440E-96A3-8944EAFEF199}"/>
                  </a:ext>
                </a:extLst>
              </p:cNvPr>
              <p:cNvSpPr txBox="1"/>
              <p:nvPr/>
            </p:nvSpPr>
            <p:spPr bwMode="auto">
              <a:xfrm>
                <a:off x="7555994" y="1293619"/>
                <a:ext cx="2871466" cy="1258578"/>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en-US" sz="1300" u="sng" err="1">
                    <a:latin typeface="+mj-lt"/>
                    <a:cs typeface="Helvetica" panose="020B0604020202020204" pitchFamily="34" charset="0"/>
                  </a:rPr>
                  <a:t>Anforderungen</a:t>
                </a:r>
                <a:endParaRPr lang="en-US" sz="1300" u="sng">
                  <a:latin typeface="+mj-lt"/>
                  <a:cs typeface="Helvetica" panose="020B0604020202020204" pitchFamily="34" charset="0"/>
                </a:endParaRPr>
              </a:p>
              <a:p>
                <a:pPr>
                  <a:lnSpc>
                    <a:spcPct val="125000"/>
                  </a:lnSpc>
                  <a:spcAft>
                    <a:spcPts val="400"/>
                  </a:spcAft>
                  <a:buClr>
                    <a:schemeClr val="accent1"/>
                  </a:buClr>
                </a:pPr>
                <a:r>
                  <a:rPr lang="en-US" sz="1300">
                    <a:latin typeface="+mj-lt"/>
                    <a:cs typeface="Helvetica" panose="020B0604020202020204" pitchFamily="34" charset="0"/>
                  </a:rPr>
                  <a:t>Intuitive </a:t>
                </a:r>
                <a:r>
                  <a:rPr lang="en-US" sz="1300" err="1">
                    <a:latin typeface="+mj-lt"/>
                    <a:cs typeface="Helvetica" panose="020B0604020202020204" pitchFamily="34" charset="0"/>
                  </a:rPr>
                  <a:t>Anwendung</a:t>
                </a:r>
                <a:r>
                  <a:rPr lang="en-US" sz="1300">
                    <a:latin typeface="+mj-lt"/>
                    <a:cs typeface="Helvetica" panose="020B0604020202020204" pitchFamily="34" charset="0"/>
                  </a:rPr>
                  <a:t> </a:t>
                </a:r>
              </a:p>
              <a:p>
                <a:pPr>
                  <a:lnSpc>
                    <a:spcPct val="125000"/>
                  </a:lnSpc>
                  <a:spcAft>
                    <a:spcPts val="400"/>
                  </a:spcAft>
                  <a:buClr>
                    <a:schemeClr val="accent1"/>
                  </a:buClr>
                </a:pPr>
                <a:r>
                  <a:rPr lang="en-US" sz="1300" err="1">
                    <a:latin typeface="+mj-lt"/>
                    <a:cs typeface="Helvetica" panose="020B0604020202020204" pitchFamily="34" charset="0"/>
                  </a:rPr>
                  <a:t>Übersichtliche</a:t>
                </a:r>
                <a:r>
                  <a:rPr lang="en-US" sz="1300">
                    <a:latin typeface="+mj-lt"/>
                    <a:cs typeface="Helvetica" panose="020B0604020202020204" pitchFamily="34" charset="0"/>
                  </a:rPr>
                  <a:t> </a:t>
                </a:r>
                <a:r>
                  <a:rPr lang="en-US" sz="1300" err="1">
                    <a:latin typeface="+mj-lt"/>
                    <a:cs typeface="Helvetica" panose="020B0604020202020204" pitchFamily="34" charset="0"/>
                  </a:rPr>
                  <a:t>Darstellung</a:t>
                </a:r>
                <a:r>
                  <a:rPr lang="en-US" sz="1300">
                    <a:latin typeface="+mj-lt"/>
                    <a:cs typeface="Helvetica" panose="020B0604020202020204" pitchFamily="34" charset="0"/>
                  </a:rPr>
                  <a:t> der </a:t>
                </a:r>
                <a:r>
                  <a:rPr lang="en-US" sz="1300" err="1">
                    <a:latin typeface="+mj-lt"/>
                    <a:cs typeface="Helvetica" panose="020B0604020202020204" pitchFamily="34" charset="0"/>
                  </a:rPr>
                  <a:t>Ergebnisse</a:t>
                </a:r>
                <a:r>
                  <a:rPr lang="en-US" sz="1300">
                    <a:latin typeface="+mj-lt"/>
                    <a:cs typeface="Helvetica" panose="020B0604020202020204" pitchFamily="34" charset="0"/>
                  </a:rPr>
                  <a:t> der </a:t>
                </a:r>
                <a:r>
                  <a:rPr lang="en-US" sz="1300" err="1">
                    <a:latin typeface="+mj-lt"/>
                    <a:cs typeface="Helvetica" panose="020B0604020202020204" pitchFamily="34" charset="0"/>
                  </a:rPr>
                  <a:t>Prognosemodelle</a:t>
                </a:r>
                <a:endParaRPr lang="en-US" sz="1300">
                  <a:latin typeface="+mj-lt"/>
                  <a:cs typeface="Helvetica" panose="020B0604020202020204" pitchFamily="34" charset="0"/>
                </a:endParaRPr>
              </a:p>
              <a:p>
                <a:pPr>
                  <a:lnSpc>
                    <a:spcPct val="125000"/>
                  </a:lnSpc>
                  <a:spcAft>
                    <a:spcPts val="400"/>
                  </a:spcAft>
                  <a:buClr>
                    <a:schemeClr val="accent1"/>
                  </a:buClr>
                </a:pPr>
                <a:r>
                  <a:rPr lang="en-US" sz="1300" err="1">
                    <a:latin typeface="+mj-lt"/>
                    <a:cs typeface="Helvetica" panose="020B0604020202020204" pitchFamily="34" charset="0"/>
                  </a:rPr>
                  <a:t>Aufbereitung</a:t>
                </a:r>
                <a:r>
                  <a:rPr lang="en-US" sz="1300">
                    <a:latin typeface="+mj-lt"/>
                    <a:cs typeface="Helvetica" panose="020B0604020202020204" pitchFamily="34" charset="0"/>
                  </a:rPr>
                  <a:t> </a:t>
                </a:r>
                <a:r>
                  <a:rPr lang="en-US" sz="1300" err="1">
                    <a:latin typeface="+mj-lt"/>
                    <a:cs typeface="Helvetica" panose="020B0604020202020204" pitchFamily="34" charset="0"/>
                  </a:rPr>
                  <a:t>weiterer</a:t>
                </a:r>
                <a:r>
                  <a:rPr lang="en-US" sz="1300">
                    <a:latin typeface="+mj-lt"/>
                    <a:cs typeface="Helvetica" panose="020B0604020202020204" pitchFamily="34" charset="0"/>
                  </a:rPr>
                  <a:t> </a:t>
                </a:r>
                <a:r>
                  <a:rPr lang="en-US" sz="1300" err="1">
                    <a:latin typeface="+mj-lt"/>
                    <a:cs typeface="Helvetica" panose="020B0604020202020204" pitchFamily="34" charset="0"/>
                  </a:rPr>
                  <a:t>Daten</a:t>
                </a:r>
                <a:r>
                  <a:rPr lang="en-US" sz="1300">
                    <a:latin typeface="+mj-lt"/>
                    <a:cs typeface="Helvetica" panose="020B0604020202020204" pitchFamily="34" charset="0"/>
                  </a:rPr>
                  <a:t> &amp; </a:t>
                </a:r>
                <a:r>
                  <a:rPr lang="en-US" sz="1300" err="1">
                    <a:latin typeface="+mj-lt"/>
                    <a:cs typeface="Helvetica" panose="020B0604020202020204" pitchFamily="34" charset="0"/>
                  </a:rPr>
                  <a:t>Informationen</a:t>
                </a:r>
                <a:r>
                  <a:rPr lang="en-US" sz="1300">
                    <a:latin typeface="+mj-lt"/>
                    <a:cs typeface="Helvetica" panose="020B0604020202020204" pitchFamily="34" charset="0"/>
                  </a:rPr>
                  <a:t> </a:t>
                </a:r>
                <a:r>
                  <a:rPr lang="en-US" sz="1300" err="1">
                    <a:latin typeface="+mj-lt"/>
                    <a:cs typeface="Helvetica" panose="020B0604020202020204" pitchFamily="34" charset="0"/>
                  </a:rPr>
                  <a:t>für</a:t>
                </a:r>
                <a:r>
                  <a:rPr lang="en-US" sz="1300">
                    <a:latin typeface="+mj-lt"/>
                    <a:cs typeface="Helvetica" panose="020B0604020202020204" pitchFamily="34" charset="0"/>
                  </a:rPr>
                  <a:t> </a:t>
                </a:r>
                <a:r>
                  <a:rPr lang="en-US" sz="1300" err="1">
                    <a:latin typeface="+mj-lt"/>
                    <a:cs typeface="Helvetica" panose="020B0604020202020204" pitchFamily="34" charset="0"/>
                  </a:rPr>
                  <a:t>Hafenbetreiber</a:t>
                </a:r>
                <a:endParaRPr lang="en-US" sz="1300">
                  <a:latin typeface="+mj-lt"/>
                  <a:cs typeface="Helvetica" panose="020B0604020202020204" pitchFamily="34" charset="0"/>
                </a:endParaRPr>
              </a:p>
              <a:p>
                <a:pPr>
                  <a:lnSpc>
                    <a:spcPct val="125000"/>
                  </a:lnSpc>
                  <a:spcAft>
                    <a:spcPts val="400"/>
                  </a:spcAft>
                  <a:buClr>
                    <a:schemeClr val="accent1"/>
                  </a:buClr>
                </a:pPr>
                <a:r>
                  <a:rPr lang="en-US" sz="1300" err="1">
                    <a:solidFill>
                      <a:schemeClr val="tx1"/>
                    </a:solidFill>
                    <a:latin typeface="+mj-lt"/>
                    <a:cs typeface="Helvetica" panose="020B0604020202020204" pitchFamily="34" charset="0"/>
                  </a:rPr>
                  <a:t>Einbindung</a:t>
                </a:r>
                <a:r>
                  <a:rPr lang="en-US" sz="1300">
                    <a:solidFill>
                      <a:schemeClr val="tx1"/>
                    </a:solidFill>
                    <a:latin typeface="+mj-lt"/>
                    <a:cs typeface="Helvetica" panose="020B0604020202020204" pitchFamily="34" charset="0"/>
                  </a:rPr>
                  <a:t> von Alerts &amp; </a:t>
                </a:r>
                <a:r>
                  <a:rPr lang="en-US" sz="1300" err="1">
                    <a:solidFill>
                      <a:schemeClr val="tx1"/>
                    </a:solidFill>
                    <a:latin typeface="+mj-lt"/>
                    <a:cs typeface="Helvetica" panose="020B0604020202020204" pitchFamily="34" charset="0"/>
                  </a:rPr>
                  <a:t>Handlungsempfehlungen</a:t>
                </a:r>
                <a:endParaRPr lang="en-US" sz="1300">
                  <a:solidFill>
                    <a:schemeClr val="tx1"/>
                  </a:solidFill>
                  <a:latin typeface="+mj-lt"/>
                  <a:cs typeface="Helvetica" panose="020B0604020202020204" pitchFamily="34" charset="0"/>
                </a:endParaRPr>
              </a:p>
              <a:p>
                <a:pPr>
                  <a:lnSpc>
                    <a:spcPct val="125000"/>
                  </a:lnSpc>
                  <a:spcAft>
                    <a:spcPts val="400"/>
                  </a:spcAft>
                  <a:buClr>
                    <a:schemeClr val="accent1"/>
                  </a:buClr>
                </a:pPr>
                <a:endParaRPr lang="de-DE" sz="1300"/>
              </a:p>
            </p:txBody>
          </p:sp>
          <p:sp>
            <p:nvSpPr>
              <p:cNvPr id="423" name="Ellipse 422">
                <a:extLst>
                  <a:ext uri="{FF2B5EF4-FFF2-40B4-BE49-F238E27FC236}">
                    <a16:creationId xmlns:a16="http://schemas.microsoft.com/office/drawing/2014/main" id="{7D01BA23-8181-4C85-8E02-9F087089F30D}"/>
                  </a:ext>
                </a:extLst>
              </p:cNvPr>
              <p:cNvSpPr/>
              <p:nvPr/>
            </p:nvSpPr>
            <p:spPr>
              <a:xfrm>
                <a:off x="7296033" y="1702041"/>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4" name="Ellipse 423">
                <a:extLst>
                  <a:ext uri="{FF2B5EF4-FFF2-40B4-BE49-F238E27FC236}">
                    <a16:creationId xmlns:a16="http://schemas.microsoft.com/office/drawing/2014/main" id="{7EA9C3DD-7015-4DD4-85B5-08F3BE54C431}"/>
                  </a:ext>
                </a:extLst>
              </p:cNvPr>
              <p:cNvSpPr/>
              <p:nvPr/>
            </p:nvSpPr>
            <p:spPr>
              <a:xfrm>
                <a:off x="7296033" y="1995504"/>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5" name="Ellipse 424">
                <a:extLst>
                  <a:ext uri="{FF2B5EF4-FFF2-40B4-BE49-F238E27FC236}">
                    <a16:creationId xmlns:a16="http://schemas.microsoft.com/office/drawing/2014/main" id="{4B46C7FB-C457-4283-AAAA-55989C9AECA2}"/>
                  </a:ext>
                </a:extLst>
              </p:cNvPr>
              <p:cNvSpPr/>
              <p:nvPr/>
            </p:nvSpPr>
            <p:spPr>
              <a:xfrm>
                <a:off x="7296033" y="2548772"/>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6" name="Ellipse 425">
                <a:extLst>
                  <a:ext uri="{FF2B5EF4-FFF2-40B4-BE49-F238E27FC236}">
                    <a16:creationId xmlns:a16="http://schemas.microsoft.com/office/drawing/2014/main" id="{8F999E43-F19E-4C41-98C1-A4EA345C703B}"/>
                  </a:ext>
                </a:extLst>
              </p:cNvPr>
              <p:cNvSpPr/>
              <p:nvPr/>
            </p:nvSpPr>
            <p:spPr>
              <a:xfrm>
                <a:off x="7296033" y="3115611"/>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cxnSp>
            <p:nvCxnSpPr>
              <p:cNvPr id="428" name="Gerader Verbinder 427">
                <a:extLst>
                  <a:ext uri="{FF2B5EF4-FFF2-40B4-BE49-F238E27FC236}">
                    <a16:creationId xmlns:a16="http://schemas.microsoft.com/office/drawing/2014/main" id="{2468F2A5-7B3E-465C-9746-F702B163A913}"/>
                  </a:ext>
                </a:extLst>
              </p:cNvPr>
              <p:cNvCxnSpPr>
                <a:cxnSpLocks/>
                <a:stCxn id="257" idx="0"/>
              </p:cNvCxnSpPr>
              <p:nvPr/>
            </p:nvCxnSpPr>
            <p:spPr>
              <a:xfrm flipV="1">
                <a:off x="7507450" y="1408045"/>
                <a:ext cx="0" cy="3434529"/>
              </a:xfrm>
              <a:prstGeom prst="line">
                <a:avLst/>
              </a:prstGeom>
              <a:ln w="63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pic>
            <p:nvPicPr>
              <p:cNvPr id="438" name="Grafik 437">
                <a:extLst>
                  <a:ext uri="{FF2B5EF4-FFF2-40B4-BE49-F238E27FC236}">
                    <a16:creationId xmlns:a16="http://schemas.microsoft.com/office/drawing/2014/main" id="{FD5FB8F8-E680-4851-B745-4179684E3073}"/>
                  </a:ext>
                </a:extLst>
              </p:cNvPr>
              <p:cNvPicPr>
                <a:picLocks noChangeAspect="1"/>
              </p:cNvPicPr>
              <p:nvPr/>
            </p:nvPicPr>
            <p:blipFill>
              <a:blip r:embed="rId4">
                <a:duotone>
                  <a:schemeClr val="accent4">
                    <a:shade val="45000"/>
                    <a:satMod val="135000"/>
                  </a:schemeClr>
                  <a:prstClr val="white"/>
                </a:duotone>
              </a:blip>
              <a:stretch>
                <a:fillRect/>
              </a:stretch>
            </p:blipFill>
            <p:spPr>
              <a:xfrm>
                <a:off x="8044426" y="3744785"/>
                <a:ext cx="2605519" cy="1361252"/>
              </a:xfrm>
              <a:prstGeom prst="rect">
                <a:avLst/>
              </a:prstGeom>
            </p:spPr>
          </p:pic>
          <p:sp>
            <p:nvSpPr>
              <p:cNvPr id="441" name="Rechteck 440">
                <a:extLst>
                  <a:ext uri="{FF2B5EF4-FFF2-40B4-BE49-F238E27FC236}">
                    <a16:creationId xmlns:a16="http://schemas.microsoft.com/office/drawing/2014/main" id="{C787DFBE-0A84-4E7F-A19E-E41ED0EAFFCF}"/>
                  </a:ext>
                </a:extLst>
              </p:cNvPr>
              <p:cNvSpPr/>
              <p:nvPr/>
            </p:nvSpPr>
            <p:spPr>
              <a:xfrm rot="5400000">
                <a:off x="10006977" y="4160902"/>
                <a:ext cx="1530229"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46" name="Pfeil: nach rechts 445">
                <a:extLst>
                  <a:ext uri="{FF2B5EF4-FFF2-40B4-BE49-F238E27FC236}">
                    <a16:creationId xmlns:a16="http://schemas.microsoft.com/office/drawing/2014/main" id="{28B3A670-0C43-4FE9-9DFC-725284B45969}"/>
                  </a:ext>
                </a:extLst>
              </p:cNvPr>
              <p:cNvSpPr/>
              <p:nvPr/>
            </p:nvSpPr>
            <p:spPr>
              <a:xfrm>
                <a:off x="5861021" y="4832826"/>
                <a:ext cx="1169700" cy="764054"/>
              </a:xfrm>
              <a:prstGeom prst="rightArrow">
                <a:avLst>
                  <a:gd name="adj1" fmla="val 50000"/>
                  <a:gd name="adj2" fmla="val 55954"/>
                </a:avLst>
              </a:prstGeom>
              <a:solidFill>
                <a:srgbClr val="E0E0E0"/>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grpSp>
          <p:nvGrpSpPr>
            <p:cNvPr id="3" name="Gruppieren 2">
              <a:extLst>
                <a:ext uri="{FF2B5EF4-FFF2-40B4-BE49-F238E27FC236}">
                  <a16:creationId xmlns:a16="http://schemas.microsoft.com/office/drawing/2014/main" id="{FE93DFC3-3D01-4066-95C0-AB40099D069B}"/>
                </a:ext>
              </a:extLst>
            </p:cNvPr>
            <p:cNvGrpSpPr/>
            <p:nvPr/>
          </p:nvGrpSpPr>
          <p:grpSpPr>
            <a:xfrm>
              <a:off x="13882510" y="-1391288"/>
              <a:ext cx="3840037" cy="4677702"/>
              <a:chOff x="1304430" y="1117601"/>
              <a:chExt cx="3840037" cy="4677702"/>
            </a:xfrm>
          </p:grpSpPr>
          <p:sp>
            <p:nvSpPr>
              <p:cNvPr id="5" name="Rechteck: abgerundete Ecken 4">
                <a:extLst>
                  <a:ext uri="{FF2B5EF4-FFF2-40B4-BE49-F238E27FC236}">
                    <a16:creationId xmlns:a16="http://schemas.microsoft.com/office/drawing/2014/main" id="{25A64A18-7FCC-4B03-B655-4FCF06C22A75}"/>
                  </a:ext>
                </a:extLst>
              </p:cNvPr>
              <p:cNvSpPr/>
              <p:nvPr/>
            </p:nvSpPr>
            <p:spPr>
              <a:xfrm>
                <a:off x="1304430" y="1117601"/>
                <a:ext cx="3840037" cy="4677702"/>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r>
                  <a:rPr lang="de-DE" sz="800" b="1" u="sng">
                    <a:solidFill>
                      <a:srgbClr val="E0E0E0"/>
                    </a:solidFill>
                  </a:rPr>
                  <a:t>x</a:t>
                </a:r>
                <a:endParaRPr lang="de-DE" sz="1400">
                  <a:solidFill>
                    <a:schemeClr val="tx1"/>
                  </a:solidFill>
                </a:endParaRPr>
              </a:p>
              <a:p>
                <a:endParaRPr lang="de-DE" sz="1400">
                  <a:solidFill>
                    <a:schemeClr val="tx1"/>
                  </a:solidFill>
                </a:endParaRPr>
              </a:p>
            </p:txBody>
          </p:sp>
          <p:sp>
            <p:nvSpPr>
              <p:cNvPr id="116" name="Rechteck: abgerundete Ecken 115">
                <a:extLst>
                  <a:ext uri="{FF2B5EF4-FFF2-40B4-BE49-F238E27FC236}">
                    <a16:creationId xmlns:a16="http://schemas.microsoft.com/office/drawing/2014/main" id="{121510AB-EC4F-43B7-8193-13808FAB3BA7}"/>
                  </a:ext>
                </a:extLst>
              </p:cNvPr>
              <p:cNvSpPr/>
              <p:nvPr/>
            </p:nvSpPr>
            <p:spPr>
              <a:xfrm>
                <a:off x="3257982" y="2818772"/>
                <a:ext cx="1805727" cy="2627277"/>
              </a:xfrm>
              <a:prstGeom prst="roundRect">
                <a:avLst>
                  <a:gd name="adj" fmla="val 7337"/>
                </a:avLst>
              </a:prstGeom>
              <a:solidFill>
                <a:schemeClr val="bg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endParaRPr lang="de-DE" sz="1400">
                  <a:solidFill>
                    <a:schemeClr val="tx1"/>
                  </a:solidFill>
                </a:endParaRPr>
              </a:p>
              <a:p>
                <a:endParaRPr lang="de-DE" sz="1400">
                  <a:solidFill>
                    <a:schemeClr val="tx1"/>
                  </a:solidFill>
                </a:endParaRPr>
              </a:p>
            </p:txBody>
          </p:sp>
          <p:sp>
            <p:nvSpPr>
              <p:cNvPr id="115" name="Rechteck: abgerundete Ecken 114">
                <a:extLst>
                  <a:ext uri="{FF2B5EF4-FFF2-40B4-BE49-F238E27FC236}">
                    <a16:creationId xmlns:a16="http://schemas.microsoft.com/office/drawing/2014/main" id="{A037AF45-8688-4D28-B9F6-EB8FE4A74669}"/>
                  </a:ext>
                </a:extLst>
              </p:cNvPr>
              <p:cNvSpPr/>
              <p:nvPr/>
            </p:nvSpPr>
            <p:spPr>
              <a:xfrm>
                <a:off x="1427517" y="2810950"/>
                <a:ext cx="1805727" cy="2627277"/>
              </a:xfrm>
              <a:prstGeom prst="roundRect">
                <a:avLst>
                  <a:gd name="adj" fmla="val 7337"/>
                </a:avLst>
              </a:prstGeom>
              <a:solidFill>
                <a:schemeClr val="bg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endParaRPr lang="de-DE" sz="1400">
                  <a:solidFill>
                    <a:schemeClr val="tx1"/>
                  </a:solidFill>
                </a:endParaRPr>
              </a:p>
            </p:txBody>
          </p:sp>
          <p:sp>
            <p:nvSpPr>
              <p:cNvPr id="119" name="Ellipse 118">
                <a:extLst>
                  <a:ext uri="{FF2B5EF4-FFF2-40B4-BE49-F238E27FC236}">
                    <a16:creationId xmlns:a16="http://schemas.microsoft.com/office/drawing/2014/main" id="{EEA65E50-2F28-474B-82AF-14DE66E7A36A}"/>
                  </a:ext>
                </a:extLst>
              </p:cNvPr>
              <p:cNvSpPr/>
              <p:nvPr/>
            </p:nvSpPr>
            <p:spPr>
              <a:xfrm>
                <a:off x="1791996" y="2865472"/>
                <a:ext cx="278817" cy="270397"/>
              </a:xfrm>
              <a:prstGeom prst="ellipse">
                <a:avLst/>
              </a:prstGeom>
              <a:solidFill>
                <a:srgbClr val="F2F2F2"/>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accent3"/>
                  </a:solidFill>
                </a:endParaRPr>
              </a:p>
            </p:txBody>
          </p:sp>
          <p:sp>
            <p:nvSpPr>
              <p:cNvPr id="120" name="Ellipse 119">
                <a:extLst>
                  <a:ext uri="{FF2B5EF4-FFF2-40B4-BE49-F238E27FC236}">
                    <a16:creationId xmlns:a16="http://schemas.microsoft.com/office/drawing/2014/main" id="{600F6338-AF76-47C5-A27A-5DC9B3F5F2DA}"/>
                  </a:ext>
                </a:extLst>
              </p:cNvPr>
              <p:cNvSpPr/>
              <p:nvPr/>
            </p:nvSpPr>
            <p:spPr>
              <a:xfrm>
                <a:off x="3503448" y="2865472"/>
                <a:ext cx="278817" cy="270397"/>
              </a:xfrm>
              <a:prstGeom prst="ellipse">
                <a:avLst/>
              </a:prstGeom>
              <a:solidFill>
                <a:srgbClr val="F2F2F2"/>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accent3"/>
                  </a:solidFill>
                </a:endParaRPr>
              </a:p>
            </p:txBody>
          </p:sp>
          <p:sp>
            <p:nvSpPr>
              <p:cNvPr id="10" name="Ellipse 9">
                <a:extLst>
                  <a:ext uri="{FF2B5EF4-FFF2-40B4-BE49-F238E27FC236}">
                    <a16:creationId xmlns:a16="http://schemas.microsoft.com/office/drawing/2014/main" id="{D0213B5D-ECB6-4C27-8CFC-F31857BA8E24}"/>
                  </a:ext>
                </a:extLst>
              </p:cNvPr>
              <p:cNvSpPr/>
              <p:nvPr/>
            </p:nvSpPr>
            <p:spPr>
              <a:xfrm>
                <a:off x="1512319" y="1534223"/>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2" name="Grafik 11" descr="Wolke mit Blitz und Regen mit einfarbiger Füllung">
                <a:extLst>
                  <a:ext uri="{FF2B5EF4-FFF2-40B4-BE49-F238E27FC236}">
                    <a16:creationId xmlns:a16="http://schemas.microsoft.com/office/drawing/2014/main" id="{D55C636B-23F4-49C5-8AB7-EF3FC5694D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25891" y="1544895"/>
                <a:ext cx="265683" cy="270397"/>
              </a:xfrm>
              <a:prstGeom prst="rect">
                <a:avLst/>
              </a:prstGeom>
            </p:spPr>
          </p:pic>
          <p:sp>
            <p:nvSpPr>
              <p:cNvPr id="14" name="Ellipse 13">
                <a:extLst>
                  <a:ext uri="{FF2B5EF4-FFF2-40B4-BE49-F238E27FC236}">
                    <a16:creationId xmlns:a16="http://schemas.microsoft.com/office/drawing/2014/main" id="{94F357B6-D711-405C-959A-0E9DE06BED7F}"/>
                  </a:ext>
                </a:extLst>
              </p:cNvPr>
              <p:cNvSpPr/>
              <p:nvPr/>
            </p:nvSpPr>
            <p:spPr>
              <a:xfrm>
                <a:off x="1540756" y="1837499"/>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5" name="Grafik 14" descr="Welle mit einfarbiger Füllung">
                <a:extLst>
                  <a:ext uri="{FF2B5EF4-FFF2-40B4-BE49-F238E27FC236}">
                    <a16:creationId xmlns:a16="http://schemas.microsoft.com/office/drawing/2014/main" id="{7FF5C69E-44D4-4CC6-A2B8-16C454BE8CC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5790" y="1842932"/>
                <a:ext cx="240818" cy="245091"/>
              </a:xfrm>
              <a:prstGeom prst="rect">
                <a:avLst/>
              </a:prstGeom>
            </p:spPr>
          </p:pic>
          <p:grpSp>
            <p:nvGrpSpPr>
              <p:cNvPr id="16" name="Gruppieren 15">
                <a:extLst>
                  <a:ext uri="{FF2B5EF4-FFF2-40B4-BE49-F238E27FC236}">
                    <a16:creationId xmlns:a16="http://schemas.microsoft.com/office/drawing/2014/main" id="{CD99B194-911F-4B92-8125-08F9F8AFB65E}"/>
                  </a:ext>
                </a:extLst>
              </p:cNvPr>
              <p:cNvGrpSpPr/>
              <p:nvPr/>
            </p:nvGrpSpPr>
            <p:grpSpPr>
              <a:xfrm>
                <a:off x="1796377" y="1254945"/>
                <a:ext cx="278817" cy="270397"/>
                <a:chOff x="5862900" y="1642576"/>
                <a:chExt cx="505494" cy="481681"/>
              </a:xfrm>
            </p:grpSpPr>
            <p:sp>
              <p:nvSpPr>
                <p:cNvPr id="41" name="Ellipse 40">
                  <a:extLst>
                    <a:ext uri="{FF2B5EF4-FFF2-40B4-BE49-F238E27FC236}">
                      <a16:creationId xmlns:a16="http://schemas.microsoft.com/office/drawing/2014/main" id="{0DC22935-7316-48BA-82C6-6EB4F42AE654}"/>
                    </a:ext>
                  </a:extLst>
                </p:cNvPr>
                <p:cNvSpPr/>
                <p:nvPr/>
              </p:nvSpPr>
              <p:spPr>
                <a:xfrm>
                  <a:off x="5862900" y="1642576"/>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 name="Bildplatzhalter 12" descr="Anker mit einfarbiger Füllung">
                  <a:extLst>
                    <a:ext uri="{FF2B5EF4-FFF2-40B4-BE49-F238E27FC236}">
                      <a16:creationId xmlns:a16="http://schemas.microsoft.com/office/drawing/2014/main" id="{A1A3FEEE-CF18-4068-9F90-F408BF7EF108}"/>
                    </a:ext>
                  </a:extLst>
                </p:cNvPr>
                <p:cNvSpPr/>
                <p:nvPr/>
              </p:nvSpPr>
              <p:spPr>
                <a:xfrm>
                  <a:off x="5978627" y="1712059"/>
                  <a:ext cx="268273" cy="307090"/>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chemeClr val="bg1">
                    <a:lumMod val="95000"/>
                  </a:schemeClr>
                </a:solidFill>
                <a:ln w="16371" cap="flat">
                  <a:noFill/>
                  <a:prstDash val="solid"/>
                  <a:miter/>
                </a:ln>
              </p:spPr>
              <p:txBody>
                <a:bodyPr rtlCol="0" anchor="ctr"/>
                <a:lstStyle/>
                <a:p>
                  <a:endParaRPr lang="de-DE"/>
                </a:p>
              </p:txBody>
            </p:sp>
          </p:grpSp>
          <p:sp>
            <p:nvSpPr>
              <p:cNvPr id="39" name="Ellipse 38">
                <a:extLst>
                  <a:ext uri="{FF2B5EF4-FFF2-40B4-BE49-F238E27FC236}">
                    <a16:creationId xmlns:a16="http://schemas.microsoft.com/office/drawing/2014/main" id="{156FFD52-ECEE-4B31-874E-07D089EA9722}"/>
                  </a:ext>
                </a:extLst>
              </p:cNvPr>
              <p:cNvSpPr/>
              <p:nvPr/>
            </p:nvSpPr>
            <p:spPr>
              <a:xfrm>
                <a:off x="2310988" y="1544895"/>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0" name="Grafik 39" descr="Wasserkraft mit einfarbiger Füllung">
                <a:extLst>
                  <a:ext uri="{FF2B5EF4-FFF2-40B4-BE49-F238E27FC236}">
                    <a16:creationId xmlns:a16="http://schemas.microsoft.com/office/drawing/2014/main" id="{990DAA9A-287C-4488-BC8B-B1B8030384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361849" y="1587338"/>
                <a:ext cx="189966" cy="193336"/>
              </a:xfrm>
              <a:prstGeom prst="rect">
                <a:avLst/>
              </a:prstGeom>
            </p:spPr>
          </p:pic>
          <p:sp>
            <p:nvSpPr>
              <p:cNvPr id="19" name="Ellipse 18">
                <a:extLst>
                  <a:ext uri="{FF2B5EF4-FFF2-40B4-BE49-F238E27FC236}">
                    <a16:creationId xmlns:a16="http://schemas.microsoft.com/office/drawing/2014/main" id="{D709B98F-4A4B-4D0E-986F-7CB35E351692}"/>
                  </a:ext>
                </a:extLst>
              </p:cNvPr>
              <p:cNvSpPr/>
              <p:nvPr/>
            </p:nvSpPr>
            <p:spPr>
              <a:xfrm>
                <a:off x="2124409" y="2000426"/>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0" name="Gruppieren 19">
                <a:extLst>
                  <a:ext uri="{FF2B5EF4-FFF2-40B4-BE49-F238E27FC236}">
                    <a16:creationId xmlns:a16="http://schemas.microsoft.com/office/drawing/2014/main" id="{3E4A31CF-023F-4AC1-9D5F-7E4B05756834}"/>
                  </a:ext>
                </a:extLst>
              </p:cNvPr>
              <p:cNvGrpSpPr/>
              <p:nvPr/>
            </p:nvGrpSpPr>
            <p:grpSpPr>
              <a:xfrm>
                <a:off x="2186821" y="2025235"/>
                <a:ext cx="168003" cy="200843"/>
                <a:chOff x="5745080" y="1534870"/>
                <a:chExt cx="744550" cy="874572"/>
              </a:xfrm>
              <a:solidFill>
                <a:schemeClr val="bg1">
                  <a:lumMod val="95000"/>
                </a:schemeClr>
              </a:solidFill>
            </p:grpSpPr>
            <p:grpSp>
              <p:nvGrpSpPr>
                <p:cNvPr id="21" name="Gruppieren 20">
                  <a:extLst>
                    <a:ext uri="{FF2B5EF4-FFF2-40B4-BE49-F238E27FC236}">
                      <a16:creationId xmlns:a16="http://schemas.microsoft.com/office/drawing/2014/main" id="{1D6E4897-44EB-41A0-BD6D-F9EDD08F4209}"/>
                    </a:ext>
                  </a:extLst>
                </p:cNvPr>
                <p:cNvGrpSpPr/>
                <p:nvPr/>
              </p:nvGrpSpPr>
              <p:grpSpPr>
                <a:xfrm>
                  <a:off x="5745080" y="1965727"/>
                  <a:ext cx="744550" cy="443715"/>
                  <a:chOff x="9316970" y="1884825"/>
                  <a:chExt cx="1514374" cy="947540"/>
                </a:xfrm>
                <a:grpFill/>
              </p:grpSpPr>
              <p:sp>
                <p:nvSpPr>
                  <p:cNvPr id="27" name="Bildplatzhalter 14" descr="Fracht mit einfarbiger Füllung">
                    <a:extLst>
                      <a:ext uri="{FF2B5EF4-FFF2-40B4-BE49-F238E27FC236}">
                        <a16:creationId xmlns:a16="http://schemas.microsoft.com/office/drawing/2014/main" id="{EE2B2950-848B-4996-AEFF-D05A66827CD3}"/>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8" name="Bildplatzhalter 14" descr="Fracht mit einfarbiger Füllung">
                    <a:extLst>
                      <a:ext uri="{FF2B5EF4-FFF2-40B4-BE49-F238E27FC236}">
                        <a16:creationId xmlns:a16="http://schemas.microsoft.com/office/drawing/2014/main" id="{624EBB6D-E948-4139-8E07-E6D2021A8D7F}"/>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9" name="Bildplatzhalter 14" descr="Fracht mit einfarbiger Füllung">
                    <a:extLst>
                      <a:ext uri="{FF2B5EF4-FFF2-40B4-BE49-F238E27FC236}">
                        <a16:creationId xmlns:a16="http://schemas.microsoft.com/office/drawing/2014/main" id="{6B8B1EAE-365A-4731-B789-33B318561476}"/>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0" name="Bildplatzhalter 14" descr="Fracht mit einfarbiger Füllung">
                    <a:extLst>
                      <a:ext uri="{FF2B5EF4-FFF2-40B4-BE49-F238E27FC236}">
                        <a16:creationId xmlns:a16="http://schemas.microsoft.com/office/drawing/2014/main" id="{953C21FF-1F68-466A-8166-9A210810CAFE}"/>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1" name="Bildplatzhalter 14" descr="Fracht mit einfarbiger Füllung">
                    <a:extLst>
                      <a:ext uri="{FF2B5EF4-FFF2-40B4-BE49-F238E27FC236}">
                        <a16:creationId xmlns:a16="http://schemas.microsoft.com/office/drawing/2014/main" id="{83AE40BD-8DD2-4616-BE74-36BE7E5234AF}"/>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2" name="Bildplatzhalter 14" descr="Fracht mit einfarbiger Füllung">
                    <a:extLst>
                      <a:ext uri="{FF2B5EF4-FFF2-40B4-BE49-F238E27FC236}">
                        <a16:creationId xmlns:a16="http://schemas.microsoft.com/office/drawing/2014/main" id="{090CFE6B-48BB-496A-8CC4-C16B94B7117C}"/>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3" name="Bildplatzhalter 14" descr="Fracht mit einfarbiger Füllung">
                    <a:extLst>
                      <a:ext uri="{FF2B5EF4-FFF2-40B4-BE49-F238E27FC236}">
                        <a16:creationId xmlns:a16="http://schemas.microsoft.com/office/drawing/2014/main" id="{B62D510C-4481-4AF3-959C-29AEFE673448}"/>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4" name="Bildplatzhalter 14" descr="Fracht mit einfarbiger Füllung">
                    <a:extLst>
                      <a:ext uri="{FF2B5EF4-FFF2-40B4-BE49-F238E27FC236}">
                        <a16:creationId xmlns:a16="http://schemas.microsoft.com/office/drawing/2014/main" id="{6869A1A2-81F0-4B67-B386-6B409CE2134B}"/>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35" name="Bildplatzhalter 14" descr="Fracht mit einfarbiger Füllung">
                    <a:extLst>
                      <a:ext uri="{FF2B5EF4-FFF2-40B4-BE49-F238E27FC236}">
                        <a16:creationId xmlns:a16="http://schemas.microsoft.com/office/drawing/2014/main" id="{29540BC3-24F6-451F-AD88-7BEC20948629}"/>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36" name="Bildplatzhalter 14" descr="Fracht mit einfarbiger Füllung">
                    <a:extLst>
                      <a:ext uri="{FF2B5EF4-FFF2-40B4-BE49-F238E27FC236}">
                        <a16:creationId xmlns:a16="http://schemas.microsoft.com/office/drawing/2014/main" id="{0EF348A0-296B-49B0-9484-69DD652E5AD8}"/>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22" name="Gruppieren 21">
                  <a:extLst>
                    <a:ext uri="{FF2B5EF4-FFF2-40B4-BE49-F238E27FC236}">
                      <a16:creationId xmlns:a16="http://schemas.microsoft.com/office/drawing/2014/main" id="{DC123A24-B83A-407A-8F96-8C7F49884900}"/>
                    </a:ext>
                  </a:extLst>
                </p:cNvPr>
                <p:cNvGrpSpPr/>
                <p:nvPr/>
              </p:nvGrpSpPr>
              <p:grpSpPr>
                <a:xfrm>
                  <a:off x="5896644" y="1534870"/>
                  <a:ext cx="398712" cy="415448"/>
                  <a:chOff x="-1463559" y="2802046"/>
                  <a:chExt cx="1343912" cy="1321940"/>
                </a:xfrm>
                <a:grpFill/>
              </p:grpSpPr>
              <p:sp>
                <p:nvSpPr>
                  <p:cNvPr id="23" name="Bildplatzhalter 10" descr="Schlepper mit einfarbiger Füllung">
                    <a:extLst>
                      <a:ext uri="{FF2B5EF4-FFF2-40B4-BE49-F238E27FC236}">
                        <a16:creationId xmlns:a16="http://schemas.microsoft.com/office/drawing/2014/main" id="{310E7E0A-0102-4048-9CFC-DCF388BF6229}"/>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24" name="Bildplatzhalter 10" descr="Schlepper mit einfarbiger Füllung">
                    <a:extLst>
                      <a:ext uri="{FF2B5EF4-FFF2-40B4-BE49-F238E27FC236}">
                        <a16:creationId xmlns:a16="http://schemas.microsoft.com/office/drawing/2014/main" id="{E48E7638-5AF0-49AE-90B6-8E5B4571FFCE}"/>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25" name="Bildplatzhalter 10" descr="Schlepper mit einfarbiger Füllung">
                    <a:extLst>
                      <a:ext uri="{FF2B5EF4-FFF2-40B4-BE49-F238E27FC236}">
                        <a16:creationId xmlns:a16="http://schemas.microsoft.com/office/drawing/2014/main" id="{3EFD9D3A-9A31-41C1-B8BD-028045F6D32A}"/>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26" name="Bildplatzhalter 10" descr="Schlepper mit einfarbiger Füllung">
                    <a:extLst>
                      <a:ext uri="{FF2B5EF4-FFF2-40B4-BE49-F238E27FC236}">
                        <a16:creationId xmlns:a16="http://schemas.microsoft.com/office/drawing/2014/main" id="{21CC2626-98B2-40F0-A401-06CF268B2475}"/>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sp>
            <p:nvSpPr>
              <p:cNvPr id="49" name="Ellipse 48">
                <a:extLst>
                  <a:ext uri="{FF2B5EF4-FFF2-40B4-BE49-F238E27FC236}">
                    <a16:creationId xmlns:a16="http://schemas.microsoft.com/office/drawing/2014/main" id="{63A5D235-2DD8-4962-BB1E-44BE3CF1A9E0}"/>
                  </a:ext>
                </a:extLst>
              </p:cNvPr>
              <p:cNvSpPr/>
              <p:nvPr/>
            </p:nvSpPr>
            <p:spPr>
              <a:xfrm>
                <a:off x="1673841" y="1408045"/>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9" name="Grafik 8" descr="Streudiagramm mit einfarbiger Füllung">
                <a:extLst>
                  <a:ext uri="{FF2B5EF4-FFF2-40B4-BE49-F238E27FC236}">
                    <a16:creationId xmlns:a16="http://schemas.microsoft.com/office/drawing/2014/main" id="{4356A0BB-A1A5-4768-8D2D-D583A0DFF0F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13357" y="1619110"/>
                <a:ext cx="400391" cy="400391"/>
              </a:xfrm>
              <a:prstGeom prst="rect">
                <a:avLst/>
              </a:prstGeom>
            </p:spPr>
          </p:pic>
          <p:sp>
            <p:nvSpPr>
              <p:cNvPr id="47" name="Ellipse 46">
                <a:extLst>
                  <a:ext uri="{FF2B5EF4-FFF2-40B4-BE49-F238E27FC236}">
                    <a16:creationId xmlns:a16="http://schemas.microsoft.com/office/drawing/2014/main" id="{DE3F2474-319D-4861-8CF0-2DB2CBC0DFED}"/>
                  </a:ext>
                </a:extLst>
              </p:cNvPr>
              <p:cNvSpPr/>
              <p:nvPr/>
            </p:nvSpPr>
            <p:spPr>
              <a:xfrm>
                <a:off x="2001560" y="1538536"/>
                <a:ext cx="278817" cy="270397"/>
              </a:xfrm>
              <a:prstGeom prst="ellipse">
                <a:avLst/>
              </a:prstGeom>
              <a:solidFill>
                <a:srgbClr val="2B2D38"/>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0" name="Grafik 49" descr="Uhr mit einfarbiger Füllung">
                <a:extLst>
                  <a:ext uri="{FF2B5EF4-FFF2-40B4-BE49-F238E27FC236}">
                    <a16:creationId xmlns:a16="http://schemas.microsoft.com/office/drawing/2014/main" id="{1678EAB6-D1CE-4553-8B5D-755833D09D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97423" y="1531568"/>
                <a:ext cx="283736" cy="288770"/>
              </a:xfrm>
              <a:prstGeom prst="rect">
                <a:avLst/>
              </a:prstGeom>
            </p:spPr>
          </p:pic>
          <p:sp>
            <p:nvSpPr>
              <p:cNvPr id="95" name="Textfeld 94">
                <a:extLst>
                  <a:ext uri="{FF2B5EF4-FFF2-40B4-BE49-F238E27FC236}">
                    <a16:creationId xmlns:a16="http://schemas.microsoft.com/office/drawing/2014/main" id="{9286ABFB-1E27-4354-B4A5-EF4485B57741}"/>
                  </a:ext>
                </a:extLst>
              </p:cNvPr>
              <p:cNvSpPr txBox="1"/>
              <p:nvPr/>
            </p:nvSpPr>
            <p:spPr bwMode="auto">
              <a:xfrm>
                <a:off x="2753409" y="1318776"/>
                <a:ext cx="2263335" cy="787370"/>
              </a:xfrm>
              <a:prstGeom prst="rect">
                <a:avLst/>
              </a:prstGeom>
              <a:noFill/>
              <a:ln w="6350">
                <a:noFill/>
                <a:prstDash val="solid"/>
                <a:miter lim="800000"/>
                <a:headEnd/>
                <a:tailEnd/>
              </a:ln>
            </p:spPr>
            <p:txBody>
              <a:bodyPr wrap="square" lIns="72000" rIns="72000" rtlCol="0">
                <a:noAutofit/>
              </a:bodyPr>
              <a:lstStyle/>
              <a:p>
                <a:r>
                  <a:rPr lang="en-US" sz="1200" b="1">
                    <a:solidFill>
                      <a:schemeClr val="bg1">
                        <a:lumMod val="65000"/>
                      </a:schemeClr>
                    </a:solidFill>
                    <a:latin typeface="+mj-lt"/>
                    <a:cs typeface="Helvetica" panose="020B0604020202020204" pitchFamily="34" charset="0"/>
                  </a:rPr>
                  <a:t>ZIEL 1</a:t>
                </a:r>
              </a:p>
              <a:p>
                <a:r>
                  <a:rPr lang="en-US" sz="1400" b="1" err="1">
                    <a:solidFill>
                      <a:schemeClr val="tx1"/>
                    </a:solidFill>
                    <a:latin typeface="+mj-lt"/>
                    <a:cs typeface="Helvetica" panose="020B0604020202020204" pitchFamily="34" charset="0"/>
                  </a:rPr>
                  <a:t>Erstellung</a:t>
                </a:r>
                <a:r>
                  <a:rPr lang="en-US" sz="1400" b="1">
                    <a:solidFill>
                      <a:schemeClr val="tx1"/>
                    </a:solidFill>
                    <a:latin typeface="+mj-lt"/>
                    <a:cs typeface="Helvetica" panose="020B0604020202020204" pitchFamily="34" charset="0"/>
                  </a:rPr>
                  <a:t> von </a:t>
                </a:r>
                <a:r>
                  <a:rPr lang="en-US" sz="1400" b="1" err="1">
                    <a:solidFill>
                      <a:schemeClr val="tx1"/>
                    </a:solidFill>
                    <a:latin typeface="+mj-lt"/>
                    <a:cs typeface="Helvetica" panose="020B0604020202020204" pitchFamily="34" charset="0"/>
                  </a:rPr>
                  <a:t>zwei</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Prognosemodellen</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für</a:t>
                </a:r>
                <a:r>
                  <a:rPr lang="en-US" sz="1400" b="1">
                    <a:solidFill>
                      <a:schemeClr val="tx1"/>
                    </a:solidFill>
                    <a:latin typeface="+mj-lt"/>
                    <a:cs typeface="Helvetica" panose="020B0604020202020204" pitchFamily="34" charset="0"/>
                  </a:rPr>
                  <a:t> die ETA von </a:t>
                </a:r>
                <a:r>
                  <a:rPr lang="en-US" sz="1400" b="1" err="1">
                    <a:solidFill>
                      <a:schemeClr val="tx1"/>
                    </a:solidFill>
                    <a:latin typeface="+mj-lt"/>
                    <a:cs typeface="Helvetica" panose="020B0604020202020204" pitchFamily="34" charset="0"/>
                  </a:rPr>
                  <a:t>Binnenschiffen</a:t>
                </a:r>
                <a:r>
                  <a:rPr lang="en-US" sz="1400" b="1">
                    <a:solidFill>
                      <a:schemeClr val="tx1"/>
                    </a:solidFill>
                    <a:latin typeface="+mj-lt"/>
                    <a:cs typeface="Helvetica" panose="020B0604020202020204" pitchFamily="34" charset="0"/>
                  </a:rPr>
                  <a:t> </a:t>
                </a:r>
                <a:br>
                  <a:rPr lang="en-US" sz="1400" b="1">
                    <a:solidFill>
                      <a:schemeClr val="tx1"/>
                    </a:solidFill>
                    <a:latin typeface="+mj-lt"/>
                    <a:cs typeface="Helvetica" panose="020B0604020202020204" pitchFamily="34" charset="0"/>
                  </a:rPr>
                </a:br>
                <a:endParaRPr lang="en-US" sz="1400" b="1">
                  <a:solidFill>
                    <a:schemeClr val="tx1"/>
                  </a:solidFill>
                  <a:latin typeface="+mj-lt"/>
                </a:endParaRPr>
              </a:p>
              <a:p>
                <a:pPr>
                  <a:lnSpc>
                    <a:spcPct val="125000"/>
                  </a:lnSpc>
                  <a:spcAft>
                    <a:spcPts val="400"/>
                  </a:spcAft>
                  <a:buClr>
                    <a:schemeClr val="accent1"/>
                  </a:buClr>
                </a:pPr>
                <a:endParaRPr lang="de-DE" sz="1400"/>
              </a:p>
            </p:txBody>
          </p:sp>
          <p:sp>
            <p:nvSpPr>
              <p:cNvPr id="11" name="Rechteck: abgerundete Ecken 10">
                <a:extLst>
                  <a:ext uri="{FF2B5EF4-FFF2-40B4-BE49-F238E27FC236}">
                    <a16:creationId xmlns:a16="http://schemas.microsoft.com/office/drawing/2014/main" id="{A0C3DBE3-BF42-4419-9D3E-F296CF97AA09}"/>
                  </a:ext>
                </a:extLst>
              </p:cNvPr>
              <p:cNvSpPr/>
              <p:nvPr/>
            </p:nvSpPr>
            <p:spPr>
              <a:xfrm>
                <a:off x="1471144" y="3277016"/>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8" name="Rechteck: abgerundete Ecken 97">
                <a:extLst>
                  <a:ext uri="{FF2B5EF4-FFF2-40B4-BE49-F238E27FC236}">
                    <a16:creationId xmlns:a16="http://schemas.microsoft.com/office/drawing/2014/main" id="{6A1BF9D2-89F4-42D0-B522-7FA034537054}"/>
                  </a:ext>
                </a:extLst>
              </p:cNvPr>
              <p:cNvSpPr/>
              <p:nvPr/>
            </p:nvSpPr>
            <p:spPr>
              <a:xfrm>
                <a:off x="1462660" y="3707850"/>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9" name="Rechteck: abgerundete Ecken 98">
                <a:extLst>
                  <a:ext uri="{FF2B5EF4-FFF2-40B4-BE49-F238E27FC236}">
                    <a16:creationId xmlns:a16="http://schemas.microsoft.com/office/drawing/2014/main" id="{0BAA16D2-2738-4AA3-BB52-3F18E05EDC6E}"/>
                  </a:ext>
                </a:extLst>
              </p:cNvPr>
              <p:cNvSpPr/>
              <p:nvPr/>
            </p:nvSpPr>
            <p:spPr>
              <a:xfrm>
                <a:off x="3258005" y="3707850"/>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0" name="Rechteck: abgerundete Ecken 99">
                <a:extLst>
                  <a:ext uri="{FF2B5EF4-FFF2-40B4-BE49-F238E27FC236}">
                    <a16:creationId xmlns:a16="http://schemas.microsoft.com/office/drawing/2014/main" id="{F317DDB9-0058-431D-A950-64BE95CFBCE1}"/>
                  </a:ext>
                </a:extLst>
              </p:cNvPr>
              <p:cNvSpPr/>
              <p:nvPr/>
            </p:nvSpPr>
            <p:spPr>
              <a:xfrm>
                <a:off x="1474615" y="4579401"/>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1" name="Rechteck: abgerundete Ecken 100">
                <a:extLst>
                  <a:ext uri="{FF2B5EF4-FFF2-40B4-BE49-F238E27FC236}">
                    <a16:creationId xmlns:a16="http://schemas.microsoft.com/office/drawing/2014/main" id="{9E0D3E1B-9F41-4E1A-9FE6-DC293E170858}"/>
                  </a:ext>
                </a:extLst>
              </p:cNvPr>
              <p:cNvSpPr/>
              <p:nvPr/>
            </p:nvSpPr>
            <p:spPr>
              <a:xfrm>
                <a:off x="1475795" y="4146938"/>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2" name="Rechteck: abgerundete Ecken 101">
                <a:extLst>
                  <a:ext uri="{FF2B5EF4-FFF2-40B4-BE49-F238E27FC236}">
                    <a16:creationId xmlns:a16="http://schemas.microsoft.com/office/drawing/2014/main" id="{9FEB5CDC-3322-4F86-8D30-C207D760B644}"/>
                  </a:ext>
                </a:extLst>
              </p:cNvPr>
              <p:cNvSpPr/>
              <p:nvPr/>
            </p:nvSpPr>
            <p:spPr>
              <a:xfrm>
                <a:off x="3261713" y="4149852"/>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6" name="Textfeld 95">
                <a:extLst>
                  <a:ext uri="{FF2B5EF4-FFF2-40B4-BE49-F238E27FC236}">
                    <a16:creationId xmlns:a16="http://schemas.microsoft.com/office/drawing/2014/main" id="{2F7D7740-D78D-4265-9D66-8B6C00B9FCFE}"/>
                  </a:ext>
                </a:extLst>
              </p:cNvPr>
              <p:cNvSpPr txBox="1"/>
              <p:nvPr/>
            </p:nvSpPr>
            <p:spPr bwMode="auto">
              <a:xfrm>
                <a:off x="1878374" y="3248735"/>
                <a:ext cx="2708117" cy="36004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Datenexploration</a:t>
                </a:r>
                <a:r>
                  <a:rPr lang="en-US" sz="1300">
                    <a:solidFill>
                      <a:srgbClr val="F2F2F2"/>
                    </a:solidFill>
                    <a:latin typeface="+mj-lt"/>
                    <a:cs typeface="Helvetica" panose="020B0604020202020204" pitchFamily="34" charset="0"/>
                  </a:rPr>
                  <a:t> &amp; -</a:t>
                </a:r>
                <a:r>
                  <a:rPr lang="en-US" sz="1300" err="1">
                    <a:solidFill>
                      <a:srgbClr val="F2F2F2"/>
                    </a:solidFill>
                    <a:latin typeface="+mj-lt"/>
                    <a:cs typeface="Helvetica" panose="020B0604020202020204" pitchFamily="34" charset="0"/>
                  </a:rPr>
                  <a:t>aufbereitung</a:t>
                </a:r>
                <a:endParaRPr lang="en-US" sz="1300">
                  <a:solidFill>
                    <a:srgbClr val="F2F2F2"/>
                  </a:solidFill>
                  <a:latin typeface="+mj-lt"/>
                  <a:cs typeface="Helvetica" panose="020B0604020202020204" pitchFamily="34" charset="0"/>
                </a:endParaRPr>
              </a:p>
            </p:txBody>
          </p:sp>
          <p:sp>
            <p:nvSpPr>
              <p:cNvPr id="106" name="Textfeld 105">
                <a:extLst>
                  <a:ext uri="{FF2B5EF4-FFF2-40B4-BE49-F238E27FC236}">
                    <a16:creationId xmlns:a16="http://schemas.microsoft.com/office/drawing/2014/main" id="{3B0C6AA4-2D06-471A-AEAA-A9B50013E51F}"/>
                  </a:ext>
                </a:extLst>
              </p:cNvPr>
              <p:cNvSpPr txBox="1"/>
              <p:nvPr/>
            </p:nvSpPr>
            <p:spPr bwMode="auto">
              <a:xfrm>
                <a:off x="1486327" y="37239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a:solidFill>
                      <a:srgbClr val="F2F2F2"/>
                    </a:solidFill>
                    <a:latin typeface="+mj-lt"/>
                    <a:cs typeface="Helvetica" panose="020B0604020202020204" pitchFamily="34" charset="0"/>
                  </a:rPr>
                  <a:t>Feature Engineering</a:t>
                </a:r>
                <a:endParaRPr lang="de-DE" sz="1400">
                  <a:solidFill>
                    <a:srgbClr val="F2F2F2"/>
                  </a:solidFill>
                </a:endParaRPr>
              </a:p>
            </p:txBody>
          </p:sp>
          <p:sp>
            <p:nvSpPr>
              <p:cNvPr id="107" name="Textfeld 106">
                <a:extLst>
                  <a:ext uri="{FF2B5EF4-FFF2-40B4-BE49-F238E27FC236}">
                    <a16:creationId xmlns:a16="http://schemas.microsoft.com/office/drawing/2014/main" id="{45675425-33F0-43BE-8E4C-1192A4C697F4}"/>
                  </a:ext>
                </a:extLst>
              </p:cNvPr>
              <p:cNvSpPr txBox="1"/>
              <p:nvPr/>
            </p:nvSpPr>
            <p:spPr bwMode="auto">
              <a:xfrm>
                <a:off x="1455797" y="4151687"/>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Modellierung</a:t>
                </a:r>
                <a:endParaRPr lang="de-DE" sz="1400">
                  <a:solidFill>
                    <a:srgbClr val="F2F2F2"/>
                  </a:solidFill>
                </a:endParaRPr>
              </a:p>
            </p:txBody>
          </p:sp>
          <p:sp>
            <p:nvSpPr>
              <p:cNvPr id="108" name="Textfeld 107">
                <a:extLst>
                  <a:ext uri="{FF2B5EF4-FFF2-40B4-BE49-F238E27FC236}">
                    <a16:creationId xmlns:a16="http://schemas.microsoft.com/office/drawing/2014/main" id="{930B83E5-8821-4408-8C64-66F2B0C7BBF3}"/>
                  </a:ext>
                </a:extLst>
              </p:cNvPr>
              <p:cNvSpPr txBox="1"/>
              <p:nvPr/>
            </p:nvSpPr>
            <p:spPr bwMode="auto">
              <a:xfrm>
                <a:off x="2340705" y="4587998"/>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Ergebnisbewertung</a:t>
                </a:r>
                <a:endParaRPr lang="de-DE" sz="1400">
                  <a:solidFill>
                    <a:srgbClr val="F2F2F2"/>
                  </a:solidFill>
                </a:endParaRPr>
              </a:p>
            </p:txBody>
          </p:sp>
          <p:sp>
            <p:nvSpPr>
              <p:cNvPr id="110" name="Textfeld 109">
                <a:extLst>
                  <a:ext uri="{FF2B5EF4-FFF2-40B4-BE49-F238E27FC236}">
                    <a16:creationId xmlns:a16="http://schemas.microsoft.com/office/drawing/2014/main" id="{21E235D4-7002-40AA-9405-C8C54011B5C1}"/>
                  </a:ext>
                </a:extLst>
              </p:cNvPr>
              <p:cNvSpPr txBox="1"/>
              <p:nvPr/>
            </p:nvSpPr>
            <p:spPr bwMode="auto">
              <a:xfrm>
                <a:off x="3281672" y="37239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a:solidFill>
                      <a:srgbClr val="F2F2F2"/>
                    </a:solidFill>
                    <a:latin typeface="+mj-lt"/>
                    <a:cs typeface="Helvetica" panose="020B0604020202020204" pitchFamily="34" charset="0"/>
                  </a:rPr>
                  <a:t>Feature Engineering</a:t>
                </a:r>
                <a:endParaRPr lang="de-DE" sz="1400">
                  <a:solidFill>
                    <a:srgbClr val="F2F2F2"/>
                  </a:solidFill>
                </a:endParaRPr>
              </a:p>
            </p:txBody>
          </p:sp>
          <p:sp>
            <p:nvSpPr>
              <p:cNvPr id="112" name="Textfeld 111">
                <a:extLst>
                  <a:ext uri="{FF2B5EF4-FFF2-40B4-BE49-F238E27FC236}">
                    <a16:creationId xmlns:a16="http://schemas.microsoft.com/office/drawing/2014/main" id="{5EA148D8-A995-4AB5-9AAF-7D709E166F1B}"/>
                  </a:ext>
                </a:extLst>
              </p:cNvPr>
              <p:cNvSpPr txBox="1"/>
              <p:nvPr/>
            </p:nvSpPr>
            <p:spPr bwMode="auto">
              <a:xfrm>
                <a:off x="3278893" y="4151687"/>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Modellierung</a:t>
                </a:r>
                <a:endParaRPr lang="de-DE" sz="1400">
                  <a:solidFill>
                    <a:srgbClr val="F2F2F2"/>
                  </a:solidFill>
                </a:endParaRPr>
              </a:p>
            </p:txBody>
          </p:sp>
          <p:sp>
            <p:nvSpPr>
              <p:cNvPr id="113" name="Textfeld 112">
                <a:extLst>
                  <a:ext uri="{FF2B5EF4-FFF2-40B4-BE49-F238E27FC236}">
                    <a16:creationId xmlns:a16="http://schemas.microsoft.com/office/drawing/2014/main" id="{55AF3892-0A2B-496B-B3C1-64459A0F01BE}"/>
                  </a:ext>
                </a:extLst>
              </p:cNvPr>
              <p:cNvSpPr txBox="1"/>
              <p:nvPr/>
            </p:nvSpPr>
            <p:spPr bwMode="auto">
              <a:xfrm>
                <a:off x="1517291" y="28367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a:solidFill>
                      <a:schemeClr val="accent3"/>
                    </a:solidFill>
                    <a:latin typeface="+mj-lt"/>
                    <a:cs typeface="Helvetica" panose="020B0604020202020204" pitchFamily="34" charset="0"/>
                  </a:rPr>
                  <a:t>1.   STATISCH</a:t>
                </a:r>
                <a:endParaRPr lang="de-DE" sz="1400">
                  <a:solidFill>
                    <a:schemeClr val="accent3"/>
                  </a:solidFill>
                </a:endParaRPr>
              </a:p>
            </p:txBody>
          </p:sp>
          <p:sp>
            <p:nvSpPr>
              <p:cNvPr id="114" name="Textfeld 113">
                <a:extLst>
                  <a:ext uri="{FF2B5EF4-FFF2-40B4-BE49-F238E27FC236}">
                    <a16:creationId xmlns:a16="http://schemas.microsoft.com/office/drawing/2014/main" id="{A6F26BBC-1A87-411B-A9A9-2B02C58A0BE9}"/>
                  </a:ext>
                </a:extLst>
              </p:cNvPr>
              <p:cNvSpPr txBox="1"/>
              <p:nvPr/>
            </p:nvSpPr>
            <p:spPr bwMode="auto">
              <a:xfrm>
                <a:off x="3341478" y="28367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a:solidFill>
                      <a:schemeClr val="accent3"/>
                    </a:solidFill>
                    <a:latin typeface="+mj-lt"/>
                    <a:cs typeface="Helvetica" panose="020B0604020202020204" pitchFamily="34" charset="0"/>
                  </a:rPr>
                  <a:t>2.   DYNAMISCH</a:t>
                </a:r>
                <a:endParaRPr lang="de-DE" sz="1400">
                  <a:solidFill>
                    <a:schemeClr val="accent3"/>
                  </a:solidFill>
                </a:endParaRPr>
              </a:p>
            </p:txBody>
          </p:sp>
          <p:sp>
            <p:nvSpPr>
              <p:cNvPr id="105" name="Rechteck: abgerundete Ecken 104">
                <a:extLst>
                  <a:ext uri="{FF2B5EF4-FFF2-40B4-BE49-F238E27FC236}">
                    <a16:creationId xmlns:a16="http://schemas.microsoft.com/office/drawing/2014/main" id="{AC8D5219-781A-4CE5-B8A4-41DD5AA1FD47}"/>
                  </a:ext>
                </a:extLst>
              </p:cNvPr>
              <p:cNvSpPr/>
              <p:nvPr/>
            </p:nvSpPr>
            <p:spPr>
              <a:xfrm>
                <a:off x="1484716" y="5012959"/>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9" name="Textfeld 108">
                <a:extLst>
                  <a:ext uri="{FF2B5EF4-FFF2-40B4-BE49-F238E27FC236}">
                    <a16:creationId xmlns:a16="http://schemas.microsoft.com/office/drawing/2014/main" id="{D6EBC81B-729A-4297-99EE-AEA3DD667BB8}"/>
                  </a:ext>
                </a:extLst>
              </p:cNvPr>
              <p:cNvSpPr txBox="1"/>
              <p:nvPr/>
            </p:nvSpPr>
            <p:spPr bwMode="auto">
              <a:xfrm>
                <a:off x="1650591" y="4989298"/>
                <a:ext cx="3075217" cy="36004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err="1">
                    <a:solidFill>
                      <a:srgbClr val="F2F2F2"/>
                    </a:solidFill>
                    <a:latin typeface="+mj-lt"/>
                    <a:cs typeface="Helvetica" panose="020B0604020202020204" pitchFamily="34" charset="0"/>
                  </a:rPr>
                  <a:t>Ergebniskommunikation</a:t>
                </a:r>
                <a:r>
                  <a:rPr lang="en-US" sz="1300" b="0">
                    <a:solidFill>
                      <a:srgbClr val="F2F2F2"/>
                    </a:solidFill>
                    <a:latin typeface="+mj-lt"/>
                    <a:cs typeface="Helvetica" panose="020B0604020202020204" pitchFamily="34" charset="0"/>
                  </a:rPr>
                  <a:t> &amp; </a:t>
                </a:r>
                <a:r>
                  <a:rPr lang="en-US" sz="1300" b="0" err="1">
                    <a:solidFill>
                      <a:srgbClr val="F2F2F2"/>
                    </a:solidFill>
                    <a:latin typeface="+mj-lt"/>
                    <a:cs typeface="Helvetica" panose="020B0604020202020204" pitchFamily="34" charset="0"/>
                  </a:rPr>
                  <a:t>Bereitstellung</a:t>
                </a:r>
                <a:endParaRPr lang="en-US" sz="1300">
                  <a:solidFill>
                    <a:srgbClr val="F2F2F2"/>
                  </a:solidFill>
                  <a:latin typeface="+mj-lt"/>
                  <a:cs typeface="Helvetica" panose="020B0604020202020204" pitchFamily="34" charset="0"/>
                </a:endParaRPr>
              </a:p>
            </p:txBody>
          </p:sp>
        </p:grpSp>
      </p:grpSp>
      <p:pic>
        <p:nvPicPr>
          <p:cNvPr id="319" name="Grafik 318" descr="Abzeichen Tick1 mit einfarbiger Füllung">
            <a:extLst>
              <a:ext uri="{FF2B5EF4-FFF2-40B4-BE49-F238E27FC236}">
                <a16:creationId xmlns:a16="http://schemas.microsoft.com/office/drawing/2014/main" id="{7623E82B-1EBC-4BE8-AA90-008FC12DA8B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463040" y="1201175"/>
            <a:ext cx="931443" cy="931443"/>
          </a:xfrm>
          <a:prstGeom prst="rect">
            <a:avLst/>
          </a:prstGeom>
        </p:spPr>
      </p:pic>
      <p:pic>
        <p:nvPicPr>
          <p:cNvPr id="320" name="Grafik 319" descr="Abzeichen Tick1 mit einfarbiger Füllung">
            <a:extLst>
              <a:ext uri="{FF2B5EF4-FFF2-40B4-BE49-F238E27FC236}">
                <a16:creationId xmlns:a16="http://schemas.microsoft.com/office/drawing/2014/main" id="{567F35D2-B624-4683-930F-247F886F6C5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58901" y="1201175"/>
            <a:ext cx="931443" cy="931443"/>
          </a:xfrm>
          <a:prstGeom prst="rect">
            <a:avLst/>
          </a:prstGeom>
        </p:spPr>
      </p:pic>
      <p:pic>
        <p:nvPicPr>
          <p:cNvPr id="321" name="Grafik 320" descr="Abzeichen Tick1 mit einfarbiger Füllung">
            <a:extLst>
              <a:ext uri="{FF2B5EF4-FFF2-40B4-BE49-F238E27FC236}">
                <a16:creationId xmlns:a16="http://schemas.microsoft.com/office/drawing/2014/main" id="{4597312F-631F-4E9F-B99E-29789D7533A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060843" y="3733800"/>
            <a:ext cx="164494" cy="164494"/>
          </a:xfrm>
          <a:prstGeom prst="rect">
            <a:avLst/>
          </a:prstGeom>
        </p:spPr>
      </p:pic>
      <p:pic>
        <p:nvPicPr>
          <p:cNvPr id="322" name="Grafik 321" descr="Abzeichen Tick1 mit einfarbiger Füllung">
            <a:extLst>
              <a:ext uri="{FF2B5EF4-FFF2-40B4-BE49-F238E27FC236}">
                <a16:creationId xmlns:a16="http://schemas.microsoft.com/office/drawing/2014/main" id="{91BD4464-66B9-4B90-B16D-97145F1C701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060843" y="3326086"/>
            <a:ext cx="164494" cy="164494"/>
          </a:xfrm>
          <a:prstGeom prst="rect">
            <a:avLst/>
          </a:prstGeom>
        </p:spPr>
      </p:pic>
      <p:pic>
        <p:nvPicPr>
          <p:cNvPr id="323" name="Grafik 322" descr="Abzeichen Tick1 mit einfarbiger Füllung">
            <a:extLst>
              <a:ext uri="{FF2B5EF4-FFF2-40B4-BE49-F238E27FC236}">
                <a16:creationId xmlns:a16="http://schemas.microsoft.com/office/drawing/2014/main" id="{3AFA9AEB-7DDD-43FB-A448-6764A5AF5D4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060843" y="2957735"/>
            <a:ext cx="164494" cy="164494"/>
          </a:xfrm>
          <a:prstGeom prst="rect">
            <a:avLst/>
          </a:prstGeom>
        </p:spPr>
      </p:pic>
      <p:pic>
        <p:nvPicPr>
          <p:cNvPr id="324" name="Grafik 323" descr="Abzeichen Tick1 mit einfarbiger Füllung">
            <a:extLst>
              <a:ext uri="{FF2B5EF4-FFF2-40B4-BE49-F238E27FC236}">
                <a16:creationId xmlns:a16="http://schemas.microsoft.com/office/drawing/2014/main" id="{64F5D9A5-D4EE-462E-A500-18A2F5D6A77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060843" y="2741400"/>
            <a:ext cx="164494" cy="164494"/>
          </a:xfrm>
          <a:prstGeom prst="rect">
            <a:avLst/>
          </a:prstGeom>
        </p:spPr>
      </p:pic>
      <p:sp>
        <p:nvSpPr>
          <p:cNvPr id="335" name="Rechteck: abgerundete Ecken 334">
            <a:extLst>
              <a:ext uri="{FF2B5EF4-FFF2-40B4-BE49-F238E27FC236}">
                <a16:creationId xmlns:a16="http://schemas.microsoft.com/office/drawing/2014/main" id="{F2C9323C-1640-4B0B-A532-EC515C2C4724}"/>
              </a:ext>
            </a:extLst>
          </p:cNvPr>
          <p:cNvSpPr/>
          <p:nvPr/>
        </p:nvSpPr>
        <p:spPr>
          <a:xfrm>
            <a:off x="7205472" y="1321757"/>
            <a:ext cx="4280157" cy="4315621"/>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endParaRPr lang="de-DE" sz="1400">
              <a:solidFill>
                <a:schemeClr val="tx1"/>
              </a:solidFill>
            </a:endParaRPr>
          </a:p>
        </p:txBody>
      </p:sp>
      <p:sp>
        <p:nvSpPr>
          <p:cNvPr id="336" name="Rechteck: obere Ecken abgerundet 335">
            <a:extLst>
              <a:ext uri="{FF2B5EF4-FFF2-40B4-BE49-F238E27FC236}">
                <a16:creationId xmlns:a16="http://schemas.microsoft.com/office/drawing/2014/main" id="{DE009EF6-C07D-4B84-91BD-5A8F5E53C4D8}"/>
              </a:ext>
            </a:extLst>
          </p:cNvPr>
          <p:cNvSpPr/>
          <p:nvPr/>
        </p:nvSpPr>
        <p:spPr>
          <a:xfrm>
            <a:off x="7205472" y="1321759"/>
            <a:ext cx="4280157" cy="417136"/>
          </a:xfrm>
          <a:prstGeom prst="round2SameRect">
            <a:avLst>
              <a:gd name="adj1" fmla="val 50000"/>
              <a:gd name="adj2" fmla="val 0"/>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BEWERTUNG</a:t>
            </a:r>
          </a:p>
        </p:txBody>
      </p:sp>
      <p:sp>
        <p:nvSpPr>
          <p:cNvPr id="337" name="Gleichschenkliges Dreieck 336">
            <a:extLst>
              <a:ext uri="{FF2B5EF4-FFF2-40B4-BE49-F238E27FC236}">
                <a16:creationId xmlns:a16="http://schemas.microsoft.com/office/drawing/2014/main" id="{74C30CE1-E29C-44DB-BB0D-53AC410C1ABB}"/>
              </a:ext>
            </a:extLst>
          </p:cNvPr>
          <p:cNvSpPr/>
          <p:nvPr/>
        </p:nvSpPr>
        <p:spPr>
          <a:xfrm rot="5400000">
            <a:off x="5300225" y="3485419"/>
            <a:ext cx="3044858" cy="307777"/>
          </a:xfrm>
          <a:prstGeom prst="triangle">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339" name="Grafik 338" descr="Abzeichen Tick1 Silhouette">
            <a:extLst>
              <a:ext uri="{FF2B5EF4-FFF2-40B4-BE49-F238E27FC236}">
                <a16:creationId xmlns:a16="http://schemas.microsoft.com/office/drawing/2014/main" id="{0B115DF7-175C-4645-BBFA-CCF895244D9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458834" y="1976718"/>
            <a:ext cx="295716" cy="295716"/>
          </a:xfrm>
          <a:prstGeom prst="rect">
            <a:avLst/>
          </a:prstGeom>
        </p:spPr>
      </p:pic>
      <p:pic>
        <p:nvPicPr>
          <p:cNvPr id="340" name="Grafik 339" descr="Abzeichen Tick1 Silhouette">
            <a:extLst>
              <a:ext uri="{FF2B5EF4-FFF2-40B4-BE49-F238E27FC236}">
                <a16:creationId xmlns:a16="http://schemas.microsoft.com/office/drawing/2014/main" id="{DFAB746F-FE13-4F09-8A64-C62F63B334D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458834" y="2243026"/>
            <a:ext cx="295716" cy="295716"/>
          </a:xfrm>
          <a:prstGeom prst="rect">
            <a:avLst/>
          </a:prstGeom>
        </p:spPr>
      </p:pic>
      <p:grpSp>
        <p:nvGrpSpPr>
          <p:cNvPr id="17" name="Gruppieren 16">
            <a:extLst>
              <a:ext uri="{FF2B5EF4-FFF2-40B4-BE49-F238E27FC236}">
                <a16:creationId xmlns:a16="http://schemas.microsoft.com/office/drawing/2014/main" id="{DD4D7B69-98AA-4803-A10E-EE19A6B97C26}"/>
              </a:ext>
            </a:extLst>
          </p:cNvPr>
          <p:cNvGrpSpPr/>
          <p:nvPr/>
        </p:nvGrpSpPr>
        <p:grpSpPr>
          <a:xfrm>
            <a:off x="7476090" y="2805050"/>
            <a:ext cx="3793738" cy="2929933"/>
            <a:chOff x="7476090" y="2683130"/>
            <a:chExt cx="3793738" cy="2929933"/>
          </a:xfrm>
        </p:grpSpPr>
        <p:sp>
          <p:nvSpPr>
            <p:cNvPr id="338" name="Textfeld 337">
              <a:extLst>
                <a:ext uri="{FF2B5EF4-FFF2-40B4-BE49-F238E27FC236}">
                  <a16:creationId xmlns:a16="http://schemas.microsoft.com/office/drawing/2014/main" id="{C9423AF3-8320-450C-84A0-6AB131758945}"/>
                </a:ext>
              </a:extLst>
            </p:cNvPr>
            <p:cNvSpPr txBox="1"/>
            <p:nvPr/>
          </p:nvSpPr>
          <p:spPr bwMode="auto">
            <a:xfrm>
              <a:off x="7721156" y="2683130"/>
              <a:ext cx="3548672" cy="2929933"/>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1300" u="sng"/>
                <a:t>Kritische Würdigung:</a:t>
              </a:r>
            </a:p>
            <a:p>
              <a:pPr marL="285750" indent="-285750">
                <a:lnSpc>
                  <a:spcPct val="125000"/>
                </a:lnSpc>
                <a:spcAft>
                  <a:spcPts val="400"/>
                </a:spcAft>
                <a:buClr>
                  <a:schemeClr val="accent3"/>
                </a:buClr>
                <a:buFont typeface="Wingdings" panose="05000000000000000000" pitchFamily="2" charset="2"/>
                <a:buChar char="§"/>
              </a:pPr>
              <a:r>
                <a:rPr lang="de-DE" sz="1300"/>
                <a:t>Distanzdaten Genauigkeit +- 85m</a:t>
              </a:r>
            </a:p>
            <a:p>
              <a:pPr marL="285750" indent="-285750">
                <a:lnSpc>
                  <a:spcPct val="125000"/>
                </a:lnSpc>
                <a:spcAft>
                  <a:spcPts val="400"/>
                </a:spcAft>
                <a:buClr>
                  <a:schemeClr val="accent3"/>
                </a:buClr>
                <a:buFont typeface="Wingdings" panose="05000000000000000000" pitchFamily="2" charset="2"/>
                <a:buChar char="§"/>
              </a:pPr>
              <a:r>
                <a:rPr lang="de-DE" sz="1300"/>
                <a:t>Keine Betrachtung von alternativen Routen</a:t>
              </a:r>
            </a:p>
            <a:p>
              <a:pPr marL="285750" indent="-285750">
                <a:lnSpc>
                  <a:spcPct val="125000"/>
                </a:lnSpc>
                <a:spcAft>
                  <a:spcPts val="400"/>
                </a:spcAft>
                <a:buClr>
                  <a:schemeClr val="accent3"/>
                </a:buClr>
                <a:buFont typeface="Wingdings" panose="05000000000000000000" pitchFamily="2" charset="2"/>
                <a:buChar char="§"/>
              </a:pPr>
              <a:r>
                <a:rPr lang="de-DE" sz="1300"/>
                <a:t>AIS-Daten teilweise unvollständig</a:t>
              </a:r>
            </a:p>
            <a:p>
              <a:pPr marL="285750" indent="-285750">
                <a:lnSpc>
                  <a:spcPct val="125000"/>
                </a:lnSpc>
                <a:spcAft>
                  <a:spcPts val="400"/>
                </a:spcAft>
                <a:buClr>
                  <a:schemeClr val="accent3"/>
                </a:buClr>
                <a:buFont typeface="Wingdings" panose="05000000000000000000" pitchFamily="2" charset="2"/>
                <a:buChar char="§"/>
              </a:pPr>
              <a:r>
                <a:rPr lang="de-DE" sz="1300"/>
                <a:t>(</a:t>
              </a:r>
              <a:r>
                <a:rPr lang="de-DE" sz="1300" err="1"/>
                <a:t>Un</a:t>
              </a:r>
              <a:r>
                <a:rPr lang="de-DE" sz="1300"/>
                <a:t>-)Zuverlässigkeit Open Data</a:t>
              </a:r>
            </a:p>
            <a:p>
              <a:pPr marL="285750" indent="-285750">
                <a:lnSpc>
                  <a:spcPct val="125000"/>
                </a:lnSpc>
                <a:spcAft>
                  <a:spcPts val="400"/>
                </a:spcAft>
                <a:buClr>
                  <a:schemeClr val="accent3"/>
                </a:buClr>
                <a:buFont typeface="Wingdings" panose="05000000000000000000" pitchFamily="2" charset="2"/>
                <a:buChar char="§"/>
              </a:pPr>
              <a:r>
                <a:rPr lang="de-DE" sz="1300"/>
                <a:t>Integration Ressourcenmanagement vorausgesetzt  </a:t>
              </a:r>
              <a:endParaRPr lang="de-DE" sz="1300">
                <a:highlight>
                  <a:srgbClr val="FFFF00"/>
                </a:highlight>
              </a:endParaRPr>
            </a:p>
            <a:p>
              <a:pPr marL="285750" indent="-285750">
                <a:lnSpc>
                  <a:spcPct val="125000"/>
                </a:lnSpc>
                <a:spcAft>
                  <a:spcPts val="400"/>
                </a:spcAft>
                <a:buClr>
                  <a:schemeClr val="accent1"/>
                </a:buClr>
                <a:buFontTx/>
                <a:buChar char="-"/>
              </a:pPr>
              <a:endParaRPr lang="de-DE" sz="1300">
                <a:highlight>
                  <a:srgbClr val="FFFF00"/>
                </a:highlight>
              </a:endParaRPr>
            </a:p>
            <a:p>
              <a:pPr>
                <a:lnSpc>
                  <a:spcPct val="125000"/>
                </a:lnSpc>
                <a:spcAft>
                  <a:spcPts val="400"/>
                </a:spcAft>
                <a:buClr>
                  <a:schemeClr val="accent1"/>
                </a:buClr>
              </a:pPr>
              <a:endParaRPr lang="de-DE" sz="1300"/>
            </a:p>
          </p:txBody>
        </p:sp>
        <p:pic>
          <p:nvPicPr>
            <p:cNvPr id="341" name="Grafik 340" descr="Warnung mit einfarbiger Füllung">
              <a:extLst>
                <a:ext uri="{FF2B5EF4-FFF2-40B4-BE49-F238E27FC236}">
                  <a16:creationId xmlns:a16="http://schemas.microsoft.com/office/drawing/2014/main" id="{4AA12251-4B99-4B33-9CFE-47BCC9123F0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476090" y="2723143"/>
              <a:ext cx="267006" cy="267006"/>
            </a:xfrm>
            <a:prstGeom prst="rect">
              <a:avLst/>
            </a:prstGeom>
          </p:spPr>
        </p:pic>
      </p:grpSp>
      <p:sp>
        <p:nvSpPr>
          <p:cNvPr id="342" name="Textfeld 341">
            <a:extLst>
              <a:ext uri="{FF2B5EF4-FFF2-40B4-BE49-F238E27FC236}">
                <a16:creationId xmlns:a16="http://schemas.microsoft.com/office/drawing/2014/main" id="{D64574B7-5F29-4A09-9601-938D3C4C26E3}"/>
              </a:ext>
            </a:extLst>
          </p:cNvPr>
          <p:cNvSpPr txBox="1"/>
          <p:nvPr/>
        </p:nvSpPr>
        <p:spPr bwMode="auto">
          <a:xfrm>
            <a:off x="7734093" y="1939989"/>
            <a:ext cx="3548672" cy="660435"/>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1300"/>
              <a:t>Umsetzung der Ziele</a:t>
            </a:r>
          </a:p>
          <a:p>
            <a:pPr>
              <a:lnSpc>
                <a:spcPct val="125000"/>
              </a:lnSpc>
              <a:spcAft>
                <a:spcPts val="400"/>
              </a:spcAft>
              <a:buClr>
                <a:schemeClr val="accent1"/>
              </a:buClr>
            </a:pPr>
            <a:r>
              <a:rPr lang="de-DE" sz="1300"/>
              <a:t>Machbarkeitsprüfung</a:t>
            </a:r>
          </a:p>
          <a:p>
            <a:pPr marL="285750" indent="-285750">
              <a:lnSpc>
                <a:spcPct val="125000"/>
              </a:lnSpc>
              <a:spcAft>
                <a:spcPts val="400"/>
              </a:spcAft>
              <a:buClr>
                <a:schemeClr val="accent1"/>
              </a:buClr>
              <a:buFontTx/>
              <a:buChar char="-"/>
            </a:pPr>
            <a:endParaRPr lang="de-DE" sz="1300">
              <a:highlight>
                <a:srgbClr val="FFFF00"/>
              </a:highlight>
            </a:endParaRPr>
          </a:p>
          <a:p>
            <a:pPr>
              <a:lnSpc>
                <a:spcPct val="125000"/>
              </a:lnSpc>
              <a:spcAft>
                <a:spcPts val="400"/>
              </a:spcAft>
              <a:buClr>
                <a:schemeClr val="accent1"/>
              </a:buClr>
            </a:pPr>
            <a:endParaRPr lang="de-DE" sz="1300"/>
          </a:p>
        </p:txBody>
      </p:sp>
    </p:spTree>
    <p:extLst>
      <p:ext uri="{BB962C8B-B14F-4D97-AF65-F5344CB8AC3E}">
        <p14:creationId xmlns:p14="http://schemas.microsoft.com/office/powerpoint/2010/main" val="2538660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F3ADC-30F1-4B13-812C-A77EF816AB3D}"/>
              </a:ext>
            </a:extLst>
          </p:cNvPr>
          <p:cNvSpPr>
            <a:spLocks noGrp="1"/>
          </p:cNvSpPr>
          <p:nvPr>
            <p:ph type="title"/>
          </p:nvPr>
        </p:nvSpPr>
        <p:spPr/>
        <p:txBody>
          <a:bodyPr/>
          <a:lstStyle/>
          <a:p>
            <a:r>
              <a:rPr lang="de-DE"/>
              <a:t>Agenda</a:t>
            </a:r>
          </a:p>
        </p:txBody>
      </p:sp>
      <p:grpSp>
        <p:nvGrpSpPr>
          <p:cNvPr id="7" name="Gruppieren 6">
            <a:extLst>
              <a:ext uri="{FF2B5EF4-FFF2-40B4-BE49-F238E27FC236}">
                <a16:creationId xmlns:a16="http://schemas.microsoft.com/office/drawing/2014/main" id="{49E39CA1-6732-4B87-8407-0E76949A0A44}"/>
              </a:ext>
            </a:extLst>
          </p:cNvPr>
          <p:cNvGrpSpPr/>
          <p:nvPr/>
        </p:nvGrpSpPr>
        <p:grpSpPr>
          <a:xfrm>
            <a:off x="705494" y="1633157"/>
            <a:ext cx="10738602" cy="963043"/>
            <a:chOff x="695325" y="1376363"/>
            <a:chExt cx="4907462" cy="360000"/>
          </a:xfrm>
        </p:grpSpPr>
        <p:sp>
          <p:nvSpPr>
            <p:cNvPr id="8" name="Freihandform 40">
              <a:extLst>
                <a:ext uri="{FF2B5EF4-FFF2-40B4-BE49-F238E27FC236}">
                  <a16:creationId xmlns:a16="http://schemas.microsoft.com/office/drawing/2014/main" id="{FE9BD1F8-CB05-449C-945F-29A295717892}"/>
                </a:ext>
              </a:extLst>
            </p:cNvPr>
            <p:cNvSpPr/>
            <p:nvPr/>
          </p:nvSpPr>
          <p:spPr>
            <a:xfrm>
              <a:off x="1179887" y="1376363"/>
              <a:ext cx="4422900" cy="360000"/>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de-DE" sz="2400">
                  <a:solidFill>
                    <a:schemeClr val="bg1"/>
                  </a:solidFill>
                </a:rPr>
                <a:t>Zielsetzung</a:t>
              </a:r>
            </a:p>
          </p:txBody>
        </p:sp>
        <p:sp>
          <p:nvSpPr>
            <p:cNvPr id="9" name="Abgerundetes Rechteck 11">
              <a:extLst>
                <a:ext uri="{FF2B5EF4-FFF2-40B4-BE49-F238E27FC236}">
                  <a16:creationId xmlns:a16="http://schemas.microsoft.com/office/drawing/2014/main" id="{577836FD-EC08-4590-87B4-2116C9E24635}"/>
                </a:ext>
              </a:extLst>
            </p:cNvPr>
            <p:cNvSpPr/>
            <p:nvPr/>
          </p:nvSpPr>
          <p:spPr>
            <a:xfrm>
              <a:off x="695325" y="1376363"/>
              <a:ext cx="432000" cy="360000"/>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bIns="36000" rtlCol="0" anchor="ctr" anchorCtr="0">
              <a:noAutofit/>
            </a:bodyPr>
            <a:lstStyle/>
            <a:p>
              <a:pPr algn="ctr"/>
              <a:r>
                <a:rPr lang="de-DE" sz="2400">
                  <a:solidFill>
                    <a:schemeClr val="bg1"/>
                  </a:solidFill>
                </a:rPr>
                <a:t>1.</a:t>
              </a:r>
            </a:p>
          </p:txBody>
        </p:sp>
      </p:grpSp>
      <p:sp>
        <p:nvSpPr>
          <p:cNvPr id="10" name="Freihandform 38">
            <a:extLst>
              <a:ext uri="{FF2B5EF4-FFF2-40B4-BE49-F238E27FC236}">
                <a16:creationId xmlns:a16="http://schemas.microsoft.com/office/drawing/2014/main" id="{7D7306D9-054E-49D2-B00C-2C7EA4A525D7}"/>
              </a:ext>
            </a:extLst>
          </p:cNvPr>
          <p:cNvSpPr/>
          <p:nvPr/>
        </p:nvSpPr>
        <p:spPr>
          <a:xfrm>
            <a:off x="1764754" y="2748318"/>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Vorstell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1" name="Abgerundetes Rechteck 11">
            <a:extLst>
              <a:ext uri="{FF2B5EF4-FFF2-40B4-BE49-F238E27FC236}">
                <a16:creationId xmlns:a16="http://schemas.microsoft.com/office/drawing/2014/main" id="{63713944-2916-451F-AD4E-9CA399694C6B}"/>
              </a:ext>
            </a:extLst>
          </p:cNvPr>
          <p:cNvSpPr/>
          <p:nvPr/>
        </p:nvSpPr>
        <p:spPr>
          <a:xfrm>
            <a:off x="704426" y="2748318"/>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2.</a:t>
            </a:r>
          </a:p>
        </p:txBody>
      </p:sp>
      <p:sp>
        <p:nvSpPr>
          <p:cNvPr id="12" name="Freihandform 33">
            <a:extLst>
              <a:ext uri="{FF2B5EF4-FFF2-40B4-BE49-F238E27FC236}">
                <a16:creationId xmlns:a16="http://schemas.microsoft.com/office/drawing/2014/main" id="{1D572B6A-7E25-4D79-8D6C-865986E5BBAB}"/>
              </a:ext>
            </a:extLst>
          </p:cNvPr>
          <p:cNvSpPr/>
          <p:nvPr/>
        </p:nvSpPr>
        <p:spPr>
          <a:xfrm>
            <a:off x="1764754" y="3873791"/>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Bewert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3" name="Abgerundetes Rechteck 11">
            <a:extLst>
              <a:ext uri="{FF2B5EF4-FFF2-40B4-BE49-F238E27FC236}">
                <a16:creationId xmlns:a16="http://schemas.microsoft.com/office/drawing/2014/main" id="{35E02864-D4C6-4021-8A78-1945552B66EF}"/>
              </a:ext>
            </a:extLst>
          </p:cNvPr>
          <p:cNvSpPr/>
          <p:nvPr/>
        </p:nvSpPr>
        <p:spPr>
          <a:xfrm>
            <a:off x="703315" y="3873791"/>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3.</a:t>
            </a:r>
          </a:p>
        </p:txBody>
      </p:sp>
      <p:sp>
        <p:nvSpPr>
          <p:cNvPr id="18" name="Fußzeilenplatzhalter 4">
            <a:extLst>
              <a:ext uri="{FF2B5EF4-FFF2-40B4-BE49-F238E27FC236}">
                <a16:creationId xmlns:a16="http://schemas.microsoft.com/office/drawing/2014/main" id="{DA8CAD28-5AB9-4353-ACCF-C6C5F61828BA}"/>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5" name="Textplatzhalter 4">
            <a:extLst>
              <a:ext uri="{FF2B5EF4-FFF2-40B4-BE49-F238E27FC236}">
                <a16:creationId xmlns:a16="http://schemas.microsoft.com/office/drawing/2014/main" id="{341F8D5A-E1B2-43B4-9E46-38D44F50DD5C}"/>
              </a:ext>
            </a:extLst>
          </p:cNvPr>
          <p:cNvSpPr>
            <a:spLocks noGrp="1"/>
          </p:cNvSpPr>
          <p:nvPr>
            <p:ph type="body" sz="quarter" idx="10"/>
          </p:nvPr>
        </p:nvSpPr>
        <p:spPr/>
        <p:txBody>
          <a:bodyPr/>
          <a:lstStyle/>
          <a:p>
            <a:endParaRPr lang="de-DE"/>
          </a:p>
        </p:txBody>
      </p:sp>
      <p:sp>
        <p:nvSpPr>
          <p:cNvPr id="14" name="Freihandform 33">
            <a:extLst>
              <a:ext uri="{FF2B5EF4-FFF2-40B4-BE49-F238E27FC236}">
                <a16:creationId xmlns:a16="http://schemas.microsoft.com/office/drawing/2014/main" id="{46204DC1-18FD-4430-9956-AC2DF3BCBB7A}"/>
              </a:ext>
            </a:extLst>
          </p:cNvPr>
          <p:cNvSpPr/>
          <p:nvPr/>
        </p:nvSpPr>
        <p:spPr>
          <a:xfrm>
            <a:off x="1764754" y="4988952"/>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Fazit</a:t>
            </a:r>
            <a:r>
              <a:rPr lang="en-US" sz="2400">
                <a:solidFill>
                  <a:schemeClr val="bg1"/>
                </a:solidFill>
              </a:rPr>
              <a:t> &amp; </a:t>
            </a:r>
            <a:r>
              <a:rPr lang="en-US" sz="2400" err="1">
                <a:solidFill>
                  <a:schemeClr val="bg1"/>
                </a:solidFill>
              </a:rPr>
              <a:t>Ausblick</a:t>
            </a:r>
            <a:endParaRPr lang="en-US" sz="2400">
              <a:solidFill>
                <a:schemeClr val="bg1"/>
              </a:solidFill>
            </a:endParaRPr>
          </a:p>
        </p:txBody>
      </p:sp>
      <p:sp>
        <p:nvSpPr>
          <p:cNvPr id="15" name="Abgerundetes Rechteck 11">
            <a:extLst>
              <a:ext uri="{FF2B5EF4-FFF2-40B4-BE49-F238E27FC236}">
                <a16:creationId xmlns:a16="http://schemas.microsoft.com/office/drawing/2014/main" id="{52AB4097-DDEE-42E1-BF75-0EF0E943D607}"/>
              </a:ext>
            </a:extLst>
          </p:cNvPr>
          <p:cNvSpPr/>
          <p:nvPr/>
        </p:nvSpPr>
        <p:spPr>
          <a:xfrm>
            <a:off x="703315" y="4988952"/>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1F4542"/>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4.</a:t>
            </a:r>
          </a:p>
        </p:txBody>
      </p:sp>
    </p:spTree>
    <p:extLst>
      <p:ext uri="{BB962C8B-B14F-4D97-AF65-F5344CB8AC3E}">
        <p14:creationId xmlns:p14="http://schemas.microsoft.com/office/powerpoint/2010/main" val="299448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47000"/>
          </a:schemeClr>
        </a:solidFill>
        <a:effectLst/>
      </p:bgPr>
    </p:bg>
    <p:spTree>
      <p:nvGrpSpPr>
        <p:cNvPr id="1" name=""/>
        <p:cNvGrpSpPr/>
        <p:nvPr/>
      </p:nvGrpSpPr>
      <p:grpSpPr>
        <a:xfrm>
          <a:off x="0" y="0"/>
          <a:ext cx="0" cy="0"/>
          <a:chOff x="0" y="0"/>
          <a:chExt cx="0" cy="0"/>
        </a:xfrm>
      </p:grpSpPr>
      <p:sp>
        <p:nvSpPr>
          <p:cNvPr id="36" name="Rechteck: obere Ecken abgerundet 35">
            <a:extLst>
              <a:ext uri="{FF2B5EF4-FFF2-40B4-BE49-F238E27FC236}">
                <a16:creationId xmlns:a16="http://schemas.microsoft.com/office/drawing/2014/main" id="{2B988B5F-E1A3-449E-8DEE-7C7A4743529F}"/>
              </a:ext>
            </a:extLst>
          </p:cNvPr>
          <p:cNvSpPr/>
          <p:nvPr/>
        </p:nvSpPr>
        <p:spPr>
          <a:xfrm rot="5400000">
            <a:off x="7287119" y="339105"/>
            <a:ext cx="1835247" cy="6909199"/>
          </a:xfrm>
          <a:prstGeom prst="round2SameRect">
            <a:avLst/>
          </a:prstGeom>
          <a:solidFill>
            <a:schemeClr val="bg1">
              <a:lumMod val="9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2" name="Rechteck: obere Ecken abgerundet 31">
            <a:extLst>
              <a:ext uri="{FF2B5EF4-FFF2-40B4-BE49-F238E27FC236}">
                <a16:creationId xmlns:a16="http://schemas.microsoft.com/office/drawing/2014/main" id="{1FDF5808-CD6A-4C68-8BDF-EA520BCBEEF4}"/>
              </a:ext>
            </a:extLst>
          </p:cNvPr>
          <p:cNvSpPr/>
          <p:nvPr/>
        </p:nvSpPr>
        <p:spPr>
          <a:xfrm rot="5400000">
            <a:off x="7298975" y="-1539318"/>
            <a:ext cx="1835247" cy="6882800"/>
          </a:xfrm>
          <a:prstGeom prst="round2SameRect">
            <a:avLst/>
          </a:prstGeom>
          <a:solidFill>
            <a:schemeClr val="bg1">
              <a:lumMod val="9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1" name="Rechteck: obere Ecken abgerundet 30">
            <a:extLst>
              <a:ext uri="{FF2B5EF4-FFF2-40B4-BE49-F238E27FC236}">
                <a16:creationId xmlns:a16="http://schemas.microsoft.com/office/drawing/2014/main" id="{583C69DA-3BB6-43A2-B351-1A84361E0639}"/>
              </a:ext>
            </a:extLst>
          </p:cNvPr>
          <p:cNvSpPr/>
          <p:nvPr/>
        </p:nvSpPr>
        <p:spPr>
          <a:xfrm rot="5400000">
            <a:off x="7582236" y="2018966"/>
            <a:ext cx="1268725" cy="6882800"/>
          </a:xfrm>
          <a:prstGeom prst="round2SameRect">
            <a:avLst/>
          </a:prstGeom>
          <a:solidFill>
            <a:schemeClr val="bg1">
              <a:lumMod val="9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 name="Titel 1">
            <a:extLst>
              <a:ext uri="{FF2B5EF4-FFF2-40B4-BE49-F238E27FC236}">
                <a16:creationId xmlns:a16="http://schemas.microsoft.com/office/drawing/2014/main" id="{10FF6872-4D82-40CD-9B63-CC063A4D824A}"/>
              </a:ext>
            </a:extLst>
          </p:cNvPr>
          <p:cNvSpPr>
            <a:spLocks noGrp="1"/>
          </p:cNvSpPr>
          <p:nvPr>
            <p:ph type="title"/>
          </p:nvPr>
        </p:nvSpPr>
        <p:spPr/>
        <p:txBody>
          <a:bodyPr/>
          <a:lstStyle/>
          <a:p>
            <a:r>
              <a:rPr lang="de-DE"/>
              <a:t>Fazit &amp; Ausblick</a:t>
            </a:r>
          </a:p>
        </p:txBody>
      </p:sp>
      <p:sp>
        <p:nvSpPr>
          <p:cNvPr id="4" name="Fußzeilenplatzhalter 3">
            <a:extLst>
              <a:ext uri="{FF2B5EF4-FFF2-40B4-BE49-F238E27FC236}">
                <a16:creationId xmlns:a16="http://schemas.microsoft.com/office/drawing/2014/main" id="{157C02B7-F123-4DAF-9384-BA86D774C3CF}"/>
              </a:ext>
            </a:extLst>
          </p:cNvPr>
          <p:cNvSpPr>
            <a:spLocks noGrp="1"/>
          </p:cNvSpPr>
          <p:nvPr>
            <p:ph type="ftr" sz="quarter" idx="11"/>
          </p:nvPr>
        </p:nvSpPr>
        <p:spPr/>
        <p:txBody>
          <a:bodyPr/>
          <a:lstStyle/>
          <a:p>
            <a:pPr>
              <a:spcBef>
                <a:spcPct val="20000"/>
              </a:spcBef>
            </a:pPr>
            <a:r>
              <a:rPr lang="de-DE"/>
              <a:t>SCA Case Study – 28.07.2021</a:t>
            </a:r>
          </a:p>
        </p:txBody>
      </p:sp>
      <p:sp>
        <p:nvSpPr>
          <p:cNvPr id="5" name="Rectangle 7">
            <a:extLst>
              <a:ext uri="{FF2B5EF4-FFF2-40B4-BE49-F238E27FC236}">
                <a16:creationId xmlns:a16="http://schemas.microsoft.com/office/drawing/2014/main" id="{7FB35085-3882-4E6F-B758-707F6201EC88}"/>
              </a:ext>
            </a:extLst>
          </p:cNvPr>
          <p:cNvSpPr>
            <a:spLocks noChangeArrowheads="1"/>
          </p:cNvSpPr>
          <p:nvPr/>
        </p:nvSpPr>
        <p:spPr bwMode="auto">
          <a:xfrm rot="16200000">
            <a:off x="-190032" y="3248607"/>
            <a:ext cx="4175644" cy="1292662"/>
          </a:xfrm>
          <a:prstGeom prst="rect">
            <a:avLst/>
          </a:prstGeom>
          <a:noFill/>
          <a:ln w="9525">
            <a:noFill/>
            <a:miter lim="800000"/>
            <a:headEnd/>
            <a:tailEnd/>
          </a:ln>
        </p:spPr>
        <p:txBody>
          <a:bodyPr>
            <a:spAutoFit/>
          </a:bodyPr>
          <a:lstStyle/>
          <a:p>
            <a:pPr marL="177800" indent="-177800" algn="ctr">
              <a:spcAft>
                <a:spcPct val="10000"/>
              </a:spcAft>
              <a:buClr>
                <a:srgbClr val="00298E"/>
              </a:buClr>
            </a:pPr>
            <a:endParaRPr lang="de-DE" sz="1200"/>
          </a:p>
          <a:p>
            <a:pPr marL="177800" indent="-177800" algn="ctr">
              <a:spcAft>
                <a:spcPct val="10000"/>
              </a:spcAft>
              <a:buClr>
                <a:srgbClr val="00298E"/>
              </a:buClr>
            </a:pPr>
            <a:endParaRPr lang="de-DE" sz="1200"/>
          </a:p>
          <a:p>
            <a:pPr marL="177800" indent="-177800" algn="ctr">
              <a:spcAft>
                <a:spcPct val="10000"/>
              </a:spcAft>
              <a:buClr>
                <a:srgbClr val="00298E"/>
              </a:buClr>
            </a:pPr>
            <a:endParaRPr lang="de-DE" sz="1200"/>
          </a:p>
          <a:p>
            <a:pPr marL="177800" indent="-177800" algn="ctr">
              <a:spcAft>
                <a:spcPct val="10000"/>
              </a:spcAft>
              <a:buClr>
                <a:srgbClr val="00298E"/>
              </a:buClr>
            </a:pPr>
            <a:endParaRPr lang="de-DE" sz="1200"/>
          </a:p>
          <a:p>
            <a:pPr marL="177800" indent="-177800" algn="ctr">
              <a:spcAft>
                <a:spcPct val="10000"/>
              </a:spcAft>
              <a:buClr>
                <a:srgbClr val="00298E"/>
              </a:buClr>
            </a:pPr>
            <a:endParaRPr lang="de-DE" sz="1200"/>
          </a:p>
          <a:p>
            <a:pPr marL="177800" indent="-177800" algn="ctr">
              <a:spcAft>
                <a:spcPct val="10000"/>
              </a:spcAft>
              <a:buClr>
                <a:srgbClr val="00298E"/>
              </a:buClr>
            </a:pPr>
            <a:endParaRPr lang="de-DE" sz="1200"/>
          </a:p>
        </p:txBody>
      </p:sp>
      <p:grpSp>
        <p:nvGrpSpPr>
          <p:cNvPr id="6" name="Gruppieren 5">
            <a:extLst>
              <a:ext uri="{FF2B5EF4-FFF2-40B4-BE49-F238E27FC236}">
                <a16:creationId xmlns:a16="http://schemas.microsoft.com/office/drawing/2014/main" id="{04CD3979-F247-4B9B-A089-C55EC383C3EE}"/>
              </a:ext>
            </a:extLst>
          </p:cNvPr>
          <p:cNvGrpSpPr/>
          <p:nvPr/>
        </p:nvGrpSpPr>
        <p:grpSpPr>
          <a:xfrm>
            <a:off x="1669613" y="1269624"/>
            <a:ext cx="2201099" cy="4752975"/>
            <a:chOff x="2603614" y="1523520"/>
            <a:chExt cx="2844314" cy="4454421"/>
          </a:xfrm>
        </p:grpSpPr>
        <p:sp>
          <p:nvSpPr>
            <p:cNvPr id="7" name="Eingekerbter Pfeil nach rechts 20">
              <a:extLst>
                <a:ext uri="{FF2B5EF4-FFF2-40B4-BE49-F238E27FC236}">
                  <a16:creationId xmlns:a16="http://schemas.microsoft.com/office/drawing/2014/main" id="{C83A5BB6-91A4-42D6-82AC-AC57373B56B1}"/>
                </a:ext>
              </a:extLst>
            </p:cNvPr>
            <p:cNvSpPr/>
            <p:nvPr/>
          </p:nvSpPr>
          <p:spPr>
            <a:xfrm>
              <a:off x="4367808" y="3300886"/>
              <a:ext cx="1080120" cy="936104"/>
            </a:xfrm>
            <a:prstGeom prst="notchedRightArrow">
              <a:avLst/>
            </a:prstGeom>
            <a:solidFill>
              <a:schemeClr val="accent5"/>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200">
                <a:solidFill>
                  <a:schemeClr val="bg1"/>
                </a:solidFill>
              </a:endParaRPr>
            </a:p>
          </p:txBody>
        </p:sp>
        <p:grpSp>
          <p:nvGrpSpPr>
            <p:cNvPr id="8" name="Gruppieren 7">
              <a:extLst>
                <a:ext uri="{FF2B5EF4-FFF2-40B4-BE49-F238E27FC236}">
                  <a16:creationId xmlns:a16="http://schemas.microsoft.com/office/drawing/2014/main" id="{D02A6B0F-D7A0-4231-A504-ADADF3865829}"/>
                </a:ext>
              </a:extLst>
            </p:cNvPr>
            <p:cNvGrpSpPr/>
            <p:nvPr/>
          </p:nvGrpSpPr>
          <p:grpSpPr>
            <a:xfrm rot="16200000">
              <a:off x="1402029" y="2725105"/>
              <a:ext cx="4454421" cy="2051252"/>
              <a:chOff x="1634301" y="1808821"/>
              <a:chExt cx="5853345" cy="2695454"/>
            </a:xfrm>
          </p:grpSpPr>
          <p:sp>
            <p:nvSpPr>
              <p:cNvPr id="9" name="Freihandform 18">
                <a:extLst>
                  <a:ext uri="{FF2B5EF4-FFF2-40B4-BE49-F238E27FC236}">
                    <a16:creationId xmlns:a16="http://schemas.microsoft.com/office/drawing/2014/main" id="{5C04FB88-2BF3-466A-A8E0-A0D5ACDE603A}"/>
                  </a:ext>
                </a:extLst>
              </p:cNvPr>
              <p:cNvSpPr>
                <a:spLocks/>
              </p:cNvSpPr>
              <p:nvPr/>
            </p:nvSpPr>
            <p:spPr bwMode="auto">
              <a:xfrm>
                <a:off x="1642999" y="2100398"/>
                <a:ext cx="5788099" cy="2403877"/>
              </a:xfrm>
              <a:custGeom>
                <a:avLst/>
                <a:gdLst>
                  <a:gd name="connsiteX0" fmla="*/ 0 w 5788099"/>
                  <a:gd name="connsiteY0" fmla="*/ 0 h 2403877"/>
                  <a:gd name="connsiteX1" fmla="*/ 5788099 w 5788099"/>
                  <a:gd name="connsiteY1" fmla="*/ 26952 h 2403877"/>
                  <a:gd name="connsiteX2" fmla="*/ 3422030 w 5788099"/>
                  <a:gd name="connsiteY2" fmla="*/ 1678332 h 2403877"/>
                  <a:gd name="connsiteX3" fmla="*/ 3422030 w 5788099"/>
                  <a:gd name="connsiteY3" fmla="*/ 2296471 h 2403877"/>
                  <a:gd name="connsiteX4" fmla="*/ 2917974 w 5788099"/>
                  <a:gd name="connsiteY4" fmla="*/ 2403877 h 2403877"/>
                  <a:gd name="connsiteX5" fmla="*/ 2721773 w 5788099"/>
                  <a:gd name="connsiteY5" fmla="*/ 2395437 h 2403877"/>
                  <a:gd name="connsiteX6" fmla="*/ 2636152 w 5788099"/>
                  <a:gd name="connsiteY6" fmla="*/ 2385534 h 2403877"/>
                  <a:gd name="connsiteX7" fmla="*/ 2413918 w 5788099"/>
                  <a:gd name="connsiteY7" fmla="*/ 2296471 h 2403877"/>
                  <a:gd name="connsiteX8" fmla="*/ 2413918 w 5788099"/>
                  <a:gd name="connsiteY8" fmla="*/ 1667094 h 2403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88099" h="2403877">
                    <a:moveTo>
                      <a:pt x="0" y="0"/>
                    </a:moveTo>
                    <a:lnTo>
                      <a:pt x="5788099" y="26952"/>
                    </a:lnTo>
                    <a:lnTo>
                      <a:pt x="3422030" y="1678332"/>
                    </a:lnTo>
                    <a:lnTo>
                      <a:pt x="3422030" y="2296471"/>
                    </a:lnTo>
                    <a:cubicBezTo>
                      <a:pt x="3422030" y="2355790"/>
                      <a:pt x="3196356" y="2403877"/>
                      <a:pt x="2917974" y="2403877"/>
                    </a:cubicBezTo>
                    <a:cubicBezTo>
                      <a:pt x="2848379" y="2403877"/>
                      <a:pt x="2782077" y="2400872"/>
                      <a:pt x="2721773" y="2395437"/>
                    </a:cubicBezTo>
                    <a:cubicBezTo>
                      <a:pt x="2691621" y="2392719"/>
                      <a:pt x="2662968" y="2389394"/>
                      <a:pt x="2636152" y="2385534"/>
                    </a:cubicBezTo>
                    <a:cubicBezTo>
                      <a:pt x="2502072" y="2366232"/>
                      <a:pt x="2413918" y="2333546"/>
                      <a:pt x="2413918" y="2296471"/>
                    </a:cubicBezTo>
                    <a:lnTo>
                      <a:pt x="2413918" y="1667094"/>
                    </a:lnTo>
                    <a:close/>
                  </a:path>
                </a:pathLst>
              </a:custGeom>
              <a:solidFill>
                <a:schemeClr val="accent4"/>
              </a:solidFill>
              <a:ln w="9525" cap="flat" cmpd="sng">
                <a:solidFill>
                  <a:schemeClr val="accent4"/>
                </a:solidFill>
                <a:prstDash val="solid"/>
                <a:round/>
                <a:headEnd/>
                <a:tailEnd/>
              </a:ln>
            </p:spPr>
            <p:txBody>
              <a:bodyPr wrap="square" lIns="0" tIns="0" rIns="0" bIns="0" anchor="ctr">
                <a:noAutofit/>
              </a:bodyPr>
              <a:lstStyle/>
              <a:p>
                <a:endParaRPr lang="de-DE" sz="1600"/>
              </a:p>
            </p:txBody>
          </p:sp>
          <p:sp>
            <p:nvSpPr>
              <p:cNvPr id="10" name="Oval 9">
                <a:extLst>
                  <a:ext uri="{FF2B5EF4-FFF2-40B4-BE49-F238E27FC236}">
                    <a16:creationId xmlns:a16="http://schemas.microsoft.com/office/drawing/2014/main" id="{10C6CCAB-1542-41F9-ABEF-7643FB02D1B7}"/>
                  </a:ext>
                </a:extLst>
              </p:cNvPr>
              <p:cNvSpPr>
                <a:spLocks noChangeArrowheads="1"/>
              </p:cNvSpPr>
              <p:nvPr/>
            </p:nvSpPr>
            <p:spPr bwMode="auto">
              <a:xfrm rot="5400000">
                <a:off x="4290123" y="-847001"/>
                <a:ext cx="541701" cy="5853345"/>
              </a:xfrm>
              <a:prstGeom prst="ellipse">
                <a:avLst/>
              </a:prstGeom>
              <a:solidFill>
                <a:schemeClr val="accent5"/>
              </a:solidFill>
              <a:ln w="9525">
                <a:solidFill>
                  <a:schemeClr val="accent4"/>
                </a:solidFill>
                <a:round/>
                <a:headEnd/>
                <a:tailEnd/>
              </a:ln>
            </p:spPr>
            <p:txBody>
              <a:bodyPr rot="10800000" vert="eaVert" wrap="none" lIns="0" tIns="0" rIns="0" bIns="0" anchor="ctr"/>
              <a:lstStyle/>
              <a:p>
                <a:pPr algn="ctr"/>
                <a:endParaRPr lang="de-DE" sz="1400">
                  <a:solidFill>
                    <a:schemeClr val="bg1"/>
                  </a:solidFill>
                </a:endParaRPr>
              </a:p>
            </p:txBody>
          </p:sp>
        </p:grpSp>
      </p:grpSp>
      <p:sp>
        <p:nvSpPr>
          <p:cNvPr id="11" name="Ellipse 10">
            <a:extLst>
              <a:ext uri="{FF2B5EF4-FFF2-40B4-BE49-F238E27FC236}">
                <a16:creationId xmlns:a16="http://schemas.microsoft.com/office/drawing/2014/main" id="{40CA0957-D3BF-4247-9703-E56F26E47991}"/>
              </a:ext>
            </a:extLst>
          </p:cNvPr>
          <p:cNvSpPr/>
          <p:nvPr/>
        </p:nvSpPr>
        <p:spPr>
          <a:xfrm>
            <a:off x="605012" y="2281602"/>
            <a:ext cx="1337377" cy="792088"/>
          </a:xfrm>
          <a:prstGeom prst="ellipse">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200">
                <a:solidFill>
                  <a:schemeClr val="bg1"/>
                </a:solidFill>
              </a:rPr>
              <a:t>Ergebnisse</a:t>
            </a:r>
          </a:p>
        </p:txBody>
      </p:sp>
      <p:sp>
        <p:nvSpPr>
          <p:cNvPr id="12" name="Ellipse 11">
            <a:extLst>
              <a:ext uri="{FF2B5EF4-FFF2-40B4-BE49-F238E27FC236}">
                <a16:creationId xmlns:a16="http://schemas.microsoft.com/office/drawing/2014/main" id="{95754ECC-EB8C-40F4-9EED-C2E8B74F83BF}"/>
              </a:ext>
            </a:extLst>
          </p:cNvPr>
          <p:cNvSpPr/>
          <p:nvPr/>
        </p:nvSpPr>
        <p:spPr>
          <a:xfrm>
            <a:off x="322965" y="3261957"/>
            <a:ext cx="1337377" cy="792088"/>
          </a:xfrm>
          <a:prstGeom prst="ellipse">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200">
                <a:solidFill>
                  <a:schemeClr val="bg1"/>
                </a:solidFill>
              </a:rPr>
              <a:t>Bewertung</a:t>
            </a:r>
          </a:p>
        </p:txBody>
      </p:sp>
      <p:sp>
        <p:nvSpPr>
          <p:cNvPr id="13" name="Ellipse 12">
            <a:extLst>
              <a:ext uri="{FF2B5EF4-FFF2-40B4-BE49-F238E27FC236}">
                <a16:creationId xmlns:a16="http://schemas.microsoft.com/office/drawing/2014/main" id="{1109F5FC-6A57-4974-A7A4-D45E9BF2EDC6}"/>
              </a:ext>
            </a:extLst>
          </p:cNvPr>
          <p:cNvSpPr/>
          <p:nvPr/>
        </p:nvSpPr>
        <p:spPr>
          <a:xfrm>
            <a:off x="485162" y="4322790"/>
            <a:ext cx="1337377" cy="792088"/>
          </a:xfrm>
          <a:prstGeom prst="ellipse">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200">
                <a:solidFill>
                  <a:schemeClr val="bg1"/>
                </a:solidFill>
              </a:rPr>
              <a:t>Zielsetzung</a:t>
            </a:r>
          </a:p>
        </p:txBody>
      </p:sp>
      <p:sp>
        <p:nvSpPr>
          <p:cNvPr id="15" name="Auf der gleichen Seite des Rechtecks liegende Ecken abrunden 27">
            <a:extLst>
              <a:ext uri="{FF2B5EF4-FFF2-40B4-BE49-F238E27FC236}">
                <a16:creationId xmlns:a16="http://schemas.microsoft.com/office/drawing/2014/main" id="{D6DC6F21-6F78-4A09-8EFF-B70AF90F0E91}"/>
              </a:ext>
            </a:extLst>
          </p:cNvPr>
          <p:cNvSpPr/>
          <p:nvPr/>
        </p:nvSpPr>
        <p:spPr>
          <a:xfrm rot="16200000">
            <a:off x="1705927" y="3230678"/>
            <a:ext cx="5107172" cy="647831"/>
          </a:xfrm>
          <a:prstGeom prst="round2SameRect">
            <a:avLst>
              <a:gd name="adj1" fmla="val 21167"/>
              <a:gd name="adj2" fmla="val 0"/>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12700" bIns="36286" rtlCol="0" anchor="ctr" anchorCtr="0"/>
          <a:lstStyle/>
          <a:p>
            <a:pPr algn="ctr"/>
            <a:r>
              <a:rPr lang="de-DE" sz="1400">
                <a:solidFill>
                  <a:schemeClr val="bg1"/>
                </a:solidFill>
              </a:rPr>
              <a:t>Handlungsempfehlungen</a:t>
            </a:r>
          </a:p>
        </p:txBody>
      </p:sp>
      <p:sp>
        <p:nvSpPr>
          <p:cNvPr id="16" name="Textfeld 15">
            <a:extLst>
              <a:ext uri="{FF2B5EF4-FFF2-40B4-BE49-F238E27FC236}">
                <a16:creationId xmlns:a16="http://schemas.microsoft.com/office/drawing/2014/main" id="{94ED55AC-7E53-48ED-949D-CFEF2380577B}"/>
              </a:ext>
            </a:extLst>
          </p:cNvPr>
          <p:cNvSpPr txBox="1"/>
          <p:nvPr/>
        </p:nvSpPr>
        <p:spPr bwMode="auto">
          <a:xfrm>
            <a:off x="5108001" y="1269625"/>
            <a:ext cx="5056587" cy="1660849"/>
          </a:xfrm>
          <a:custGeom>
            <a:avLst/>
            <a:gdLst>
              <a:gd name="connsiteX0" fmla="*/ 0 w 4718272"/>
              <a:gd name="connsiteY0" fmla="*/ 0 h 3899654"/>
              <a:gd name="connsiteX1" fmla="*/ 39441 w 4718272"/>
              <a:gd name="connsiteY1" fmla="*/ 0 h 3899654"/>
              <a:gd name="connsiteX2" fmla="*/ 76199 w 4718272"/>
              <a:gd name="connsiteY2" fmla="*/ 0 h 3899654"/>
              <a:gd name="connsiteX3" fmla="*/ 694730 w 4718272"/>
              <a:gd name="connsiteY3" fmla="*/ 0 h 3899654"/>
              <a:gd name="connsiteX4" fmla="*/ 2372827 w 4718272"/>
              <a:gd name="connsiteY4" fmla="*/ 0 h 3899654"/>
              <a:gd name="connsiteX5" fmla="*/ 4642073 w 4718272"/>
              <a:gd name="connsiteY5" fmla="*/ 0 h 3899654"/>
              <a:gd name="connsiteX6" fmla="*/ 4718272 w 4718272"/>
              <a:gd name="connsiteY6" fmla="*/ 76199 h 3899654"/>
              <a:gd name="connsiteX7" fmla="*/ 4718272 w 4718272"/>
              <a:gd name="connsiteY7" fmla="*/ 3823455 h 3899654"/>
              <a:gd name="connsiteX8" fmla="*/ 4642073 w 4718272"/>
              <a:gd name="connsiteY8" fmla="*/ 3899654 h 3899654"/>
              <a:gd name="connsiteX9" fmla="*/ 2372827 w 4718272"/>
              <a:gd name="connsiteY9" fmla="*/ 3899654 h 3899654"/>
              <a:gd name="connsiteX10" fmla="*/ 694730 w 4718272"/>
              <a:gd name="connsiteY10" fmla="*/ 3899654 h 3899654"/>
              <a:gd name="connsiteX11" fmla="*/ 76199 w 4718272"/>
              <a:gd name="connsiteY11" fmla="*/ 3899654 h 3899654"/>
              <a:gd name="connsiteX12" fmla="*/ 39441 w 4718272"/>
              <a:gd name="connsiteY12" fmla="*/ 3899654 h 3899654"/>
              <a:gd name="connsiteX13" fmla="*/ 0 w 4718272"/>
              <a:gd name="connsiteY13" fmla="*/ 3899654 h 3899654"/>
              <a:gd name="connsiteX14" fmla="*/ 0 w 4718272"/>
              <a:gd name="connsiteY14" fmla="*/ 3823455 h 3899654"/>
              <a:gd name="connsiteX15" fmla="*/ 0 w 4718272"/>
              <a:gd name="connsiteY15" fmla="*/ 3810118 h 3899654"/>
              <a:gd name="connsiteX16" fmla="*/ 0 w 4718272"/>
              <a:gd name="connsiteY16" fmla="*/ 89536 h 3899654"/>
              <a:gd name="connsiteX17" fmla="*/ 0 w 4718272"/>
              <a:gd name="connsiteY17" fmla="*/ 76199 h 389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18272" h="3899654">
                <a:moveTo>
                  <a:pt x="0" y="0"/>
                </a:moveTo>
                <a:lnTo>
                  <a:pt x="39441" y="0"/>
                </a:lnTo>
                <a:lnTo>
                  <a:pt x="76199" y="0"/>
                </a:lnTo>
                <a:lnTo>
                  <a:pt x="694730" y="0"/>
                </a:lnTo>
                <a:lnTo>
                  <a:pt x="2372827" y="0"/>
                </a:lnTo>
                <a:lnTo>
                  <a:pt x="4642073" y="0"/>
                </a:lnTo>
                <a:cubicBezTo>
                  <a:pt x="4684157" y="0"/>
                  <a:pt x="4718272" y="34115"/>
                  <a:pt x="4718272" y="76199"/>
                </a:cubicBezTo>
                <a:lnTo>
                  <a:pt x="4718272" y="3823455"/>
                </a:lnTo>
                <a:cubicBezTo>
                  <a:pt x="4718272" y="3865539"/>
                  <a:pt x="4684157" y="3899654"/>
                  <a:pt x="4642073" y="3899654"/>
                </a:cubicBezTo>
                <a:lnTo>
                  <a:pt x="2372827" y="3899654"/>
                </a:lnTo>
                <a:lnTo>
                  <a:pt x="694730" y="3899654"/>
                </a:lnTo>
                <a:lnTo>
                  <a:pt x="76199" y="3899654"/>
                </a:lnTo>
                <a:lnTo>
                  <a:pt x="39441" y="3899654"/>
                </a:lnTo>
                <a:lnTo>
                  <a:pt x="0" y="3899654"/>
                </a:lnTo>
                <a:lnTo>
                  <a:pt x="0" y="3823455"/>
                </a:lnTo>
                <a:lnTo>
                  <a:pt x="0" y="3810118"/>
                </a:lnTo>
                <a:lnTo>
                  <a:pt x="0" y="89536"/>
                </a:lnTo>
                <a:lnTo>
                  <a:pt x="0" y="76199"/>
                </a:lnTo>
                <a:close/>
              </a:path>
            </a:pathLst>
          </a:cu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buSzPct val="80000"/>
            </a:pPr>
            <a:r>
              <a:rPr lang="de-DE" sz="1400">
                <a:solidFill>
                  <a:srgbClr val="000000"/>
                </a:solidFill>
                <a:ea typeface="Arial"/>
                <a:cs typeface="Arial" pitchFamily="34" charset="0"/>
              </a:rPr>
              <a:t>Verbesserung der Datengrundlage:</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Alternativstrecken betrachten</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Abgleich mit weiteren Open Data Quellen</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Nutzung weiterer AIS-Daten</a:t>
            </a:r>
          </a:p>
        </p:txBody>
      </p:sp>
      <p:grpSp>
        <p:nvGrpSpPr>
          <p:cNvPr id="22" name="Gruppieren 21">
            <a:extLst>
              <a:ext uri="{FF2B5EF4-FFF2-40B4-BE49-F238E27FC236}">
                <a16:creationId xmlns:a16="http://schemas.microsoft.com/office/drawing/2014/main" id="{98D2BC5E-042C-4E55-B4A9-C271C83CBAEC}"/>
              </a:ext>
            </a:extLst>
          </p:cNvPr>
          <p:cNvGrpSpPr/>
          <p:nvPr/>
        </p:nvGrpSpPr>
        <p:grpSpPr>
          <a:xfrm>
            <a:off x="4403057" y="2530822"/>
            <a:ext cx="612000" cy="613593"/>
            <a:chOff x="4637792" y="4241359"/>
            <a:chExt cx="505494" cy="481681"/>
          </a:xfrm>
        </p:grpSpPr>
        <p:sp>
          <p:nvSpPr>
            <p:cNvPr id="20" name="Ellipse 19">
              <a:extLst>
                <a:ext uri="{FF2B5EF4-FFF2-40B4-BE49-F238E27FC236}">
                  <a16:creationId xmlns:a16="http://schemas.microsoft.com/office/drawing/2014/main" id="{37D8316D-AA24-40DB-90F7-943310135F9D}"/>
                </a:ext>
              </a:extLst>
            </p:cNvPr>
            <p:cNvSpPr/>
            <p:nvPr/>
          </p:nvSpPr>
          <p:spPr>
            <a:xfrm>
              <a:off x="4637792" y="4241359"/>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21" name="Grafik 20" descr="Handschlag mit einfarbiger Füllung">
              <a:extLst>
                <a:ext uri="{FF2B5EF4-FFF2-40B4-BE49-F238E27FC236}">
                  <a16:creationId xmlns:a16="http://schemas.microsoft.com/office/drawing/2014/main" id="{E9D98138-B3D8-42D1-903F-FD5AA29216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92362" y="4297666"/>
              <a:ext cx="396354" cy="396354"/>
            </a:xfrm>
            <a:prstGeom prst="rect">
              <a:avLst/>
            </a:prstGeom>
          </p:spPr>
        </p:pic>
      </p:grpSp>
      <p:sp>
        <p:nvSpPr>
          <p:cNvPr id="24" name="Ellipse 23">
            <a:extLst>
              <a:ext uri="{FF2B5EF4-FFF2-40B4-BE49-F238E27FC236}">
                <a16:creationId xmlns:a16="http://schemas.microsoft.com/office/drawing/2014/main" id="{38E3E4EE-73C1-4CC6-A3ED-DCF04E6231D9}"/>
              </a:ext>
            </a:extLst>
          </p:cNvPr>
          <p:cNvSpPr/>
          <p:nvPr/>
        </p:nvSpPr>
        <p:spPr>
          <a:xfrm>
            <a:off x="4433985" y="5122001"/>
            <a:ext cx="612000" cy="613593"/>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29" name="Grafik 28" descr="Kran mit einfarbiger Füllung">
            <a:extLst>
              <a:ext uri="{FF2B5EF4-FFF2-40B4-BE49-F238E27FC236}">
                <a16:creationId xmlns:a16="http://schemas.microsoft.com/office/drawing/2014/main" id="{37BE630F-9568-4B36-AB55-D32B776101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91515" y="5154539"/>
            <a:ext cx="517260" cy="523571"/>
          </a:xfrm>
          <a:prstGeom prst="rect">
            <a:avLst/>
          </a:prstGeom>
        </p:spPr>
      </p:pic>
      <p:sp>
        <p:nvSpPr>
          <p:cNvPr id="33" name="Textfeld 32">
            <a:extLst>
              <a:ext uri="{FF2B5EF4-FFF2-40B4-BE49-F238E27FC236}">
                <a16:creationId xmlns:a16="http://schemas.microsoft.com/office/drawing/2014/main" id="{BF28A5E6-3400-469C-AE23-8C9D30C18DE8}"/>
              </a:ext>
            </a:extLst>
          </p:cNvPr>
          <p:cNvSpPr txBox="1"/>
          <p:nvPr/>
        </p:nvSpPr>
        <p:spPr bwMode="auto">
          <a:xfrm>
            <a:off x="5108001" y="4982770"/>
            <a:ext cx="5301094" cy="1118175"/>
          </a:xfrm>
          <a:custGeom>
            <a:avLst/>
            <a:gdLst>
              <a:gd name="connsiteX0" fmla="*/ 0 w 4718272"/>
              <a:gd name="connsiteY0" fmla="*/ 0 h 3899654"/>
              <a:gd name="connsiteX1" fmla="*/ 39441 w 4718272"/>
              <a:gd name="connsiteY1" fmla="*/ 0 h 3899654"/>
              <a:gd name="connsiteX2" fmla="*/ 76199 w 4718272"/>
              <a:gd name="connsiteY2" fmla="*/ 0 h 3899654"/>
              <a:gd name="connsiteX3" fmla="*/ 694730 w 4718272"/>
              <a:gd name="connsiteY3" fmla="*/ 0 h 3899654"/>
              <a:gd name="connsiteX4" fmla="*/ 2372827 w 4718272"/>
              <a:gd name="connsiteY4" fmla="*/ 0 h 3899654"/>
              <a:gd name="connsiteX5" fmla="*/ 4642073 w 4718272"/>
              <a:gd name="connsiteY5" fmla="*/ 0 h 3899654"/>
              <a:gd name="connsiteX6" fmla="*/ 4718272 w 4718272"/>
              <a:gd name="connsiteY6" fmla="*/ 76199 h 3899654"/>
              <a:gd name="connsiteX7" fmla="*/ 4718272 w 4718272"/>
              <a:gd name="connsiteY7" fmla="*/ 3823455 h 3899654"/>
              <a:gd name="connsiteX8" fmla="*/ 4642073 w 4718272"/>
              <a:gd name="connsiteY8" fmla="*/ 3899654 h 3899654"/>
              <a:gd name="connsiteX9" fmla="*/ 2372827 w 4718272"/>
              <a:gd name="connsiteY9" fmla="*/ 3899654 h 3899654"/>
              <a:gd name="connsiteX10" fmla="*/ 694730 w 4718272"/>
              <a:gd name="connsiteY10" fmla="*/ 3899654 h 3899654"/>
              <a:gd name="connsiteX11" fmla="*/ 76199 w 4718272"/>
              <a:gd name="connsiteY11" fmla="*/ 3899654 h 3899654"/>
              <a:gd name="connsiteX12" fmla="*/ 39441 w 4718272"/>
              <a:gd name="connsiteY12" fmla="*/ 3899654 h 3899654"/>
              <a:gd name="connsiteX13" fmla="*/ 0 w 4718272"/>
              <a:gd name="connsiteY13" fmla="*/ 3899654 h 3899654"/>
              <a:gd name="connsiteX14" fmla="*/ 0 w 4718272"/>
              <a:gd name="connsiteY14" fmla="*/ 3823455 h 3899654"/>
              <a:gd name="connsiteX15" fmla="*/ 0 w 4718272"/>
              <a:gd name="connsiteY15" fmla="*/ 3810118 h 3899654"/>
              <a:gd name="connsiteX16" fmla="*/ 0 w 4718272"/>
              <a:gd name="connsiteY16" fmla="*/ 89536 h 3899654"/>
              <a:gd name="connsiteX17" fmla="*/ 0 w 4718272"/>
              <a:gd name="connsiteY17" fmla="*/ 76199 h 389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18272" h="3899654">
                <a:moveTo>
                  <a:pt x="0" y="0"/>
                </a:moveTo>
                <a:lnTo>
                  <a:pt x="39441" y="0"/>
                </a:lnTo>
                <a:lnTo>
                  <a:pt x="76199" y="0"/>
                </a:lnTo>
                <a:lnTo>
                  <a:pt x="694730" y="0"/>
                </a:lnTo>
                <a:lnTo>
                  <a:pt x="2372827" y="0"/>
                </a:lnTo>
                <a:lnTo>
                  <a:pt x="4642073" y="0"/>
                </a:lnTo>
                <a:cubicBezTo>
                  <a:pt x="4684157" y="0"/>
                  <a:pt x="4718272" y="34115"/>
                  <a:pt x="4718272" y="76199"/>
                </a:cubicBezTo>
                <a:lnTo>
                  <a:pt x="4718272" y="3823455"/>
                </a:lnTo>
                <a:cubicBezTo>
                  <a:pt x="4718272" y="3865539"/>
                  <a:pt x="4684157" y="3899654"/>
                  <a:pt x="4642073" y="3899654"/>
                </a:cubicBezTo>
                <a:lnTo>
                  <a:pt x="2372827" y="3899654"/>
                </a:lnTo>
                <a:lnTo>
                  <a:pt x="694730" y="3899654"/>
                </a:lnTo>
                <a:lnTo>
                  <a:pt x="76199" y="3899654"/>
                </a:lnTo>
                <a:lnTo>
                  <a:pt x="39441" y="3899654"/>
                </a:lnTo>
                <a:lnTo>
                  <a:pt x="0" y="3899654"/>
                </a:lnTo>
                <a:lnTo>
                  <a:pt x="0" y="3823455"/>
                </a:lnTo>
                <a:lnTo>
                  <a:pt x="0" y="3810118"/>
                </a:lnTo>
                <a:lnTo>
                  <a:pt x="0" y="89536"/>
                </a:lnTo>
                <a:lnTo>
                  <a:pt x="0" y="76199"/>
                </a:lnTo>
                <a:close/>
              </a:path>
            </a:pathLst>
          </a:custGeom>
          <a:noFill/>
          <a:ln w="6350">
            <a:noFill/>
            <a:prstDash val="solid"/>
            <a:miter lim="800000"/>
            <a:headEnd/>
            <a:tailEnd/>
          </a:ln>
        </p:spPr>
        <p:txBody>
          <a:bodyPr wrap="square" lIns="72000" rIns="72000" rtlCol="0">
            <a:noAutofit/>
          </a:bodyPr>
          <a:lstStyle/>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Datenpflege</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Schulungen zum Umgang mit dem Dashboard</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Kommunikation mit Schiffsbetreibern</a:t>
            </a:r>
          </a:p>
        </p:txBody>
      </p:sp>
      <p:sp>
        <p:nvSpPr>
          <p:cNvPr id="35" name="Textfeld 34">
            <a:extLst>
              <a:ext uri="{FF2B5EF4-FFF2-40B4-BE49-F238E27FC236}">
                <a16:creationId xmlns:a16="http://schemas.microsoft.com/office/drawing/2014/main" id="{E9F37DD7-E57C-4817-AB5F-82F897512F06}"/>
              </a:ext>
            </a:extLst>
          </p:cNvPr>
          <p:cNvSpPr txBox="1"/>
          <p:nvPr/>
        </p:nvSpPr>
        <p:spPr bwMode="auto">
          <a:xfrm>
            <a:off x="5108001" y="3111467"/>
            <a:ext cx="5295655" cy="1296637"/>
          </a:xfrm>
          <a:prstGeom prst="rect">
            <a:avLst/>
          </a:prstGeom>
          <a:noFill/>
          <a:ln w="6350">
            <a:noFill/>
            <a:prstDash val="solid"/>
            <a:miter lim="800000"/>
            <a:headEnd/>
            <a:tailEnd/>
          </a:ln>
        </p:spPr>
        <p:txBody>
          <a:bodyPr wrap="square">
            <a:spAutoFit/>
          </a:bodyPr>
          <a:lstStyle/>
          <a:p>
            <a:pPr>
              <a:lnSpc>
                <a:spcPct val="125000"/>
              </a:lnSpc>
              <a:spcAft>
                <a:spcPts val="400"/>
              </a:spcAft>
              <a:buClr>
                <a:schemeClr val="accent1"/>
              </a:buClr>
              <a:buSzPct val="80000"/>
            </a:pPr>
            <a:r>
              <a:rPr lang="de-DE" sz="1400">
                <a:solidFill>
                  <a:srgbClr val="000000"/>
                </a:solidFill>
                <a:ea typeface="Arial"/>
                <a:cs typeface="Arial" pitchFamily="34" charset="0"/>
              </a:rPr>
              <a:t>Für die Umsetzung des Dashboards:</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Integration von Ressourcenmanagement </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Prüfung geeigneter Anwendung für die Umsetzung</a:t>
            </a:r>
          </a:p>
          <a:p>
            <a:pPr marL="144000" indent="-144000">
              <a:lnSpc>
                <a:spcPct val="125000"/>
              </a:lnSpc>
              <a:spcAft>
                <a:spcPts val="400"/>
              </a:spcAft>
              <a:buClr>
                <a:schemeClr val="accent3"/>
              </a:buClr>
              <a:buSzPct val="80000"/>
              <a:buFont typeface="Wingdings" panose="05000000000000000000" pitchFamily="2" charset="2"/>
              <a:buChar char="§"/>
            </a:pPr>
            <a:r>
              <a:rPr lang="de-DE" sz="1400">
                <a:solidFill>
                  <a:srgbClr val="000000"/>
                </a:solidFill>
                <a:ea typeface="Arial"/>
                <a:cs typeface="Arial" pitchFamily="34" charset="0"/>
              </a:rPr>
              <a:t>Rücksprache mit Hafenbetreiber</a:t>
            </a:r>
          </a:p>
        </p:txBody>
      </p:sp>
      <p:grpSp>
        <p:nvGrpSpPr>
          <p:cNvPr id="37" name="Gruppieren 36">
            <a:extLst>
              <a:ext uri="{FF2B5EF4-FFF2-40B4-BE49-F238E27FC236}">
                <a16:creationId xmlns:a16="http://schemas.microsoft.com/office/drawing/2014/main" id="{27D1960D-D751-422A-A797-1762E8FE7E0C}"/>
              </a:ext>
            </a:extLst>
          </p:cNvPr>
          <p:cNvGrpSpPr/>
          <p:nvPr/>
        </p:nvGrpSpPr>
        <p:grpSpPr>
          <a:xfrm>
            <a:off x="-1480137" y="1897324"/>
            <a:ext cx="728523" cy="705225"/>
            <a:chOff x="26945" y="2174187"/>
            <a:chExt cx="728523" cy="705225"/>
          </a:xfrm>
        </p:grpSpPr>
        <p:sp>
          <p:nvSpPr>
            <p:cNvPr id="38" name="Ellipse 37">
              <a:extLst>
                <a:ext uri="{FF2B5EF4-FFF2-40B4-BE49-F238E27FC236}">
                  <a16:creationId xmlns:a16="http://schemas.microsoft.com/office/drawing/2014/main" id="{FFD2AB7C-6FEC-4AD5-A608-A22BB6326C5E}"/>
                </a:ext>
              </a:extLst>
            </p:cNvPr>
            <p:cNvSpPr/>
            <p:nvPr/>
          </p:nvSpPr>
          <p:spPr>
            <a:xfrm>
              <a:off x="26945" y="2174187"/>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39" name="Grafik 38" descr="Streudiagramm mit einfarbiger Füllung">
              <a:extLst>
                <a:ext uri="{FF2B5EF4-FFF2-40B4-BE49-F238E27FC236}">
                  <a16:creationId xmlns:a16="http://schemas.microsoft.com/office/drawing/2014/main" id="{7BBB627D-BC20-4FEA-82C9-D164A6DDEC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6461" y="2385252"/>
              <a:ext cx="400391" cy="400391"/>
            </a:xfrm>
            <a:prstGeom prst="rect">
              <a:avLst/>
            </a:prstGeom>
          </p:spPr>
        </p:pic>
        <p:pic>
          <p:nvPicPr>
            <p:cNvPr id="40" name="Grafik 39" descr="Uhr mit einfarbiger Füllung">
              <a:extLst>
                <a:ext uri="{FF2B5EF4-FFF2-40B4-BE49-F238E27FC236}">
                  <a16:creationId xmlns:a16="http://schemas.microsoft.com/office/drawing/2014/main" id="{C4BCABE1-5399-43C4-9776-59DC842DC1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0527" y="2297710"/>
              <a:ext cx="283736" cy="288770"/>
            </a:xfrm>
            <a:prstGeom prst="rect">
              <a:avLst/>
            </a:prstGeom>
          </p:spPr>
        </p:pic>
      </p:grpSp>
      <p:grpSp>
        <p:nvGrpSpPr>
          <p:cNvPr id="41" name="Gruppieren 40">
            <a:extLst>
              <a:ext uri="{FF2B5EF4-FFF2-40B4-BE49-F238E27FC236}">
                <a16:creationId xmlns:a16="http://schemas.microsoft.com/office/drawing/2014/main" id="{A9B7493F-F023-4107-9B06-7B80034C6CF1}"/>
              </a:ext>
            </a:extLst>
          </p:cNvPr>
          <p:cNvGrpSpPr/>
          <p:nvPr/>
        </p:nvGrpSpPr>
        <p:grpSpPr>
          <a:xfrm>
            <a:off x="-1517895" y="2805443"/>
            <a:ext cx="728523" cy="705225"/>
            <a:chOff x="-10813" y="3082306"/>
            <a:chExt cx="728523" cy="705225"/>
          </a:xfrm>
        </p:grpSpPr>
        <p:sp>
          <p:nvSpPr>
            <p:cNvPr id="42" name="Ellipse 41">
              <a:extLst>
                <a:ext uri="{FF2B5EF4-FFF2-40B4-BE49-F238E27FC236}">
                  <a16:creationId xmlns:a16="http://schemas.microsoft.com/office/drawing/2014/main" id="{8A132AA6-3840-4BA0-B90D-42C5C7B9BAFB}"/>
                </a:ext>
              </a:extLst>
            </p:cNvPr>
            <p:cNvSpPr/>
            <p:nvPr/>
          </p:nvSpPr>
          <p:spPr>
            <a:xfrm>
              <a:off x="-10813" y="3082306"/>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3" name="Grafik 42" descr="Liniendiagramm mit einfarbiger Füllung">
              <a:extLst>
                <a:ext uri="{FF2B5EF4-FFF2-40B4-BE49-F238E27FC236}">
                  <a16:creationId xmlns:a16="http://schemas.microsoft.com/office/drawing/2014/main" id="{336D7C0D-CC14-4A2B-A8E7-2B4F8F0E0FD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379" y="3150578"/>
              <a:ext cx="565716" cy="573401"/>
            </a:xfrm>
            <a:prstGeom prst="rect">
              <a:avLst/>
            </a:prstGeom>
          </p:spPr>
        </p:pic>
        <p:pic>
          <p:nvPicPr>
            <p:cNvPr id="44" name="Grafik 43" descr="Zahnräder mit einfarbiger Füllung">
              <a:extLst>
                <a:ext uri="{FF2B5EF4-FFF2-40B4-BE49-F238E27FC236}">
                  <a16:creationId xmlns:a16="http://schemas.microsoft.com/office/drawing/2014/main" id="{0D0539A6-25F8-42F0-A76A-1487860CB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6271056">
              <a:off x="178335" y="3290385"/>
              <a:ext cx="334908" cy="330419"/>
            </a:xfrm>
            <a:prstGeom prst="rect">
              <a:avLst/>
            </a:prstGeom>
          </p:spPr>
        </p:pic>
      </p:grpSp>
      <p:pic>
        <p:nvPicPr>
          <p:cNvPr id="53" name="Grafik 52">
            <a:extLst>
              <a:ext uri="{FF2B5EF4-FFF2-40B4-BE49-F238E27FC236}">
                <a16:creationId xmlns:a16="http://schemas.microsoft.com/office/drawing/2014/main" id="{BAED3ECF-4EC6-451B-9EA8-DD2897E3827B}"/>
              </a:ext>
            </a:extLst>
          </p:cNvPr>
          <p:cNvPicPr>
            <a:picLocks noChangeAspect="1"/>
          </p:cNvPicPr>
          <p:nvPr/>
        </p:nvPicPr>
        <p:blipFill>
          <a:blip r:embed="rId15">
            <a:duotone>
              <a:schemeClr val="accent6">
                <a:shade val="45000"/>
                <a:satMod val="135000"/>
              </a:schemeClr>
              <a:prstClr val="white"/>
            </a:duotone>
            <a:alphaModFix amt="63000"/>
          </a:blip>
          <a:stretch>
            <a:fillRect/>
          </a:stretch>
        </p:blipFill>
        <p:spPr>
          <a:xfrm>
            <a:off x="10324353" y="3216695"/>
            <a:ext cx="1145451" cy="1107895"/>
          </a:xfrm>
          <a:prstGeom prst="rect">
            <a:avLst/>
          </a:prstGeom>
        </p:spPr>
      </p:pic>
      <p:pic>
        <p:nvPicPr>
          <p:cNvPr id="62" name="Grafik 61">
            <a:extLst>
              <a:ext uri="{FF2B5EF4-FFF2-40B4-BE49-F238E27FC236}">
                <a16:creationId xmlns:a16="http://schemas.microsoft.com/office/drawing/2014/main" id="{B7870886-AB3D-4FC6-8D3C-82F40BAE17F1}"/>
              </a:ext>
            </a:extLst>
          </p:cNvPr>
          <p:cNvPicPr>
            <a:picLocks noChangeAspect="1"/>
          </p:cNvPicPr>
          <p:nvPr/>
        </p:nvPicPr>
        <p:blipFill>
          <a:blip r:embed="rId16">
            <a:duotone>
              <a:schemeClr val="accent6">
                <a:shade val="45000"/>
                <a:satMod val="135000"/>
              </a:schemeClr>
              <a:prstClr val="white"/>
            </a:duotone>
            <a:alphaModFix amt="66000"/>
          </a:blip>
          <a:stretch>
            <a:fillRect/>
          </a:stretch>
        </p:blipFill>
        <p:spPr>
          <a:xfrm>
            <a:off x="10324353" y="1325869"/>
            <a:ext cx="1113365" cy="1076861"/>
          </a:xfrm>
          <a:prstGeom prst="rect">
            <a:avLst/>
          </a:prstGeom>
        </p:spPr>
      </p:pic>
      <p:grpSp>
        <p:nvGrpSpPr>
          <p:cNvPr id="63" name="Gruppieren 62">
            <a:extLst>
              <a:ext uri="{FF2B5EF4-FFF2-40B4-BE49-F238E27FC236}">
                <a16:creationId xmlns:a16="http://schemas.microsoft.com/office/drawing/2014/main" id="{16D181B8-10B7-416C-BA53-54B7A94263F4}"/>
              </a:ext>
            </a:extLst>
          </p:cNvPr>
          <p:cNvGrpSpPr/>
          <p:nvPr/>
        </p:nvGrpSpPr>
        <p:grpSpPr>
          <a:xfrm>
            <a:off x="12762268" y="3013913"/>
            <a:ext cx="3483435" cy="1828661"/>
            <a:chOff x="7470327" y="4338309"/>
            <a:chExt cx="3483435" cy="1828661"/>
          </a:xfrm>
        </p:grpSpPr>
        <p:grpSp>
          <p:nvGrpSpPr>
            <p:cNvPr id="64" name="Gruppieren 63">
              <a:extLst>
                <a:ext uri="{FF2B5EF4-FFF2-40B4-BE49-F238E27FC236}">
                  <a16:creationId xmlns:a16="http://schemas.microsoft.com/office/drawing/2014/main" id="{0AACA9B1-37AD-4F6F-8325-76D3D074BA2B}"/>
                </a:ext>
              </a:extLst>
            </p:cNvPr>
            <p:cNvGrpSpPr/>
            <p:nvPr/>
          </p:nvGrpSpPr>
          <p:grpSpPr>
            <a:xfrm>
              <a:off x="7470327" y="4610810"/>
              <a:ext cx="3242606" cy="1556160"/>
              <a:chOff x="5523502" y="4958189"/>
              <a:chExt cx="3242606" cy="1556160"/>
            </a:xfrm>
          </p:grpSpPr>
          <p:pic>
            <p:nvPicPr>
              <p:cNvPr id="66" name="Grafik 65">
                <a:extLst>
                  <a:ext uri="{FF2B5EF4-FFF2-40B4-BE49-F238E27FC236}">
                    <a16:creationId xmlns:a16="http://schemas.microsoft.com/office/drawing/2014/main" id="{045A5E96-C900-4020-B97A-C493E6244B85}"/>
                  </a:ext>
                </a:extLst>
              </p:cNvPr>
              <p:cNvPicPr>
                <a:picLocks noChangeAspect="1"/>
              </p:cNvPicPr>
              <p:nvPr/>
            </p:nvPicPr>
            <p:blipFill>
              <a:blip r:embed="rId17">
                <a:duotone>
                  <a:schemeClr val="accent4">
                    <a:shade val="45000"/>
                    <a:satMod val="135000"/>
                  </a:schemeClr>
                  <a:prstClr val="white"/>
                </a:duotone>
              </a:blip>
              <a:stretch>
                <a:fillRect/>
              </a:stretch>
            </p:blipFill>
            <p:spPr>
              <a:xfrm>
                <a:off x="5882175" y="4958189"/>
                <a:ext cx="2871465" cy="1530229"/>
              </a:xfrm>
              <a:prstGeom prst="rect">
                <a:avLst/>
              </a:prstGeom>
            </p:spPr>
          </p:pic>
          <p:sp>
            <p:nvSpPr>
              <p:cNvPr id="67" name="Rechteck 66">
                <a:extLst>
                  <a:ext uri="{FF2B5EF4-FFF2-40B4-BE49-F238E27FC236}">
                    <a16:creationId xmlns:a16="http://schemas.microsoft.com/office/drawing/2014/main" id="{8A409843-9902-406E-8201-549961C3D12A}"/>
                  </a:ext>
                </a:extLst>
              </p:cNvPr>
              <p:cNvSpPr/>
              <p:nvPr/>
            </p:nvSpPr>
            <p:spPr>
              <a:xfrm>
                <a:off x="5523502" y="6154309"/>
                <a:ext cx="3242606"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65" name="Rechteck 64">
              <a:extLst>
                <a:ext uri="{FF2B5EF4-FFF2-40B4-BE49-F238E27FC236}">
                  <a16:creationId xmlns:a16="http://schemas.microsoft.com/office/drawing/2014/main" id="{F90F84A3-3335-4FDC-A86D-95DC7744228C}"/>
                </a:ext>
              </a:extLst>
            </p:cNvPr>
            <p:cNvSpPr/>
            <p:nvPr/>
          </p:nvSpPr>
          <p:spPr>
            <a:xfrm rot="5400000">
              <a:off x="10008627" y="4923404"/>
              <a:ext cx="1530229"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Tree>
    <p:extLst>
      <p:ext uri="{BB962C8B-B14F-4D97-AF65-F5344CB8AC3E}">
        <p14:creationId xmlns:p14="http://schemas.microsoft.com/office/powerpoint/2010/main" val="2863957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4F3A25-A041-48A7-BB8E-539A1B0C0490}"/>
              </a:ext>
            </a:extLst>
          </p:cNvPr>
          <p:cNvSpPr>
            <a:spLocks noGrp="1"/>
          </p:cNvSpPr>
          <p:nvPr>
            <p:ph type="title"/>
          </p:nvPr>
        </p:nvSpPr>
        <p:spPr/>
        <p:txBody>
          <a:bodyPr/>
          <a:lstStyle/>
          <a:p>
            <a:r>
              <a:rPr lang="de-DE"/>
              <a:t>Quellen</a:t>
            </a:r>
          </a:p>
        </p:txBody>
      </p:sp>
      <p:sp>
        <p:nvSpPr>
          <p:cNvPr id="4" name="Textfeld 3">
            <a:extLst>
              <a:ext uri="{FF2B5EF4-FFF2-40B4-BE49-F238E27FC236}">
                <a16:creationId xmlns:a16="http://schemas.microsoft.com/office/drawing/2014/main" id="{A3314679-F18E-9646-B9CA-78908381F666}"/>
              </a:ext>
            </a:extLst>
          </p:cNvPr>
          <p:cNvSpPr txBox="1"/>
          <p:nvPr/>
        </p:nvSpPr>
        <p:spPr bwMode="auto">
          <a:xfrm>
            <a:off x="534000" y="874353"/>
            <a:ext cx="10631623" cy="4747177"/>
          </a:xfrm>
          <a:prstGeom prst="rect">
            <a:avLst/>
          </a:prstGeom>
          <a:noFill/>
          <a:ln w="6350">
            <a:noFill/>
            <a:prstDash val="solid"/>
            <a:miter lim="800000"/>
            <a:headEnd/>
            <a:tailEnd/>
          </a:ln>
        </p:spPr>
        <p:txBody>
          <a:bodyPr wrap="square" lIns="72000" rIns="72000" rtlCol="0">
            <a:noAutofit/>
          </a:bodyPr>
          <a:lstStyle/>
          <a:p>
            <a:r>
              <a:rPr lang="de-DE" sz="1400"/>
              <a:t>Binnenschifffahrt Online. (2020) Binnenschifffahrt kämpft mit Corona und saisonalen Effekten. Online erhältlich unter: https://binnenschifffahrt-online.de/2020/07/schifffahrt/15768/binnenschifffahrt-kaempft-mit-corona-und-saisonalen-effekten/ (28.07.2021)</a:t>
            </a:r>
          </a:p>
          <a:p>
            <a:endParaRPr lang="de-DE" sz="1200"/>
          </a:p>
          <a:p>
            <a:r>
              <a:rPr lang="de-DE" sz="1400"/>
              <a:t>Esri Deutschland Content (2017). WSV – Bundeswasserstraßen. Online erhältlich unter: https://opendata-esri-de.opendata.arcgis.com/datasets/esri-de-content::wsv-bundeswasserstra%C3%9Fen/explore?location=51.133692%2C10.411170%2C6.82&amp;showTable=true (26.07.2021)</a:t>
            </a:r>
          </a:p>
          <a:p>
            <a:endParaRPr lang="de-DE" sz="1400"/>
          </a:p>
          <a:p>
            <a:r>
              <a:rPr lang="de-DE" sz="1400" err="1"/>
              <a:t>Kalenderpedia</a:t>
            </a:r>
            <a:r>
              <a:rPr lang="de-DE" sz="1400"/>
              <a:t> (2021). Ferien 2019. Online erhältlich unter: https://www.kalenderpedia.de/ferien/ferien-2019.html (25.07.2021)</a:t>
            </a:r>
          </a:p>
          <a:p>
            <a:endParaRPr lang="de-DE" sz="1400"/>
          </a:p>
          <a:p>
            <a:r>
              <a:rPr lang="de-DE" sz="1400" err="1"/>
              <a:t>MarineTraffic</a:t>
            </a:r>
            <a:r>
              <a:rPr lang="de-DE" sz="1400"/>
              <a:t> (2021). EMDEN (Port). Online erhältlich unter: https://www.marinetraffic.com/en/ais/details/ports/175 (26.07.2021)</a:t>
            </a:r>
          </a:p>
          <a:p>
            <a:endParaRPr lang="de-DE" sz="1400"/>
          </a:p>
          <a:p>
            <a:r>
              <a:rPr lang="de-DE" sz="1400" err="1"/>
              <a:t>MarineTraffic</a:t>
            </a:r>
            <a:r>
              <a:rPr lang="de-DE" sz="1400"/>
              <a:t> (2021). </a:t>
            </a:r>
            <a:r>
              <a:rPr lang="en-US" sz="1400"/>
              <a:t>What is the significance of the AIS </a:t>
            </a:r>
            <a:r>
              <a:rPr lang="en-US" sz="1400" err="1"/>
              <a:t>Shiptype</a:t>
            </a:r>
            <a:r>
              <a:rPr lang="en-US" sz="1400"/>
              <a:t> number? </a:t>
            </a:r>
            <a:r>
              <a:rPr lang="de-DE" sz="1400"/>
              <a:t>Online erhältlich unter: https://help.marinetraffic.com/hc/en-us/articles/205579997-What-is-the-significance-of-the-AIS-Shiptype-number- (26.07.2021)</a:t>
            </a:r>
          </a:p>
          <a:p>
            <a:endParaRPr lang="de-DE" sz="1400"/>
          </a:p>
          <a:p>
            <a:r>
              <a:rPr lang="nl-NL" sz="1400"/>
              <a:t>Overheid.nl (2021). Vaarweg Informatie status vaarwegen (lijnen). </a:t>
            </a:r>
            <a:r>
              <a:rPr lang="de-DE" sz="1400"/>
              <a:t>Online erhältlich unter: https://data.overheid.nl/en/dataset/16060-vaarweg-informatie-status-vaarwegen--lijnen- (26.07.2021)</a:t>
            </a:r>
          </a:p>
          <a:p>
            <a:endParaRPr lang="de-DE" sz="1400"/>
          </a:p>
          <a:p>
            <a:r>
              <a:rPr lang="de-DE" sz="1400"/>
              <a:t>Schulferien.org (2021). Schulferien Niederlande 2019. Online erhältlich unter: https://www.schulferien.org/holland/ferien/2019/ (23.07.2021)</a:t>
            </a:r>
          </a:p>
          <a:p>
            <a:endParaRPr lang="de-DE" sz="1400"/>
          </a:p>
          <a:p>
            <a:r>
              <a:rPr lang="de-DE" sz="1400" err="1"/>
              <a:t>VTExplorer</a:t>
            </a:r>
            <a:r>
              <a:rPr lang="de-DE" sz="1400"/>
              <a:t> (2021). AIS </a:t>
            </a:r>
            <a:r>
              <a:rPr lang="de-DE" sz="1400" err="1"/>
              <a:t>Ship</a:t>
            </a:r>
            <a:r>
              <a:rPr lang="de-DE" sz="1400"/>
              <a:t> </a:t>
            </a:r>
            <a:r>
              <a:rPr lang="de-DE" sz="1400" err="1"/>
              <a:t>Types</a:t>
            </a:r>
            <a:r>
              <a:rPr lang="de-DE" sz="1400"/>
              <a:t>. Online erhältlich unter: https://api.vtexplorer.com/docs/ref-aistypes.html (26.07.2021)</a:t>
            </a:r>
          </a:p>
          <a:p>
            <a:endParaRPr lang="de-DE" sz="1200"/>
          </a:p>
          <a:p>
            <a:endParaRPr lang="de-DE" sz="1200">
              <a:sym typeface="Wingdings" panose="05000000000000000000" pitchFamily="2" charset="2"/>
            </a:endParaRPr>
          </a:p>
          <a:p>
            <a:endParaRPr lang="de-DE" sz="1200"/>
          </a:p>
          <a:p>
            <a:endParaRPr lang="de-DE" sz="1200">
              <a:highlight>
                <a:srgbClr val="FFFF00"/>
              </a:highlight>
            </a:endParaRPr>
          </a:p>
          <a:p>
            <a:endParaRPr lang="de-DE" sz="1200">
              <a:highlight>
                <a:srgbClr val="FFFF00"/>
              </a:highlight>
            </a:endParaRPr>
          </a:p>
          <a:p>
            <a:r>
              <a:rPr lang="de-DE" sz="1200"/>
              <a:t> </a:t>
            </a:r>
          </a:p>
          <a:p>
            <a:r>
              <a:rPr lang="de-DE" sz="1200"/>
              <a:t> </a:t>
            </a:r>
          </a:p>
          <a:p>
            <a:endParaRPr lang="de-DE" sz="1200"/>
          </a:p>
          <a:p>
            <a:r>
              <a:rPr lang="de-DE" sz="1200"/>
              <a:t> </a:t>
            </a:r>
          </a:p>
        </p:txBody>
      </p:sp>
      <p:sp>
        <p:nvSpPr>
          <p:cNvPr id="6" name="Fußzeilenplatzhalter 4">
            <a:extLst>
              <a:ext uri="{FF2B5EF4-FFF2-40B4-BE49-F238E27FC236}">
                <a16:creationId xmlns:a16="http://schemas.microsoft.com/office/drawing/2014/main" id="{F6E7226C-134A-4D36-9772-6CEE5A455F49}"/>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Tree>
    <p:extLst>
      <p:ext uri="{BB962C8B-B14F-4D97-AF65-F5344CB8AC3E}">
        <p14:creationId xmlns:p14="http://schemas.microsoft.com/office/powerpoint/2010/main" val="3459817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3C4C29-2F60-4168-A0EA-5FDD5A6DEE0A}"/>
              </a:ext>
            </a:extLst>
          </p:cNvPr>
          <p:cNvSpPr>
            <a:spLocks noGrp="1"/>
          </p:cNvSpPr>
          <p:nvPr>
            <p:ph type="title"/>
          </p:nvPr>
        </p:nvSpPr>
        <p:spPr/>
        <p:txBody>
          <a:bodyPr/>
          <a:lstStyle/>
          <a:p>
            <a:endParaRPr lang="de-DE"/>
          </a:p>
        </p:txBody>
      </p:sp>
      <p:sp>
        <p:nvSpPr>
          <p:cNvPr id="25" name="Freihandform: Form 24">
            <a:extLst>
              <a:ext uri="{FF2B5EF4-FFF2-40B4-BE49-F238E27FC236}">
                <a16:creationId xmlns:a16="http://schemas.microsoft.com/office/drawing/2014/main" id="{B5242D3F-55C4-4EE9-97BF-EA02416723C9}"/>
              </a:ext>
            </a:extLst>
          </p:cNvPr>
          <p:cNvSpPr/>
          <p:nvPr/>
        </p:nvSpPr>
        <p:spPr>
          <a:xfrm>
            <a:off x="0" y="1144042"/>
            <a:ext cx="3044142" cy="2973474"/>
          </a:xfrm>
          <a:custGeom>
            <a:avLst/>
            <a:gdLst>
              <a:gd name="connsiteX0" fmla="*/ 0 w 3044142"/>
              <a:gd name="connsiteY0" fmla="*/ 0 h 2973474"/>
              <a:gd name="connsiteX1" fmla="*/ 3040704 w 3044142"/>
              <a:gd name="connsiteY1" fmla="*/ 0 h 2973474"/>
              <a:gd name="connsiteX2" fmla="*/ 3044142 w 3044142"/>
              <a:gd name="connsiteY2" fmla="*/ 72820 h 2973474"/>
              <a:gd name="connsiteX3" fmla="*/ 331716 w 3044142"/>
              <a:gd name="connsiteY3" fmla="*/ 2973474 h 2973474"/>
              <a:gd name="connsiteX4" fmla="*/ 54386 w 3044142"/>
              <a:gd name="connsiteY4" fmla="*/ 2958498 h 2973474"/>
              <a:gd name="connsiteX5" fmla="*/ 0 w 3044142"/>
              <a:gd name="connsiteY5" fmla="*/ 2949622 h 2973474"/>
              <a:gd name="connsiteX6" fmla="*/ 0 w 3044142"/>
              <a:gd name="connsiteY6" fmla="*/ 0 h 297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4142" h="2973474">
                <a:moveTo>
                  <a:pt x="0" y="0"/>
                </a:moveTo>
                <a:lnTo>
                  <a:pt x="3040704" y="0"/>
                </a:lnTo>
                <a:lnTo>
                  <a:pt x="3044142" y="72820"/>
                </a:lnTo>
                <a:cubicBezTo>
                  <a:pt x="3044142" y="1674807"/>
                  <a:pt x="1829748" y="2973474"/>
                  <a:pt x="331716" y="2973474"/>
                </a:cubicBezTo>
                <a:cubicBezTo>
                  <a:pt x="238089" y="2973474"/>
                  <a:pt x="145570" y="2968401"/>
                  <a:pt x="54386" y="2958498"/>
                </a:cubicBezTo>
                <a:lnTo>
                  <a:pt x="0" y="2949622"/>
                </a:lnTo>
                <a:lnTo>
                  <a:pt x="0" y="0"/>
                </a:lnTo>
                <a:close/>
              </a:path>
            </a:pathLst>
          </a:custGeom>
          <a:solidFill>
            <a:schemeClr val="accent6">
              <a:lumMod val="7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noAutofit/>
          </a:bodyPr>
          <a:lstStyle/>
          <a:p>
            <a:pPr algn="ctr"/>
            <a:endParaRPr lang="de-DE" sz="1400">
              <a:solidFill>
                <a:schemeClr val="bg1"/>
              </a:solidFill>
            </a:endParaRPr>
          </a:p>
        </p:txBody>
      </p:sp>
      <p:sp>
        <p:nvSpPr>
          <p:cNvPr id="21" name="Freihandform: Form 20">
            <a:extLst>
              <a:ext uri="{FF2B5EF4-FFF2-40B4-BE49-F238E27FC236}">
                <a16:creationId xmlns:a16="http://schemas.microsoft.com/office/drawing/2014/main" id="{82A66BB4-45C6-4D81-9A52-434C4DF6578B}"/>
              </a:ext>
            </a:extLst>
          </p:cNvPr>
          <p:cNvSpPr/>
          <p:nvPr/>
        </p:nvSpPr>
        <p:spPr>
          <a:xfrm>
            <a:off x="0" y="1144042"/>
            <a:ext cx="12192000" cy="4752975"/>
          </a:xfrm>
          <a:custGeom>
            <a:avLst/>
            <a:gdLst>
              <a:gd name="connsiteX0" fmla="*/ 3040704 w 12192000"/>
              <a:gd name="connsiteY0" fmla="*/ 0 h 4752975"/>
              <a:gd name="connsiteX1" fmla="*/ 12192000 w 12192000"/>
              <a:gd name="connsiteY1" fmla="*/ 0 h 4752975"/>
              <a:gd name="connsiteX2" fmla="*/ 12192000 w 12192000"/>
              <a:gd name="connsiteY2" fmla="*/ 4752975 h 4752975"/>
              <a:gd name="connsiteX3" fmla="*/ 0 w 12192000"/>
              <a:gd name="connsiteY3" fmla="*/ 4752975 h 4752975"/>
              <a:gd name="connsiteX4" fmla="*/ 0 w 12192000"/>
              <a:gd name="connsiteY4" fmla="*/ 2949622 h 4752975"/>
              <a:gd name="connsiteX5" fmla="*/ 54386 w 12192000"/>
              <a:gd name="connsiteY5" fmla="*/ 2958498 h 4752975"/>
              <a:gd name="connsiteX6" fmla="*/ 331716 w 12192000"/>
              <a:gd name="connsiteY6" fmla="*/ 2973474 h 4752975"/>
              <a:gd name="connsiteX7" fmla="*/ 3044142 w 12192000"/>
              <a:gd name="connsiteY7" fmla="*/ 72820 h 4752975"/>
              <a:gd name="connsiteX8" fmla="*/ 3040704 w 12192000"/>
              <a:gd name="connsiteY8" fmla="*/ 0 h 475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4752975">
                <a:moveTo>
                  <a:pt x="3040704" y="0"/>
                </a:moveTo>
                <a:lnTo>
                  <a:pt x="12192000" y="0"/>
                </a:lnTo>
                <a:lnTo>
                  <a:pt x="12192000" y="4752975"/>
                </a:lnTo>
                <a:lnTo>
                  <a:pt x="0" y="4752975"/>
                </a:lnTo>
                <a:lnTo>
                  <a:pt x="0" y="2949622"/>
                </a:lnTo>
                <a:lnTo>
                  <a:pt x="54386" y="2958498"/>
                </a:lnTo>
                <a:cubicBezTo>
                  <a:pt x="145570" y="2968401"/>
                  <a:pt x="238089" y="2973474"/>
                  <a:pt x="331716" y="2973474"/>
                </a:cubicBezTo>
                <a:cubicBezTo>
                  <a:pt x="1829748" y="2973474"/>
                  <a:pt x="3044142" y="1674807"/>
                  <a:pt x="3044142" y="72820"/>
                </a:cubicBezTo>
                <a:lnTo>
                  <a:pt x="3040704"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noAutofit/>
          </a:bodyPr>
          <a:lstStyle/>
          <a:p>
            <a:pPr algn="ctr"/>
            <a:endParaRPr lang="de-DE" sz="1400">
              <a:solidFill>
                <a:schemeClr val="bg1"/>
              </a:solidFill>
            </a:endParaRPr>
          </a:p>
        </p:txBody>
      </p:sp>
      <p:sp>
        <p:nvSpPr>
          <p:cNvPr id="6" name="Textfeld 5">
            <a:extLst>
              <a:ext uri="{FF2B5EF4-FFF2-40B4-BE49-F238E27FC236}">
                <a16:creationId xmlns:a16="http://schemas.microsoft.com/office/drawing/2014/main" id="{551D890B-0A84-4380-A7AA-17B9C985810F}"/>
              </a:ext>
            </a:extLst>
          </p:cNvPr>
          <p:cNvSpPr txBox="1"/>
          <p:nvPr/>
        </p:nvSpPr>
        <p:spPr>
          <a:xfrm>
            <a:off x="2745569" y="2948362"/>
            <a:ext cx="8772731" cy="960343"/>
          </a:xfrm>
          <a:prstGeom prst="rect">
            <a:avLst/>
          </a:prstGeom>
          <a:noFill/>
        </p:spPr>
        <p:txBody>
          <a:bodyPr wrap="square" rtlCol="0" anchor="ctr">
            <a:noAutofit/>
          </a:bodyPr>
          <a:lstStyle/>
          <a:p>
            <a:pPr algn="ctr">
              <a:lnSpc>
                <a:spcPct val="125000"/>
              </a:lnSpc>
              <a:spcAft>
                <a:spcPts val="400"/>
              </a:spcAft>
              <a:buClr>
                <a:srgbClr val="002276"/>
              </a:buClr>
              <a:buSzPct val="80000"/>
            </a:pPr>
            <a:r>
              <a:rPr lang="de-DE" sz="6600">
                <a:solidFill>
                  <a:schemeClr val="bg1"/>
                </a:solidFill>
                <a:ea typeface="Arial"/>
                <a:cs typeface="Arial" pitchFamily="34" charset="0"/>
              </a:rPr>
              <a:t>Danke für Eure Aufmerksamkeit!</a:t>
            </a:r>
          </a:p>
        </p:txBody>
      </p:sp>
      <p:pic>
        <p:nvPicPr>
          <p:cNvPr id="5" name="Grafik 4" descr="Zwei Sprechblasen">
            <a:extLst>
              <a:ext uri="{FF2B5EF4-FFF2-40B4-BE49-F238E27FC236}">
                <a16:creationId xmlns:a16="http://schemas.microsoft.com/office/drawing/2014/main" id="{3BDA6559-2B70-40ED-BC63-EEDFB9CA18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562" y="853979"/>
            <a:ext cx="3156533" cy="3156533"/>
          </a:xfrm>
          <a:prstGeom prst="rect">
            <a:avLst/>
          </a:prstGeom>
        </p:spPr>
      </p:pic>
      <p:sp>
        <p:nvSpPr>
          <p:cNvPr id="8" name="Fußzeilenplatzhalter 3">
            <a:extLst>
              <a:ext uri="{FF2B5EF4-FFF2-40B4-BE49-F238E27FC236}">
                <a16:creationId xmlns:a16="http://schemas.microsoft.com/office/drawing/2014/main" id="{490A6FE3-B42C-4054-8101-E1634AED2696}"/>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spTree>
    <p:extLst>
      <p:ext uri="{BB962C8B-B14F-4D97-AF65-F5344CB8AC3E}">
        <p14:creationId xmlns:p14="http://schemas.microsoft.com/office/powerpoint/2010/main" val="22884916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3C4C29-2F60-4168-A0EA-5FDD5A6DEE0A}"/>
              </a:ext>
            </a:extLst>
          </p:cNvPr>
          <p:cNvSpPr>
            <a:spLocks noGrp="1"/>
          </p:cNvSpPr>
          <p:nvPr>
            <p:ph type="title"/>
          </p:nvPr>
        </p:nvSpPr>
        <p:spPr/>
        <p:txBody>
          <a:bodyPr/>
          <a:lstStyle/>
          <a:p>
            <a:endParaRPr lang="de-DE"/>
          </a:p>
        </p:txBody>
      </p:sp>
      <p:sp>
        <p:nvSpPr>
          <p:cNvPr id="25" name="Freihandform: Form 24">
            <a:extLst>
              <a:ext uri="{FF2B5EF4-FFF2-40B4-BE49-F238E27FC236}">
                <a16:creationId xmlns:a16="http://schemas.microsoft.com/office/drawing/2014/main" id="{B5242D3F-55C4-4EE9-97BF-EA02416723C9}"/>
              </a:ext>
            </a:extLst>
          </p:cNvPr>
          <p:cNvSpPr/>
          <p:nvPr/>
        </p:nvSpPr>
        <p:spPr>
          <a:xfrm>
            <a:off x="0" y="1144042"/>
            <a:ext cx="3044142" cy="2973474"/>
          </a:xfrm>
          <a:custGeom>
            <a:avLst/>
            <a:gdLst>
              <a:gd name="connsiteX0" fmla="*/ 0 w 3044142"/>
              <a:gd name="connsiteY0" fmla="*/ 0 h 2973474"/>
              <a:gd name="connsiteX1" fmla="*/ 3040704 w 3044142"/>
              <a:gd name="connsiteY1" fmla="*/ 0 h 2973474"/>
              <a:gd name="connsiteX2" fmla="*/ 3044142 w 3044142"/>
              <a:gd name="connsiteY2" fmla="*/ 72820 h 2973474"/>
              <a:gd name="connsiteX3" fmla="*/ 331716 w 3044142"/>
              <a:gd name="connsiteY3" fmla="*/ 2973474 h 2973474"/>
              <a:gd name="connsiteX4" fmla="*/ 54386 w 3044142"/>
              <a:gd name="connsiteY4" fmla="*/ 2958498 h 2973474"/>
              <a:gd name="connsiteX5" fmla="*/ 0 w 3044142"/>
              <a:gd name="connsiteY5" fmla="*/ 2949622 h 2973474"/>
              <a:gd name="connsiteX6" fmla="*/ 0 w 3044142"/>
              <a:gd name="connsiteY6" fmla="*/ 0 h 297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4142" h="2973474">
                <a:moveTo>
                  <a:pt x="0" y="0"/>
                </a:moveTo>
                <a:lnTo>
                  <a:pt x="3040704" y="0"/>
                </a:lnTo>
                <a:lnTo>
                  <a:pt x="3044142" y="72820"/>
                </a:lnTo>
                <a:cubicBezTo>
                  <a:pt x="3044142" y="1674807"/>
                  <a:pt x="1829748" y="2973474"/>
                  <a:pt x="331716" y="2973474"/>
                </a:cubicBezTo>
                <a:cubicBezTo>
                  <a:pt x="238089" y="2973474"/>
                  <a:pt x="145570" y="2968401"/>
                  <a:pt x="54386" y="2958498"/>
                </a:cubicBezTo>
                <a:lnTo>
                  <a:pt x="0" y="2949622"/>
                </a:lnTo>
                <a:lnTo>
                  <a:pt x="0" y="0"/>
                </a:lnTo>
                <a:close/>
              </a:path>
            </a:pathLst>
          </a:custGeom>
          <a:solidFill>
            <a:schemeClr val="accent6">
              <a:lumMod val="7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noAutofit/>
          </a:bodyPr>
          <a:lstStyle/>
          <a:p>
            <a:pPr algn="ctr"/>
            <a:endParaRPr lang="de-DE" sz="1400">
              <a:solidFill>
                <a:schemeClr val="bg1"/>
              </a:solidFill>
            </a:endParaRPr>
          </a:p>
        </p:txBody>
      </p:sp>
      <p:sp>
        <p:nvSpPr>
          <p:cNvPr id="21" name="Freihandform: Form 20">
            <a:extLst>
              <a:ext uri="{FF2B5EF4-FFF2-40B4-BE49-F238E27FC236}">
                <a16:creationId xmlns:a16="http://schemas.microsoft.com/office/drawing/2014/main" id="{82A66BB4-45C6-4D81-9A52-434C4DF6578B}"/>
              </a:ext>
            </a:extLst>
          </p:cNvPr>
          <p:cNvSpPr/>
          <p:nvPr/>
        </p:nvSpPr>
        <p:spPr>
          <a:xfrm>
            <a:off x="0" y="1144042"/>
            <a:ext cx="12192000" cy="4752975"/>
          </a:xfrm>
          <a:custGeom>
            <a:avLst/>
            <a:gdLst>
              <a:gd name="connsiteX0" fmla="*/ 3040704 w 12192000"/>
              <a:gd name="connsiteY0" fmla="*/ 0 h 4752975"/>
              <a:gd name="connsiteX1" fmla="*/ 12192000 w 12192000"/>
              <a:gd name="connsiteY1" fmla="*/ 0 h 4752975"/>
              <a:gd name="connsiteX2" fmla="*/ 12192000 w 12192000"/>
              <a:gd name="connsiteY2" fmla="*/ 4752975 h 4752975"/>
              <a:gd name="connsiteX3" fmla="*/ 0 w 12192000"/>
              <a:gd name="connsiteY3" fmla="*/ 4752975 h 4752975"/>
              <a:gd name="connsiteX4" fmla="*/ 0 w 12192000"/>
              <a:gd name="connsiteY4" fmla="*/ 2949622 h 4752975"/>
              <a:gd name="connsiteX5" fmla="*/ 54386 w 12192000"/>
              <a:gd name="connsiteY5" fmla="*/ 2958498 h 4752975"/>
              <a:gd name="connsiteX6" fmla="*/ 331716 w 12192000"/>
              <a:gd name="connsiteY6" fmla="*/ 2973474 h 4752975"/>
              <a:gd name="connsiteX7" fmla="*/ 3044142 w 12192000"/>
              <a:gd name="connsiteY7" fmla="*/ 72820 h 4752975"/>
              <a:gd name="connsiteX8" fmla="*/ 3040704 w 12192000"/>
              <a:gd name="connsiteY8" fmla="*/ 0 h 475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4752975">
                <a:moveTo>
                  <a:pt x="3040704" y="0"/>
                </a:moveTo>
                <a:lnTo>
                  <a:pt x="12192000" y="0"/>
                </a:lnTo>
                <a:lnTo>
                  <a:pt x="12192000" y="4752975"/>
                </a:lnTo>
                <a:lnTo>
                  <a:pt x="0" y="4752975"/>
                </a:lnTo>
                <a:lnTo>
                  <a:pt x="0" y="2949622"/>
                </a:lnTo>
                <a:lnTo>
                  <a:pt x="54386" y="2958498"/>
                </a:lnTo>
                <a:cubicBezTo>
                  <a:pt x="145570" y="2968401"/>
                  <a:pt x="238089" y="2973474"/>
                  <a:pt x="331716" y="2973474"/>
                </a:cubicBezTo>
                <a:cubicBezTo>
                  <a:pt x="1829748" y="2973474"/>
                  <a:pt x="3044142" y="1674807"/>
                  <a:pt x="3044142" y="72820"/>
                </a:cubicBezTo>
                <a:lnTo>
                  <a:pt x="3040704"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noAutofit/>
          </a:bodyPr>
          <a:lstStyle/>
          <a:p>
            <a:pPr algn="ctr"/>
            <a:endParaRPr lang="de-DE" sz="1400">
              <a:solidFill>
                <a:schemeClr val="bg1"/>
              </a:solidFill>
            </a:endParaRPr>
          </a:p>
        </p:txBody>
      </p:sp>
      <p:sp>
        <p:nvSpPr>
          <p:cNvPr id="6" name="Textfeld 5">
            <a:extLst>
              <a:ext uri="{FF2B5EF4-FFF2-40B4-BE49-F238E27FC236}">
                <a16:creationId xmlns:a16="http://schemas.microsoft.com/office/drawing/2014/main" id="{551D890B-0A84-4380-A7AA-17B9C985810F}"/>
              </a:ext>
            </a:extLst>
          </p:cNvPr>
          <p:cNvSpPr txBox="1"/>
          <p:nvPr/>
        </p:nvSpPr>
        <p:spPr>
          <a:xfrm>
            <a:off x="2745569" y="2948362"/>
            <a:ext cx="8772731" cy="960343"/>
          </a:xfrm>
          <a:prstGeom prst="rect">
            <a:avLst/>
          </a:prstGeom>
          <a:noFill/>
        </p:spPr>
        <p:txBody>
          <a:bodyPr wrap="square" rtlCol="0" anchor="ctr">
            <a:noAutofit/>
          </a:bodyPr>
          <a:lstStyle/>
          <a:p>
            <a:pPr algn="ctr">
              <a:lnSpc>
                <a:spcPct val="125000"/>
              </a:lnSpc>
              <a:spcAft>
                <a:spcPts val="400"/>
              </a:spcAft>
              <a:buClr>
                <a:srgbClr val="002276"/>
              </a:buClr>
              <a:buSzPct val="80000"/>
            </a:pPr>
            <a:r>
              <a:rPr lang="de-DE" sz="6600">
                <a:solidFill>
                  <a:schemeClr val="bg1"/>
                </a:solidFill>
                <a:ea typeface="Arial"/>
                <a:cs typeface="Arial" pitchFamily="34" charset="0"/>
              </a:rPr>
              <a:t>Fragen &amp; Diskussion</a:t>
            </a:r>
          </a:p>
        </p:txBody>
      </p:sp>
      <p:pic>
        <p:nvPicPr>
          <p:cNvPr id="7" name="Grafik 6" descr="Eine Glühlampe">
            <a:extLst>
              <a:ext uri="{FF2B5EF4-FFF2-40B4-BE49-F238E27FC236}">
                <a16:creationId xmlns:a16="http://schemas.microsoft.com/office/drawing/2014/main" id="{E33FEF97-6E3B-4EFA-90BB-57B9AA051B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516" y="766821"/>
            <a:ext cx="2870522" cy="2870522"/>
          </a:xfrm>
          <a:prstGeom prst="rect">
            <a:avLst/>
          </a:prstGeom>
        </p:spPr>
      </p:pic>
      <p:sp>
        <p:nvSpPr>
          <p:cNvPr id="8" name="Fußzeilenplatzhalter 3">
            <a:extLst>
              <a:ext uri="{FF2B5EF4-FFF2-40B4-BE49-F238E27FC236}">
                <a16:creationId xmlns:a16="http://schemas.microsoft.com/office/drawing/2014/main" id="{7E001199-824C-419E-A814-C87B2292021D}"/>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spTree>
    <p:extLst>
      <p:ext uri="{BB962C8B-B14F-4D97-AF65-F5344CB8AC3E}">
        <p14:creationId xmlns:p14="http://schemas.microsoft.com/office/powerpoint/2010/main" val="2530982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F3ADC-30F1-4B13-812C-A77EF816AB3D}"/>
              </a:ext>
            </a:extLst>
          </p:cNvPr>
          <p:cNvSpPr>
            <a:spLocks noGrp="1"/>
          </p:cNvSpPr>
          <p:nvPr>
            <p:ph type="title"/>
          </p:nvPr>
        </p:nvSpPr>
        <p:spPr/>
        <p:txBody>
          <a:bodyPr/>
          <a:lstStyle/>
          <a:p>
            <a:r>
              <a:rPr lang="de-DE"/>
              <a:t>Agenda</a:t>
            </a:r>
          </a:p>
        </p:txBody>
      </p:sp>
      <p:grpSp>
        <p:nvGrpSpPr>
          <p:cNvPr id="7" name="Gruppieren 6">
            <a:extLst>
              <a:ext uri="{FF2B5EF4-FFF2-40B4-BE49-F238E27FC236}">
                <a16:creationId xmlns:a16="http://schemas.microsoft.com/office/drawing/2014/main" id="{49E39CA1-6732-4B87-8407-0E76949A0A44}"/>
              </a:ext>
            </a:extLst>
          </p:cNvPr>
          <p:cNvGrpSpPr/>
          <p:nvPr/>
        </p:nvGrpSpPr>
        <p:grpSpPr>
          <a:xfrm>
            <a:off x="705494" y="1633157"/>
            <a:ext cx="10738602" cy="963043"/>
            <a:chOff x="695325" y="1376363"/>
            <a:chExt cx="4907462" cy="360000"/>
          </a:xfrm>
        </p:grpSpPr>
        <p:sp>
          <p:nvSpPr>
            <p:cNvPr id="8" name="Freihandform 40">
              <a:extLst>
                <a:ext uri="{FF2B5EF4-FFF2-40B4-BE49-F238E27FC236}">
                  <a16:creationId xmlns:a16="http://schemas.microsoft.com/office/drawing/2014/main" id="{FE9BD1F8-CB05-449C-945F-29A295717892}"/>
                </a:ext>
              </a:extLst>
            </p:cNvPr>
            <p:cNvSpPr/>
            <p:nvPr/>
          </p:nvSpPr>
          <p:spPr>
            <a:xfrm>
              <a:off x="1179887" y="1376363"/>
              <a:ext cx="4422900" cy="360000"/>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de-DE" sz="2400">
                  <a:solidFill>
                    <a:schemeClr val="bg1"/>
                  </a:solidFill>
                </a:rPr>
                <a:t>Zielsetzung</a:t>
              </a:r>
            </a:p>
          </p:txBody>
        </p:sp>
        <p:sp>
          <p:nvSpPr>
            <p:cNvPr id="9" name="Abgerundetes Rechteck 11">
              <a:extLst>
                <a:ext uri="{FF2B5EF4-FFF2-40B4-BE49-F238E27FC236}">
                  <a16:creationId xmlns:a16="http://schemas.microsoft.com/office/drawing/2014/main" id="{577836FD-EC08-4590-87B4-2116C9E24635}"/>
                </a:ext>
              </a:extLst>
            </p:cNvPr>
            <p:cNvSpPr/>
            <p:nvPr/>
          </p:nvSpPr>
          <p:spPr>
            <a:xfrm>
              <a:off x="695325" y="1376363"/>
              <a:ext cx="432000" cy="360000"/>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chemeClr val="accent3">
                <a:lumMod val="5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bIns="36000" rtlCol="0" anchor="ctr" anchorCtr="0">
              <a:noAutofit/>
            </a:bodyPr>
            <a:lstStyle/>
            <a:p>
              <a:pPr algn="ctr"/>
              <a:r>
                <a:rPr lang="de-DE" sz="2400">
                  <a:solidFill>
                    <a:schemeClr val="bg1"/>
                  </a:solidFill>
                </a:rPr>
                <a:t>1.</a:t>
              </a:r>
            </a:p>
          </p:txBody>
        </p:sp>
      </p:grpSp>
      <p:sp>
        <p:nvSpPr>
          <p:cNvPr id="10" name="Freihandform 38">
            <a:extLst>
              <a:ext uri="{FF2B5EF4-FFF2-40B4-BE49-F238E27FC236}">
                <a16:creationId xmlns:a16="http://schemas.microsoft.com/office/drawing/2014/main" id="{7D7306D9-054E-49D2-B00C-2C7EA4A525D7}"/>
              </a:ext>
            </a:extLst>
          </p:cNvPr>
          <p:cNvSpPr/>
          <p:nvPr/>
        </p:nvSpPr>
        <p:spPr>
          <a:xfrm>
            <a:off x="1764754" y="2748318"/>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Vorstell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1" name="Abgerundetes Rechteck 11">
            <a:extLst>
              <a:ext uri="{FF2B5EF4-FFF2-40B4-BE49-F238E27FC236}">
                <a16:creationId xmlns:a16="http://schemas.microsoft.com/office/drawing/2014/main" id="{63713944-2916-451F-AD4E-9CA399694C6B}"/>
              </a:ext>
            </a:extLst>
          </p:cNvPr>
          <p:cNvSpPr/>
          <p:nvPr/>
        </p:nvSpPr>
        <p:spPr>
          <a:xfrm>
            <a:off x="704426" y="2748318"/>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2.</a:t>
            </a:r>
          </a:p>
        </p:txBody>
      </p:sp>
      <p:sp>
        <p:nvSpPr>
          <p:cNvPr id="12" name="Freihandform 33">
            <a:extLst>
              <a:ext uri="{FF2B5EF4-FFF2-40B4-BE49-F238E27FC236}">
                <a16:creationId xmlns:a16="http://schemas.microsoft.com/office/drawing/2014/main" id="{1D572B6A-7E25-4D79-8D6C-865986E5BBAB}"/>
              </a:ext>
            </a:extLst>
          </p:cNvPr>
          <p:cNvSpPr/>
          <p:nvPr/>
        </p:nvSpPr>
        <p:spPr>
          <a:xfrm>
            <a:off x="1764754" y="3873791"/>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Bewert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3" name="Abgerundetes Rechteck 11">
            <a:extLst>
              <a:ext uri="{FF2B5EF4-FFF2-40B4-BE49-F238E27FC236}">
                <a16:creationId xmlns:a16="http://schemas.microsoft.com/office/drawing/2014/main" id="{35E02864-D4C6-4021-8A78-1945552B66EF}"/>
              </a:ext>
            </a:extLst>
          </p:cNvPr>
          <p:cNvSpPr/>
          <p:nvPr/>
        </p:nvSpPr>
        <p:spPr>
          <a:xfrm>
            <a:off x="703315" y="3873791"/>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3.</a:t>
            </a:r>
          </a:p>
        </p:txBody>
      </p:sp>
      <p:sp>
        <p:nvSpPr>
          <p:cNvPr id="18" name="Fußzeilenplatzhalter 4">
            <a:extLst>
              <a:ext uri="{FF2B5EF4-FFF2-40B4-BE49-F238E27FC236}">
                <a16:creationId xmlns:a16="http://schemas.microsoft.com/office/drawing/2014/main" id="{DA8CAD28-5AB9-4353-ACCF-C6C5F61828BA}"/>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5" name="Textplatzhalter 4">
            <a:extLst>
              <a:ext uri="{FF2B5EF4-FFF2-40B4-BE49-F238E27FC236}">
                <a16:creationId xmlns:a16="http://schemas.microsoft.com/office/drawing/2014/main" id="{341F8D5A-E1B2-43B4-9E46-38D44F50DD5C}"/>
              </a:ext>
            </a:extLst>
          </p:cNvPr>
          <p:cNvSpPr>
            <a:spLocks noGrp="1"/>
          </p:cNvSpPr>
          <p:nvPr>
            <p:ph type="body" sz="quarter" idx="10"/>
          </p:nvPr>
        </p:nvSpPr>
        <p:spPr/>
        <p:txBody>
          <a:bodyPr/>
          <a:lstStyle/>
          <a:p>
            <a:endParaRPr lang="de-DE"/>
          </a:p>
        </p:txBody>
      </p:sp>
      <p:sp>
        <p:nvSpPr>
          <p:cNvPr id="14" name="Freihandform 33">
            <a:extLst>
              <a:ext uri="{FF2B5EF4-FFF2-40B4-BE49-F238E27FC236}">
                <a16:creationId xmlns:a16="http://schemas.microsoft.com/office/drawing/2014/main" id="{46204DC1-18FD-4430-9956-AC2DF3BCBB7A}"/>
              </a:ext>
            </a:extLst>
          </p:cNvPr>
          <p:cNvSpPr/>
          <p:nvPr/>
        </p:nvSpPr>
        <p:spPr>
          <a:xfrm>
            <a:off x="1764754" y="4988952"/>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Fazit</a:t>
            </a:r>
            <a:r>
              <a:rPr lang="en-US" sz="2400">
                <a:solidFill>
                  <a:schemeClr val="bg1"/>
                </a:solidFill>
              </a:rPr>
              <a:t> &amp; </a:t>
            </a:r>
            <a:r>
              <a:rPr lang="en-US" sz="2400" err="1">
                <a:solidFill>
                  <a:schemeClr val="bg1"/>
                </a:solidFill>
              </a:rPr>
              <a:t>Ausblick</a:t>
            </a:r>
            <a:endParaRPr lang="en-US" sz="2400">
              <a:solidFill>
                <a:schemeClr val="bg1"/>
              </a:solidFill>
            </a:endParaRPr>
          </a:p>
        </p:txBody>
      </p:sp>
      <p:sp>
        <p:nvSpPr>
          <p:cNvPr id="15" name="Abgerundetes Rechteck 11">
            <a:extLst>
              <a:ext uri="{FF2B5EF4-FFF2-40B4-BE49-F238E27FC236}">
                <a16:creationId xmlns:a16="http://schemas.microsoft.com/office/drawing/2014/main" id="{52AB4097-DDEE-42E1-BF75-0EF0E943D607}"/>
              </a:ext>
            </a:extLst>
          </p:cNvPr>
          <p:cNvSpPr/>
          <p:nvPr/>
        </p:nvSpPr>
        <p:spPr>
          <a:xfrm>
            <a:off x="703315" y="4988952"/>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4.</a:t>
            </a:r>
          </a:p>
        </p:txBody>
      </p:sp>
    </p:spTree>
    <p:extLst>
      <p:ext uri="{BB962C8B-B14F-4D97-AF65-F5344CB8AC3E}">
        <p14:creationId xmlns:p14="http://schemas.microsoft.com/office/powerpoint/2010/main" val="168184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3C4C29-2F60-4168-A0EA-5FDD5A6DEE0A}"/>
              </a:ext>
            </a:extLst>
          </p:cNvPr>
          <p:cNvSpPr>
            <a:spLocks noGrp="1"/>
          </p:cNvSpPr>
          <p:nvPr>
            <p:ph type="title"/>
          </p:nvPr>
        </p:nvSpPr>
        <p:spPr/>
        <p:txBody>
          <a:bodyPr/>
          <a:lstStyle/>
          <a:p>
            <a:endParaRPr lang="de-DE"/>
          </a:p>
        </p:txBody>
      </p:sp>
      <p:sp>
        <p:nvSpPr>
          <p:cNvPr id="5" name="Rechteck 4">
            <a:extLst>
              <a:ext uri="{FF2B5EF4-FFF2-40B4-BE49-F238E27FC236}">
                <a16:creationId xmlns:a16="http://schemas.microsoft.com/office/drawing/2014/main" id="{47F31FD5-2BAB-40D6-B021-AA148A8F6BA5}"/>
              </a:ext>
            </a:extLst>
          </p:cNvPr>
          <p:cNvSpPr/>
          <p:nvPr/>
        </p:nvSpPr>
        <p:spPr>
          <a:xfrm>
            <a:off x="0" y="1144042"/>
            <a:ext cx="12192000" cy="4752975"/>
          </a:xfrm>
          <a:prstGeom prst="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6" name="Textfeld 5">
            <a:extLst>
              <a:ext uri="{FF2B5EF4-FFF2-40B4-BE49-F238E27FC236}">
                <a16:creationId xmlns:a16="http://schemas.microsoft.com/office/drawing/2014/main" id="{551D890B-0A84-4380-A7AA-17B9C985810F}"/>
              </a:ext>
            </a:extLst>
          </p:cNvPr>
          <p:cNvSpPr txBox="1"/>
          <p:nvPr/>
        </p:nvSpPr>
        <p:spPr>
          <a:xfrm>
            <a:off x="4151595" y="3196952"/>
            <a:ext cx="4104709" cy="969578"/>
          </a:xfrm>
          <a:prstGeom prst="rect">
            <a:avLst/>
          </a:prstGeom>
          <a:noFill/>
        </p:spPr>
        <p:txBody>
          <a:bodyPr wrap="square" rtlCol="0" anchor="ctr">
            <a:noAutofit/>
          </a:bodyPr>
          <a:lstStyle/>
          <a:p>
            <a:pPr algn="ctr">
              <a:lnSpc>
                <a:spcPct val="125000"/>
              </a:lnSpc>
              <a:spcAft>
                <a:spcPts val="400"/>
              </a:spcAft>
              <a:buClr>
                <a:srgbClr val="002276"/>
              </a:buClr>
              <a:buSzPct val="80000"/>
            </a:pPr>
            <a:r>
              <a:rPr lang="de-DE" sz="6600" b="1">
                <a:solidFill>
                  <a:schemeClr val="bg1"/>
                </a:solidFill>
                <a:ea typeface="Arial"/>
                <a:cs typeface="Arial" pitchFamily="34" charset="0"/>
              </a:rPr>
              <a:t>BACK-UP</a:t>
            </a:r>
          </a:p>
        </p:txBody>
      </p:sp>
      <p:sp>
        <p:nvSpPr>
          <p:cNvPr id="7" name="Fußzeilenplatzhalter 3">
            <a:extLst>
              <a:ext uri="{FF2B5EF4-FFF2-40B4-BE49-F238E27FC236}">
                <a16:creationId xmlns:a16="http://schemas.microsoft.com/office/drawing/2014/main" id="{5D26C712-65D9-40E7-9264-B423978CF4B6}"/>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spTree>
    <p:extLst>
      <p:ext uri="{BB962C8B-B14F-4D97-AF65-F5344CB8AC3E}">
        <p14:creationId xmlns:p14="http://schemas.microsoft.com/office/powerpoint/2010/main" val="30817917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4B460-669A-499E-A6FA-D13F7128012A}"/>
              </a:ext>
            </a:extLst>
          </p:cNvPr>
          <p:cNvSpPr>
            <a:spLocks noGrp="1"/>
          </p:cNvSpPr>
          <p:nvPr>
            <p:ph type="title"/>
          </p:nvPr>
        </p:nvSpPr>
        <p:spPr/>
        <p:txBody>
          <a:bodyPr/>
          <a:lstStyle/>
          <a:p>
            <a:r>
              <a:rPr lang="de-DE"/>
              <a:t>Back-Up: Navigation</a:t>
            </a:r>
          </a:p>
        </p:txBody>
      </p:sp>
      <p:sp>
        <p:nvSpPr>
          <p:cNvPr id="4" name="Fußzeilenplatzhalter 3">
            <a:extLst>
              <a:ext uri="{FF2B5EF4-FFF2-40B4-BE49-F238E27FC236}">
                <a16:creationId xmlns:a16="http://schemas.microsoft.com/office/drawing/2014/main" id="{2625083D-20FC-4C6E-BD01-C242B0B834CB}"/>
              </a:ext>
            </a:extLst>
          </p:cNvPr>
          <p:cNvSpPr>
            <a:spLocks noGrp="1"/>
          </p:cNvSpPr>
          <p:nvPr>
            <p:ph type="ftr" sz="quarter" idx="11"/>
          </p:nvPr>
        </p:nvSpPr>
        <p:spPr/>
        <p:txBody>
          <a:bodyPr/>
          <a:lstStyle/>
          <a:p>
            <a:pPr>
              <a:spcBef>
                <a:spcPct val="20000"/>
              </a:spcBef>
            </a:pPr>
            <a:r>
              <a:rPr lang="de-DE"/>
              <a:t>SCA Case Study – 28.07.2021</a:t>
            </a:r>
          </a:p>
        </p:txBody>
      </p:sp>
      <p:sp>
        <p:nvSpPr>
          <p:cNvPr id="5" name="Rechteck: abgerundete Ecken 4">
            <a:hlinkClick r:id="rId2" action="ppaction://hlinksldjump"/>
            <a:extLst>
              <a:ext uri="{FF2B5EF4-FFF2-40B4-BE49-F238E27FC236}">
                <a16:creationId xmlns:a16="http://schemas.microsoft.com/office/drawing/2014/main" id="{BF07F05B-48FE-4C4F-9895-51ECB454E0A4}"/>
              </a:ext>
            </a:extLst>
          </p:cNvPr>
          <p:cNvSpPr/>
          <p:nvPr/>
        </p:nvSpPr>
        <p:spPr>
          <a:xfrm>
            <a:off x="1605717" y="2733367"/>
            <a:ext cx="2828632" cy="1101213"/>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6" name="Textfeld 5">
            <a:extLst>
              <a:ext uri="{FF2B5EF4-FFF2-40B4-BE49-F238E27FC236}">
                <a16:creationId xmlns:a16="http://schemas.microsoft.com/office/drawing/2014/main" id="{7A74A936-BAD1-48C6-A683-E87E4C2DC88C}"/>
              </a:ext>
            </a:extLst>
          </p:cNvPr>
          <p:cNvSpPr txBox="1"/>
          <p:nvPr/>
        </p:nvSpPr>
        <p:spPr bwMode="auto">
          <a:xfrm>
            <a:off x="1817225" y="3039395"/>
            <a:ext cx="2418736" cy="489155"/>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2000" b="1">
                <a:solidFill>
                  <a:schemeClr val="bg1"/>
                </a:solidFill>
              </a:rPr>
              <a:t>Herausforderungen</a:t>
            </a:r>
          </a:p>
        </p:txBody>
      </p:sp>
      <p:sp>
        <p:nvSpPr>
          <p:cNvPr id="7" name="Rechteck: abgerundete Ecken 6">
            <a:hlinkClick r:id="rId3" action="ppaction://hlinksldjump"/>
            <a:extLst>
              <a:ext uri="{FF2B5EF4-FFF2-40B4-BE49-F238E27FC236}">
                <a16:creationId xmlns:a16="http://schemas.microsoft.com/office/drawing/2014/main" id="{9E49CA8C-2465-419F-9D36-A473A0668628}"/>
              </a:ext>
            </a:extLst>
          </p:cNvPr>
          <p:cNvSpPr/>
          <p:nvPr/>
        </p:nvSpPr>
        <p:spPr>
          <a:xfrm>
            <a:off x="4719716" y="2733367"/>
            <a:ext cx="2828632" cy="1101213"/>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8" name="Textfeld 7">
            <a:extLst>
              <a:ext uri="{FF2B5EF4-FFF2-40B4-BE49-F238E27FC236}">
                <a16:creationId xmlns:a16="http://schemas.microsoft.com/office/drawing/2014/main" id="{FBA05B63-FBB5-4073-8018-EC33D54F0D26}"/>
              </a:ext>
            </a:extLst>
          </p:cNvPr>
          <p:cNvSpPr txBox="1"/>
          <p:nvPr/>
        </p:nvSpPr>
        <p:spPr bwMode="auto">
          <a:xfrm>
            <a:off x="4931224" y="3039395"/>
            <a:ext cx="2418736" cy="489155"/>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2000" b="1">
                <a:solidFill>
                  <a:schemeClr val="bg1"/>
                </a:solidFill>
              </a:rPr>
              <a:t>Feature Engineering</a:t>
            </a:r>
          </a:p>
        </p:txBody>
      </p:sp>
      <p:sp>
        <p:nvSpPr>
          <p:cNvPr id="9" name="Rechteck: abgerundete Ecken 8">
            <a:hlinkClick r:id="rId4" action="ppaction://hlinksldjump"/>
            <a:extLst>
              <a:ext uri="{FF2B5EF4-FFF2-40B4-BE49-F238E27FC236}">
                <a16:creationId xmlns:a16="http://schemas.microsoft.com/office/drawing/2014/main" id="{1CEEB0FB-6034-4F36-8EA1-5241E8126A43}"/>
              </a:ext>
            </a:extLst>
          </p:cNvPr>
          <p:cNvSpPr/>
          <p:nvPr/>
        </p:nvSpPr>
        <p:spPr>
          <a:xfrm>
            <a:off x="7833715" y="2733367"/>
            <a:ext cx="2828632" cy="1101213"/>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 name="Textfeld 9">
            <a:extLst>
              <a:ext uri="{FF2B5EF4-FFF2-40B4-BE49-F238E27FC236}">
                <a16:creationId xmlns:a16="http://schemas.microsoft.com/office/drawing/2014/main" id="{B59AFAB5-5567-44F1-957E-EDDB6F969A2C}"/>
              </a:ext>
            </a:extLst>
          </p:cNvPr>
          <p:cNvSpPr txBox="1"/>
          <p:nvPr/>
        </p:nvSpPr>
        <p:spPr bwMode="auto">
          <a:xfrm>
            <a:off x="8045223" y="3039395"/>
            <a:ext cx="2418736" cy="489155"/>
          </a:xfrm>
          <a:prstGeom prst="rect">
            <a:avLst/>
          </a:prstGeom>
          <a:noFill/>
          <a:ln w="6350">
            <a:noFill/>
            <a:prstDash val="solid"/>
            <a:miter lim="800000"/>
            <a:headEnd/>
            <a:tailEnd/>
          </a:ln>
        </p:spPr>
        <p:txBody>
          <a:bodyPr wrap="square" lIns="72000" rIns="72000" rtlCol="0">
            <a:noAutofit/>
          </a:bodyPr>
          <a:lstStyle/>
          <a:p>
            <a:pPr algn="ctr">
              <a:lnSpc>
                <a:spcPct val="125000"/>
              </a:lnSpc>
              <a:spcAft>
                <a:spcPts val="400"/>
              </a:spcAft>
              <a:buClr>
                <a:schemeClr val="accent1"/>
              </a:buClr>
            </a:pPr>
            <a:r>
              <a:rPr lang="de-DE" sz="2000" b="1">
                <a:solidFill>
                  <a:schemeClr val="bg1"/>
                </a:solidFill>
              </a:rPr>
              <a:t>Modellierung</a:t>
            </a:r>
          </a:p>
        </p:txBody>
      </p:sp>
    </p:spTree>
    <p:extLst>
      <p:ext uri="{BB962C8B-B14F-4D97-AF65-F5344CB8AC3E}">
        <p14:creationId xmlns:p14="http://schemas.microsoft.com/office/powerpoint/2010/main" val="16128647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7">
            <a:extLst>
              <a:ext uri="{FF2B5EF4-FFF2-40B4-BE49-F238E27FC236}">
                <a16:creationId xmlns:a16="http://schemas.microsoft.com/office/drawing/2014/main" id="{E67B0219-E4D3-4DC7-9756-C29B3DE873F1}"/>
              </a:ext>
            </a:extLst>
          </p:cNvPr>
          <p:cNvSpPr/>
          <p:nvPr/>
        </p:nvSpPr>
        <p:spPr>
          <a:xfrm>
            <a:off x="534001" y="1104780"/>
            <a:ext cx="5555258" cy="360040"/>
          </a:xfrm>
          <a:prstGeom prst="roundRect">
            <a:avLst/>
          </a:prstGeom>
          <a:solidFill>
            <a:schemeClr val="accent5">
              <a:lumMod val="60000"/>
              <a:lumOff val="4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Herausforderung: unterschiedliche Interpretation der Variablen</a:t>
            </a:r>
          </a:p>
        </p:txBody>
      </p:sp>
      <p:graphicFrame>
        <p:nvGraphicFramePr>
          <p:cNvPr id="10" name="Objek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Folie" r:id="rId5" imgW="270" imgH="270" progId="TCLayout.ActiveDocument.1">
                  <p:embed/>
                </p:oleObj>
              </mc:Choice>
              <mc:Fallback>
                <p:oleObj name="think-cell Folie" r:id="rId5" imgW="270" imgH="270" progId="TCLayout.ActiveDocument.1">
                  <p:embed/>
                  <p:pic>
                    <p:nvPicPr>
                      <p:cNvPr id="10" name="Objek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A8EB13B-5B60-4969-8E2D-ED0169CB1CE6}"/>
              </a:ext>
            </a:extLst>
          </p:cNvPr>
          <p:cNvSpPr>
            <a:spLocks noGrp="1"/>
          </p:cNvSpPr>
          <p:nvPr>
            <p:ph type="title"/>
          </p:nvPr>
        </p:nvSpPr>
        <p:spPr/>
        <p:txBody>
          <a:bodyPr/>
          <a:lstStyle/>
          <a:p>
            <a:r>
              <a:rPr lang="de-DE"/>
              <a:t>Datenbeschaffung, -exploration und -aufbereitung</a:t>
            </a:r>
          </a:p>
        </p:txBody>
      </p:sp>
      <p:sp>
        <p:nvSpPr>
          <p:cNvPr id="68" name="Fußzeilenplatzhalter 1">
            <a:extLst>
              <a:ext uri="{FF2B5EF4-FFF2-40B4-BE49-F238E27FC236}">
                <a16:creationId xmlns:a16="http://schemas.microsoft.com/office/drawing/2014/main" id="{FB265409-6207-4108-A021-874FD80AAF99}"/>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pic>
        <p:nvPicPr>
          <p:cNvPr id="5" name="Grafik 4" descr="Ein Bild, das Text enthält.&#10;&#10;Automatisch generierte Beschreibung">
            <a:extLst>
              <a:ext uri="{FF2B5EF4-FFF2-40B4-BE49-F238E27FC236}">
                <a16:creationId xmlns:a16="http://schemas.microsoft.com/office/drawing/2014/main" id="{9E680410-C72E-4F95-9403-DF589A957B83}"/>
              </a:ext>
            </a:extLst>
          </p:cNvPr>
          <p:cNvPicPr>
            <a:picLocks noChangeAspect="1"/>
          </p:cNvPicPr>
          <p:nvPr/>
        </p:nvPicPr>
        <p:blipFill rotWithShape="1">
          <a:blip r:embed="rId7">
            <a:extLst>
              <a:ext uri="{28A0092B-C50C-407E-A947-70E740481C1C}">
                <a14:useLocalDpi xmlns:a14="http://schemas.microsoft.com/office/drawing/2010/main" val="0"/>
              </a:ext>
            </a:extLst>
          </a:blip>
          <a:srcRect t="22825" r="67198" b="52822"/>
          <a:stretch/>
        </p:blipFill>
        <p:spPr>
          <a:xfrm>
            <a:off x="540742" y="1999280"/>
            <a:ext cx="5555258" cy="1689141"/>
          </a:xfrm>
          <a:prstGeom prst="rect">
            <a:avLst/>
          </a:prstGeom>
        </p:spPr>
      </p:pic>
      <p:pic>
        <p:nvPicPr>
          <p:cNvPr id="8" name="Grafik 7" descr="Ein Bild, das Text enthält.&#10;&#10;Automatisch generierte Beschreibung">
            <a:extLst>
              <a:ext uri="{FF2B5EF4-FFF2-40B4-BE49-F238E27FC236}">
                <a16:creationId xmlns:a16="http://schemas.microsoft.com/office/drawing/2014/main" id="{B22BECDF-970A-4B0C-BB26-D7E86A4E4170}"/>
              </a:ext>
            </a:extLst>
          </p:cNvPr>
          <p:cNvPicPr>
            <a:picLocks noChangeAspect="1"/>
          </p:cNvPicPr>
          <p:nvPr/>
        </p:nvPicPr>
        <p:blipFill rotWithShape="1">
          <a:blip r:embed="rId8">
            <a:extLst>
              <a:ext uri="{28A0092B-C50C-407E-A947-70E740481C1C}">
                <a14:useLocalDpi xmlns:a14="http://schemas.microsoft.com/office/drawing/2010/main" val="0"/>
              </a:ext>
            </a:extLst>
          </a:blip>
          <a:srcRect l="-2" t="20072" r="36911" b="50479"/>
          <a:stretch/>
        </p:blipFill>
        <p:spPr>
          <a:xfrm>
            <a:off x="540742" y="3833446"/>
            <a:ext cx="5548517" cy="1834167"/>
          </a:xfrm>
          <a:prstGeom prst="rect">
            <a:avLst/>
          </a:prstGeom>
        </p:spPr>
      </p:pic>
      <p:sp>
        <p:nvSpPr>
          <p:cNvPr id="13" name="Oval 7">
            <a:extLst>
              <a:ext uri="{FF2B5EF4-FFF2-40B4-BE49-F238E27FC236}">
                <a16:creationId xmlns:a16="http://schemas.microsoft.com/office/drawing/2014/main" id="{AA2C266D-799F-4EB6-9CC8-56F520A01CB4}"/>
              </a:ext>
            </a:extLst>
          </p:cNvPr>
          <p:cNvSpPr/>
          <p:nvPr/>
        </p:nvSpPr>
        <p:spPr>
          <a:xfrm>
            <a:off x="6120628" y="1104780"/>
            <a:ext cx="5555258" cy="360040"/>
          </a:xfrm>
          <a:prstGeom prst="round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Lösung: ändern der Variablentypen </a:t>
            </a:r>
          </a:p>
        </p:txBody>
      </p:sp>
      <p:pic>
        <p:nvPicPr>
          <p:cNvPr id="11" name="Grafik 10" descr="Ein Bild, das Text enthält.&#10;&#10;Automatisch generierte Beschreibung">
            <a:extLst>
              <a:ext uri="{FF2B5EF4-FFF2-40B4-BE49-F238E27FC236}">
                <a16:creationId xmlns:a16="http://schemas.microsoft.com/office/drawing/2014/main" id="{99935C69-5037-417D-A683-1E4789EBF4DD}"/>
              </a:ext>
            </a:extLst>
          </p:cNvPr>
          <p:cNvPicPr>
            <a:picLocks noChangeAspect="1"/>
          </p:cNvPicPr>
          <p:nvPr/>
        </p:nvPicPr>
        <p:blipFill rotWithShape="1">
          <a:blip r:embed="rId9">
            <a:extLst>
              <a:ext uri="{28A0092B-C50C-407E-A947-70E740481C1C}">
                <a14:useLocalDpi xmlns:a14="http://schemas.microsoft.com/office/drawing/2010/main" val="0"/>
              </a:ext>
            </a:extLst>
          </a:blip>
          <a:srcRect l="-239" t="259" r="15971" b="31266"/>
          <a:stretch/>
        </p:blipFill>
        <p:spPr>
          <a:xfrm>
            <a:off x="6127369" y="1999279"/>
            <a:ext cx="5548517" cy="3668333"/>
          </a:xfrm>
          <a:prstGeom prst="rect">
            <a:avLst/>
          </a:prstGeom>
        </p:spPr>
      </p:pic>
      <p:sp>
        <p:nvSpPr>
          <p:cNvPr id="15" name="Rechteck: abgerundete Ecken 14">
            <a:hlinkClick r:id="rId10" action="ppaction://hlinksldjump"/>
            <a:extLst>
              <a:ext uri="{FF2B5EF4-FFF2-40B4-BE49-F238E27FC236}">
                <a16:creationId xmlns:a16="http://schemas.microsoft.com/office/drawing/2014/main" id="{C251AC41-A862-4025-B89D-711E1CB6E36F}"/>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6" name="Grafik 15" descr="Kreis mit Pfeil nach links mit einfarbiger Füllung">
            <a:hlinkClick r:id="rId10" action="ppaction://hlinksldjump"/>
            <a:extLst>
              <a:ext uri="{FF2B5EF4-FFF2-40B4-BE49-F238E27FC236}">
                <a16:creationId xmlns:a16="http://schemas.microsoft.com/office/drawing/2014/main" id="{F278438D-0BBF-4523-B5CE-C077418B60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1394535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7">
            <a:extLst>
              <a:ext uri="{FF2B5EF4-FFF2-40B4-BE49-F238E27FC236}">
                <a16:creationId xmlns:a16="http://schemas.microsoft.com/office/drawing/2014/main" id="{E67B0219-E4D3-4DC7-9756-C29B3DE873F1}"/>
              </a:ext>
            </a:extLst>
          </p:cNvPr>
          <p:cNvSpPr/>
          <p:nvPr/>
        </p:nvSpPr>
        <p:spPr>
          <a:xfrm>
            <a:off x="534001" y="1104780"/>
            <a:ext cx="5555258" cy="360040"/>
          </a:xfrm>
          <a:prstGeom prst="roundRect">
            <a:avLst/>
          </a:prstGeom>
          <a:solidFill>
            <a:schemeClr val="accent5">
              <a:lumMod val="60000"/>
              <a:lumOff val="4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Weitere Herausforderungen </a:t>
            </a:r>
          </a:p>
        </p:txBody>
      </p:sp>
      <p:graphicFrame>
        <p:nvGraphicFramePr>
          <p:cNvPr id="10" name="Objek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Folie" r:id="rId5" imgW="270" imgH="270" progId="TCLayout.ActiveDocument.1">
                  <p:embed/>
                </p:oleObj>
              </mc:Choice>
              <mc:Fallback>
                <p:oleObj name="think-cell Folie" r:id="rId5" imgW="270" imgH="270" progId="TCLayout.ActiveDocument.1">
                  <p:embed/>
                  <p:pic>
                    <p:nvPicPr>
                      <p:cNvPr id="10" name="Objek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A8EB13B-5B60-4969-8E2D-ED0169CB1CE6}"/>
              </a:ext>
            </a:extLst>
          </p:cNvPr>
          <p:cNvSpPr>
            <a:spLocks noGrp="1"/>
          </p:cNvSpPr>
          <p:nvPr>
            <p:ph type="title"/>
          </p:nvPr>
        </p:nvSpPr>
        <p:spPr/>
        <p:txBody>
          <a:bodyPr/>
          <a:lstStyle/>
          <a:p>
            <a:r>
              <a:rPr lang="de-DE"/>
              <a:t>Datenbeschaffung, -exploration und -aufbereitung</a:t>
            </a:r>
          </a:p>
        </p:txBody>
      </p:sp>
      <p:sp>
        <p:nvSpPr>
          <p:cNvPr id="68" name="Fußzeilenplatzhalter 1">
            <a:extLst>
              <a:ext uri="{FF2B5EF4-FFF2-40B4-BE49-F238E27FC236}">
                <a16:creationId xmlns:a16="http://schemas.microsoft.com/office/drawing/2014/main" id="{FB265409-6207-4108-A021-874FD80AAF99}"/>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sp>
        <p:nvSpPr>
          <p:cNvPr id="13" name="Oval 7">
            <a:extLst>
              <a:ext uri="{FF2B5EF4-FFF2-40B4-BE49-F238E27FC236}">
                <a16:creationId xmlns:a16="http://schemas.microsoft.com/office/drawing/2014/main" id="{AA2C266D-799F-4EB6-9CC8-56F520A01CB4}"/>
              </a:ext>
            </a:extLst>
          </p:cNvPr>
          <p:cNvSpPr/>
          <p:nvPr/>
        </p:nvSpPr>
        <p:spPr>
          <a:xfrm>
            <a:off x="6120628" y="1104780"/>
            <a:ext cx="5555258" cy="360040"/>
          </a:xfrm>
          <a:prstGeom prst="roundRect">
            <a:avLst/>
          </a:pr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Lösung </a:t>
            </a:r>
          </a:p>
        </p:txBody>
      </p:sp>
      <p:sp>
        <p:nvSpPr>
          <p:cNvPr id="12" name="Oval 7">
            <a:extLst>
              <a:ext uri="{FF2B5EF4-FFF2-40B4-BE49-F238E27FC236}">
                <a16:creationId xmlns:a16="http://schemas.microsoft.com/office/drawing/2014/main" id="{35AB026B-489F-4722-9950-EAC099796B2A}"/>
              </a:ext>
            </a:extLst>
          </p:cNvPr>
          <p:cNvSpPr/>
          <p:nvPr/>
        </p:nvSpPr>
        <p:spPr>
          <a:xfrm>
            <a:off x="534000" y="2162040"/>
            <a:ext cx="324000" cy="324000"/>
          </a:xfrm>
          <a:prstGeom prst="roundRect">
            <a:avLst/>
          </a:prstGeom>
          <a:solidFill>
            <a:schemeClr val="accent6"/>
          </a:solidFill>
          <a:ln w="38100" cap="rnd">
            <a:solidFill>
              <a:srgbClr val="A2A2A2"/>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4" name="Textplatzhalter 2">
            <a:extLst>
              <a:ext uri="{FF2B5EF4-FFF2-40B4-BE49-F238E27FC236}">
                <a16:creationId xmlns:a16="http://schemas.microsoft.com/office/drawing/2014/main" id="{A344B653-7745-4196-BC13-63B71E7FEC94}"/>
              </a:ext>
            </a:extLst>
          </p:cNvPr>
          <p:cNvSpPr>
            <a:spLocks noGrp="1"/>
          </p:cNvSpPr>
          <p:nvPr>
            <p:ph type="body" sz="quarter" idx="10"/>
          </p:nvPr>
        </p:nvSpPr>
        <p:spPr>
          <a:xfrm>
            <a:off x="889369" y="2909504"/>
            <a:ext cx="5231259" cy="324000"/>
          </a:xfrm>
        </p:spPr>
        <p:txBody>
          <a:bodyPr/>
          <a:lstStyle/>
          <a:p>
            <a:r>
              <a:rPr lang="de-DE" sz="1200" b="1">
                <a:solidFill>
                  <a:schemeClr val="tx1"/>
                </a:solidFill>
              </a:rPr>
              <a:t>OpenData zu Flüssen in Deutschland unsortiert</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15" name="Oval 7">
            <a:extLst>
              <a:ext uri="{FF2B5EF4-FFF2-40B4-BE49-F238E27FC236}">
                <a16:creationId xmlns:a16="http://schemas.microsoft.com/office/drawing/2014/main" id="{F4960D5C-CA11-43F7-BF9D-75D11A1CDD7B}"/>
              </a:ext>
            </a:extLst>
          </p:cNvPr>
          <p:cNvSpPr/>
          <p:nvPr/>
        </p:nvSpPr>
        <p:spPr>
          <a:xfrm>
            <a:off x="534000" y="2898124"/>
            <a:ext cx="324000" cy="324000"/>
          </a:xfrm>
          <a:prstGeom prst="roundRect">
            <a:avLst/>
          </a:prstGeom>
          <a:solidFill>
            <a:schemeClr val="accent6"/>
          </a:solidFill>
          <a:ln w="38100" cap="rnd">
            <a:solidFill>
              <a:srgbClr val="A2A2A2"/>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6" name="Textplatzhalter 2">
            <a:extLst>
              <a:ext uri="{FF2B5EF4-FFF2-40B4-BE49-F238E27FC236}">
                <a16:creationId xmlns:a16="http://schemas.microsoft.com/office/drawing/2014/main" id="{0AAA0E9B-31FD-419D-99D9-19EE367EFA90}"/>
              </a:ext>
            </a:extLst>
          </p:cNvPr>
          <p:cNvSpPr txBox="1">
            <a:spLocks/>
          </p:cNvSpPr>
          <p:nvPr/>
        </p:nvSpPr>
        <p:spPr>
          <a:xfrm>
            <a:off x="889369" y="2165141"/>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solidFill>
                  <a:schemeClr val="tx1"/>
                </a:solidFill>
              </a:rPr>
              <a:t>OpenData zu Flüssen Nur auf Nationalem Level</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17" name="Oval 7">
            <a:extLst>
              <a:ext uri="{FF2B5EF4-FFF2-40B4-BE49-F238E27FC236}">
                <a16:creationId xmlns:a16="http://schemas.microsoft.com/office/drawing/2014/main" id="{9709F3FB-60A1-4496-9D49-C4A3CE94E841}"/>
              </a:ext>
            </a:extLst>
          </p:cNvPr>
          <p:cNvSpPr/>
          <p:nvPr/>
        </p:nvSpPr>
        <p:spPr>
          <a:xfrm>
            <a:off x="534000" y="3634208"/>
            <a:ext cx="324000" cy="324000"/>
          </a:xfrm>
          <a:prstGeom prst="roundRect">
            <a:avLst/>
          </a:prstGeom>
          <a:solidFill>
            <a:schemeClr val="accent6"/>
          </a:solidFill>
          <a:ln w="38100" cap="rnd">
            <a:solidFill>
              <a:srgbClr val="A2A2A2"/>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8" name="Textplatzhalter 2">
            <a:extLst>
              <a:ext uri="{FF2B5EF4-FFF2-40B4-BE49-F238E27FC236}">
                <a16:creationId xmlns:a16="http://schemas.microsoft.com/office/drawing/2014/main" id="{88E1E6D3-7463-4713-B955-B8134DFA4370}"/>
              </a:ext>
            </a:extLst>
          </p:cNvPr>
          <p:cNvSpPr txBox="1">
            <a:spLocks/>
          </p:cNvSpPr>
          <p:nvPr/>
        </p:nvSpPr>
        <p:spPr>
          <a:xfrm>
            <a:off x="858000" y="3634208"/>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solidFill>
                  <a:schemeClr val="tx1"/>
                </a:solidFill>
              </a:rPr>
              <a:t>Laufzeit (Insbesondere Bei der </a:t>
            </a:r>
            <a:r>
              <a:rPr lang="de-DE" sz="1200" b="1" err="1">
                <a:solidFill>
                  <a:schemeClr val="tx1"/>
                </a:solidFill>
              </a:rPr>
              <a:t>DistanzBerechnung</a:t>
            </a:r>
            <a:r>
              <a:rPr lang="de-DE" sz="1200" b="1">
                <a:solidFill>
                  <a:schemeClr val="tx1"/>
                </a:solidFill>
              </a:rPr>
              <a:t>)</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21" name="Oval 7">
            <a:extLst>
              <a:ext uri="{FF2B5EF4-FFF2-40B4-BE49-F238E27FC236}">
                <a16:creationId xmlns:a16="http://schemas.microsoft.com/office/drawing/2014/main" id="{2B3AA5CB-47FF-49FB-9CCD-9D4F0B21887F}"/>
              </a:ext>
            </a:extLst>
          </p:cNvPr>
          <p:cNvSpPr/>
          <p:nvPr/>
        </p:nvSpPr>
        <p:spPr>
          <a:xfrm>
            <a:off x="534000" y="4370292"/>
            <a:ext cx="324000" cy="324000"/>
          </a:xfrm>
          <a:prstGeom prst="roundRect">
            <a:avLst/>
          </a:prstGeom>
          <a:solidFill>
            <a:schemeClr val="accent6"/>
          </a:solidFill>
          <a:ln w="38100" cap="rnd">
            <a:solidFill>
              <a:srgbClr val="A2A2A2"/>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2" name="Textplatzhalter 2">
            <a:extLst>
              <a:ext uri="{FF2B5EF4-FFF2-40B4-BE49-F238E27FC236}">
                <a16:creationId xmlns:a16="http://schemas.microsoft.com/office/drawing/2014/main" id="{E50C6184-1A9B-4A8D-8BC3-D0E81C14B6E5}"/>
              </a:ext>
            </a:extLst>
          </p:cNvPr>
          <p:cNvSpPr txBox="1">
            <a:spLocks/>
          </p:cNvSpPr>
          <p:nvPr/>
        </p:nvSpPr>
        <p:spPr>
          <a:xfrm>
            <a:off x="858000" y="4370292"/>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solidFill>
                  <a:schemeClr val="tx1"/>
                </a:solidFill>
              </a:rPr>
              <a:t>Wasserstand Teilweise Unvollständig</a:t>
            </a:r>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20" name="Oval 7">
            <a:extLst>
              <a:ext uri="{FF2B5EF4-FFF2-40B4-BE49-F238E27FC236}">
                <a16:creationId xmlns:a16="http://schemas.microsoft.com/office/drawing/2014/main" id="{4CF5B79E-4369-4BD2-825C-E9DDE36EABC3}"/>
              </a:ext>
            </a:extLst>
          </p:cNvPr>
          <p:cNvSpPr/>
          <p:nvPr/>
        </p:nvSpPr>
        <p:spPr>
          <a:xfrm>
            <a:off x="6151997" y="2162040"/>
            <a:ext cx="324000" cy="324000"/>
          </a:xfrm>
          <a:prstGeom prst="roundRect">
            <a:avLst/>
          </a:prstGeom>
          <a:solidFill>
            <a:schemeClr val="accent3"/>
          </a:solidFill>
          <a:ln w="38100"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3" name="Textplatzhalter 2">
            <a:extLst>
              <a:ext uri="{FF2B5EF4-FFF2-40B4-BE49-F238E27FC236}">
                <a16:creationId xmlns:a16="http://schemas.microsoft.com/office/drawing/2014/main" id="{D4C91BFC-CDE0-4539-B19A-653490589A79}"/>
              </a:ext>
            </a:extLst>
          </p:cNvPr>
          <p:cNvSpPr txBox="1">
            <a:spLocks/>
          </p:cNvSpPr>
          <p:nvPr/>
        </p:nvSpPr>
        <p:spPr>
          <a:xfrm>
            <a:off x="6507366" y="2909504"/>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solidFill>
                  <a:schemeClr val="tx1"/>
                </a:solidFill>
              </a:rPr>
              <a:t>Datenexploration, umsortieren</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24" name="Oval 7">
            <a:extLst>
              <a:ext uri="{FF2B5EF4-FFF2-40B4-BE49-F238E27FC236}">
                <a16:creationId xmlns:a16="http://schemas.microsoft.com/office/drawing/2014/main" id="{833D32C6-FBB6-49FC-9A21-FE07A7BE9036}"/>
              </a:ext>
            </a:extLst>
          </p:cNvPr>
          <p:cNvSpPr/>
          <p:nvPr/>
        </p:nvSpPr>
        <p:spPr>
          <a:xfrm>
            <a:off x="6151997" y="2898124"/>
            <a:ext cx="324000" cy="324000"/>
          </a:xfrm>
          <a:prstGeom prst="roundRect">
            <a:avLst/>
          </a:prstGeom>
          <a:solidFill>
            <a:schemeClr val="accent3"/>
          </a:solidFill>
          <a:ln w="38100"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5" name="Textplatzhalter 2">
            <a:extLst>
              <a:ext uri="{FF2B5EF4-FFF2-40B4-BE49-F238E27FC236}">
                <a16:creationId xmlns:a16="http://schemas.microsoft.com/office/drawing/2014/main" id="{215E7DAE-A4DE-485C-BDA5-3D7B9BB7DE0F}"/>
              </a:ext>
            </a:extLst>
          </p:cNvPr>
          <p:cNvSpPr txBox="1">
            <a:spLocks/>
          </p:cNvSpPr>
          <p:nvPr/>
        </p:nvSpPr>
        <p:spPr>
          <a:xfrm>
            <a:off x="6507366" y="2165141"/>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err="1">
                <a:solidFill>
                  <a:schemeClr val="tx1"/>
                </a:solidFill>
              </a:rPr>
              <a:t>ZuSammenführen</a:t>
            </a:r>
            <a:r>
              <a:rPr lang="de-DE" sz="1200" b="1">
                <a:solidFill>
                  <a:schemeClr val="tx1"/>
                </a:solidFill>
              </a:rPr>
              <a:t> Mehrerer Datenquellen</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26" name="Oval 7">
            <a:extLst>
              <a:ext uri="{FF2B5EF4-FFF2-40B4-BE49-F238E27FC236}">
                <a16:creationId xmlns:a16="http://schemas.microsoft.com/office/drawing/2014/main" id="{F448B1E9-8D03-4ADF-A72E-DF2C6EEF505B}"/>
              </a:ext>
            </a:extLst>
          </p:cNvPr>
          <p:cNvSpPr/>
          <p:nvPr/>
        </p:nvSpPr>
        <p:spPr>
          <a:xfrm>
            <a:off x="6151997" y="3634208"/>
            <a:ext cx="324000" cy="324000"/>
          </a:xfrm>
          <a:prstGeom prst="roundRect">
            <a:avLst/>
          </a:prstGeom>
          <a:solidFill>
            <a:schemeClr val="accent3"/>
          </a:solidFill>
          <a:ln w="38100"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7" name="Textplatzhalter 2">
            <a:extLst>
              <a:ext uri="{FF2B5EF4-FFF2-40B4-BE49-F238E27FC236}">
                <a16:creationId xmlns:a16="http://schemas.microsoft.com/office/drawing/2014/main" id="{A9B623CB-1456-42B0-86C1-827B6FA490D1}"/>
              </a:ext>
            </a:extLst>
          </p:cNvPr>
          <p:cNvSpPr txBox="1">
            <a:spLocks/>
          </p:cNvSpPr>
          <p:nvPr/>
        </p:nvSpPr>
        <p:spPr>
          <a:xfrm>
            <a:off x="6475997" y="3634208"/>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solidFill>
                  <a:schemeClr val="tx1"/>
                </a:solidFill>
              </a:rPr>
              <a:t>Speichern der Zwischenergebnisse als </a:t>
            </a:r>
            <a:r>
              <a:rPr lang="de-DE" sz="1200" b="1" err="1">
                <a:solidFill>
                  <a:schemeClr val="tx1"/>
                </a:solidFill>
              </a:rPr>
              <a:t>csv</a:t>
            </a:r>
            <a:r>
              <a:rPr lang="de-DE" sz="1200" b="1">
                <a:solidFill>
                  <a:schemeClr val="tx1"/>
                </a:solidFill>
              </a:rPr>
              <a:t> Datei</a:t>
            </a:r>
            <a:endParaRPr lang="de-DE" sz="1200">
              <a:solidFill>
                <a:schemeClr val="tx1"/>
              </a:solidFill>
            </a:endParaRPr>
          </a:p>
          <a:p>
            <a:endParaRPr lang="de-DE" sz="1200">
              <a:solidFill>
                <a:schemeClr val="tx1"/>
              </a:solidFill>
            </a:endParaRPr>
          </a:p>
          <a:p>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28" name="Oval 7">
            <a:extLst>
              <a:ext uri="{FF2B5EF4-FFF2-40B4-BE49-F238E27FC236}">
                <a16:creationId xmlns:a16="http://schemas.microsoft.com/office/drawing/2014/main" id="{6B0F2F05-973A-4CC1-96F8-41291D4B0B6F}"/>
              </a:ext>
            </a:extLst>
          </p:cNvPr>
          <p:cNvSpPr/>
          <p:nvPr/>
        </p:nvSpPr>
        <p:spPr>
          <a:xfrm>
            <a:off x="6151997" y="4370292"/>
            <a:ext cx="324000" cy="324000"/>
          </a:xfrm>
          <a:prstGeom prst="roundRect">
            <a:avLst/>
          </a:prstGeom>
          <a:solidFill>
            <a:schemeClr val="accent3"/>
          </a:solidFill>
          <a:ln w="38100"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9" name="Textplatzhalter 2">
            <a:extLst>
              <a:ext uri="{FF2B5EF4-FFF2-40B4-BE49-F238E27FC236}">
                <a16:creationId xmlns:a16="http://schemas.microsoft.com/office/drawing/2014/main" id="{D93B3F61-0B86-4A2F-AFAA-1AD34BF271B0}"/>
              </a:ext>
            </a:extLst>
          </p:cNvPr>
          <p:cNvSpPr txBox="1">
            <a:spLocks/>
          </p:cNvSpPr>
          <p:nvPr/>
        </p:nvSpPr>
        <p:spPr>
          <a:xfrm>
            <a:off x="6475997" y="4370292"/>
            <a:ext cx="5231259" cy="324000"/>
          </a:xfrm>
          <a:prstGeom prst="rect">
            <a:avLst/>
          </a:prstGeom>
        </p:spPr>
        <p:txBody>
          <a:bodyPr>
            <a:noAutofit/>
          </a:bodyPr>
          <a:lstStyle>
            <a:lvl1pPr marL="0" indent="0" algn="l" defTabSz="914400" rtl="0" eaLnBrk="1" latinLnBrk="0" hangingPunct="1">
              <a:spcBef>
                <a:spcPct val="20000"/>
              </a:spcBef>
              <a:buFont typeface="Arial" pitchFamily="34" charset="0"/>
              <a:buNone/>
              <a:defRPr lang="de-DE" sz="1400" kern="1200" cap="all" spc="110" baseline="0" dirty="0">
                <a:solidFill>
                  <a:srgbClr val="002869"/>
                </a:solidFill>
                <a:latin typeface="Helvetica Ligh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err="1">
                <a:solidFill>
                  <a:schemeClr val="tx1"/>
                </a:solidFill>
              </a:rPr>
              <a:t>ManuelleR</a:t>
            </a:r>
            <a:r>
              <a:rPr lang="de-DE" sz="1200" b="1">
                <a:solidFill>
                  <a:schemeClr val="tx1"/>
                </a:solidFill>
              </a:rPr>
              <a:t> Nachtrag / Ausschließen der Zeilen </a:t>
            </a:r>
            <a:endParaRPr lang="de-DE" sz="1200">
              <a:solidFill>
                <a:schemeClr val="tx1"/>
              </a:solidFill>
            </a:endParaRPr>
          </a:p>
          <a:p>
            <a:endParaRPr lang="de-DE" sz="1200" i="1">
              <a:solidFill>
                <a:schemeClr val="tx1"/>
              </a:solidFill>
            </a:endParaRPr>
          </a:p>
          <a:p>
            <a:endParaRPr lang="de-DE" sz="1200" i="1">
              <a:solidFill>
                <a:schemeClr val="tx1"/>
              </a:solidFill>
            </a:endParaRPr>
          </a:p>
        </p:txBody>
      </p:sp>
      <p:sp>
        <p:nvSpPr>
          <p:cNvPr id="30" name="Rechteck: abgerundete Ecken 29">
            <a:hlinkClick r:id="rId7" action="ppaction://hlinksldjump"/>
            <a:extLst>
              <a:ext uri="{FF2B5EF4-FFF2-40B4-BE49-F238E27FC236}">
                <a16:creationId xmlns:a16="http://schemas.microsoft.com/office/drawing/2014/main" id="{7F65F256-EF86-42DA-B8C9-59FEDF86CDB1}"/>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31" name="Grafik 30" descr="Kreis mit Pfeil nach links mit einfarbiger Füllung">
            <a:hlinkClick r:id="rId7" action="ppaction://hlinksldjump"/>
            <a:extLst>
              <a:ext uri="{FF2B5EF4-FFF2-40B4-BE49-F238E27FC236}">
                <a16:creationId xmlns:a16="http://schemas.microsoft.com/office/drawing/2014/main" id="{4F78E686-4CB0-4BDA-B50E-95B37B3033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139792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3" grpId="0"/>
      <p:bldP spid="24" grpId="0" animBg="1"/>
      <p:bldP spid="25" grpId="0"/>
      <p:bldP spid="26" grpId="0" animBg="1"/>
      <p:bldP spid="27" grpId="0"/>
      <p:bldP spid="28" grpId="0" animBg="1"/>
      <p:bldP spid="2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FFA1074-5B9E-4080-850D-0707BC100590}"/>
              </a:ext>
            </a:extLst>
          </p:cNvPr>
          <p:cNvSpPr>
            <a:spLocks noGrp="1"/>
          </p:cNvSpPr>
          <p:nvPr>
            <p:ph type="ftr" sz="quarter" idx="11"/>
          </p:nvPr>
        </p:nvSpPr>
        <p:spPr/>
        <p:txBody>
          <a:bodyPr/>
          <a:lstStyle/>
          <a:p>
            <a:pPr>
              <a:spcBef>
                <a:spcPct val="20000"/>
              </a:spcBef>
            </a:pPr>
            <a:r>
              <a:rPr lang="de-DE"/>
              <a:t>SCA Case Study – 28.07.2021</a:t>
            </a:r>
          </a:p>
        </p:txBody>
      </p:sp>
      <p:sp>
        <p:nvSpPr>
          <p:cNvPr id="39" name="Titel 1">
            <a:extLst>
              <a:ext uri="{FF2B5EF4-FFF2-40B4-BE49-F238E27FC236}">
                <a16:creationId xmlns:a16="http://schemas.microsoft.com/office/drawing/2014/main" id="{C221C785-4474-4A5B-9E59-9A62999DA099}"/>
              </a:ext>
            </a:extLst>
          </p:cNvPr>
          <p:cNvSpPr>
            <a:spLocks noGrp="1"/>
          </p:cNvSpPr>
          <p:nvPr>
            <p:ph type="title"/>
          </p:nvPr>
        </p:nvSpPr>
        <p:spPr>
          <a:xfrm>
            <a:off x="534000" y="332656"/>
            <a:ext cx="11124000" cy="360040"/>
          </a:xfrm>
        </p:spPr>
        <p:txBody>
          <a:bodyPr/>
          <a:lstStyle/>
          <a:p>
            <a:r>
              <a:rPr lang="de-DE"/>
              <a:t>Feature Engineering – Transformation </a:t>
            </a:r>
          </a:p>
        </p:txBody>
      </p:sp>
      <p:pic>
        <p:nvPicPr>
          <p:cNvPr id="3" name="Grafik 2">
            <a:extLst>
              <a:ext uri="{FF2B5EF4-FFF2-40B4-BE49-F238E27FC236}">
                <a16:creationId xmlns:a16="http://schemas.microsoft.com/office/drawing/2014/main" id="{397DE070-7B45-4AD9-9EDA-07C6FB60FC6F}"/>
              </a:ext>
            </a:extLst>
          </p:cNvPr>
          <p:cNvPicPr>
            <a:picLocks noChangeAspect="1"/>
          </p:cNvPicPr>
          <p:nvPr/>
        </p:nvPicPr>
        <p:blipFill rotWithShape="1">
          <a:blip r:embed="rId2">
            <a:duotone>
              <a:schemeClr val="accent3">
                <a:shade val="45000"/>
                <a:satMod val="135000"/>
              </a:schemeClr>
              <a:prstClr val="white"/>
            </a:duotone>
            <a:extLst>
              <a:ext uri="{BEBA8EAE-BF5A-486C-A8C5-ECC9F3942E4B}">
                <a14:imgProps xmlns:a14="http://schemas.microsoft.com/office/drawing/2010/main">
                  <a14:imgLayer r:embed="rId3">
                    <a14:imgEffect>
                      <a14:colorTemperature colorTemp="4700"/>
                    </a14:imgEffect>
                  </a14:imgLayer>
                </a14:imgProps>
              </a:ext>
            </a:extLst>
          </a:blip>
          <a:srcRect l="1192" t="1471" r="4418"/>
          <a:stretch/>
        </p:blipFill>
        <p:spPr>
          <a:xfrm>
            <a:off x="1187429" y="939452"/>
            <a:ext cx="9346959" cy="5189886"/>
          </a:xfrm>
          <a:prstGeom prst="rect">
            <a:avLst/>
          </a:prstGeom>
        </p:spPr>
      </p:pic>
      <p:sp>
        <p:nvSpPr>
          <p:cNvPr id="2" name="Rechteck 1">
            <a:extLst>
              <a:ext uri="{FF2B5EF4-FFF2-40B4-BE49-F238E27FC236}">
                <a16:creationId xmlns:a16="http://schemas.microsoft.com/office/drawing/2014/main" id="{EB0374EC-8B29-C447-9D00-88DD8FDDED1F}"/>
              </a:ext>
            </a:extLst>
          </p:cNvPr>
          <p:cNvSpPr/>
          <p:nvPr/>
        </p:nvSpPr>
        <p:spPr>
          <a:xfrm>
            <a:off x="4622105" y="1277654"/>
            <a:ext cx="6726476" cy="4851683"/>
          </a:xfrm>
          <a:prstGeom prst="rect">
            <a:avLst/>
          </a:prstGeom>
          <a:solidFill>
            <a:schemeClr val="bg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9" name="Textfeld 48">
            <a:extLst>
              <a:ext uri="{FF2B5EF4-FFF2-40B4-BE49-F238E27FC236}">
                <a16:creationId xmlns:a16="http://schemas.microsoft.com/office/drawing/2014/main" id="{076B100B-3082-AA4E-9954-C32A5DA80932}"/>
              </a:ext>
            </a:extLst>
          </p:cNvPr>
          <p:cNvSpPr txBox="1"/>
          <p:nvPr/>
        </p:nvSpPr>
        <p:spPr bwMode="auto">
          <a:xfrm>
            <a:off x="4776216" y="1331338"/>
            <a:ext cx="3647931" cy="492443"/>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Stoppdauer</a:t>
            </a:r>
            <a:r>
              <a:rPr lang="en-US" sz="1300">
                <a:solidFill>
                  <a:srgbClr val="000000"/>
                </a:solidFill>
                <a:latin typeface="Arial" panose="020B0604020202020204" pitchFamily="34" charset="0"/>
                <a:cs typeface="Arial" panose="020B0604020202020204" pitchFamily="34" charset="0"/>
              </a:rPr>
              <a:t> und -</a:t>
            </a:r>
            <a:r>
              <a:rPr lang="en-US" sz="1300" err="1">
                <a:solidFill>
                  <a:srgbClr val="000000"/>
                </a:solidFill>
                <a:latin typeface="Arial" panose="020B0604020202020204" pitchFamily="34" charset="0"/>
                <a:cs typeface="Arial" panose="020B0604020202020204" pitchFamily="34" charset="0"/>
              </a:rPr>
              <a:t>häufigkeit</a:t>
            </a:r>
            <a:r>
              <a:rPr lang="en-US" sz="1300">
                <a:solidFill>
                  <a:srgbClr val="000000"/>
                </a:solidFill>
                <a:latin typeface="Arial" panose="020B0604020202020204" pitchFamily="34" charset="0"/>
                <a:cs typeface="Arial" panose="020B0604020202020204" pitchFamily="34" charset="0"/>
              </a:rPr>
              <a:t> je Ort und </a:t>
            </a:r>
            <a:r>
              <a:rPr lang="en-US" sz="1300" err="1">
                <a:solidFill>
                  <a:srgbClr val="000000"/>
                </a:solidFill>
                <a:latin typeface="Arial" panose="020B0604020202020204" pitchFamily="34" charset="0"/>
                <a:cs typeface="Arial" panose="020B0604020202020204" pitchFamily="34" charset="0"/>
              </a:rPr>
              <a:t>Schiffstyp</a:t>
            </a:r>
            <a:endParaRPr lang="en-US" sz="1300">
              <a:solidFill>
                <a:srgbClr val="000000"/>
              </a:solidFill>
              <a:latin typeface="Arial" panose="020B0604020202020204" pitchFamily="34" charset="0"/>
              <a:cs typeface="Arial" panose="020B0604020202020204" pitchFamily="34" charset="0"/>
            </a:endParaRPr>
          </a:p>
        </p:txBody>
      </p:sp>
      <p:sp>
        <p:nvSpPr>
          <p:cNvPr id="54" name="Textfeld 53">
            <a:extLst>
              <a:ext uri="{FF2B5EF4-FFF2-40B4-BE49-F238E27FC236}">
                <a16:creationId xmlns:a16="http://schemas.microsoft.com/office/drawing/2014/main" id="{6E189709-A970-C247-9B19-DA303AD9B897}"/>
              </a:ext>
            </a:extLst>
          </p:cNvPr>
          <p:cNvSpPr txBox="1"/>
          <p:nvPr/>
        </p:nvSpPr>
        <p:spPr bwMode="auto">
          <a:xfrm>
            <a:off x="4776215" y="2015789"/>
            <a:ext cx="3647931" cy="492443"/>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Zeitstempel</a:t>
            </a:r>
            <a:r>
              <a:rPr lang="en-US" sz="1300">
                <a:solidFill>
                  <a:srgbClr val="000000"/>
                </a:solidFill>
                <a:latin typeface="Arial" panose="020B0604020202020204" pitchFamily="34" charset="0"/>
                <a:cs typeface="Arial" panose="020B0604020202020204" pitchFamily="34" charset="0"/>
              </a:rPr>
              <a:t> in Datum und </a:t>
            </a:r>
            <a:r>
              <a:rPr lang="en-US" sz="1300" err="1">
                <a:solidFill>
                  <a:srgbClr val="000000"/>
                </a:solidFill>
                <a:latin typeface="Arial" panose="020B0604020202020204" pitchFamily="34" charset="0"/>
                <a:cs typeface="Arial" panose="020B0604020202020204" pitchFamily="34" charset="0"/>
              </a:rPr>
              <a:t>Uhrzeit</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dekomponiert</a:t>
            </a:r>
            <a:endParaRPr lang="en-US" sz="1300">
              <a:solidFill>
                <a:srgbClr val="000000"/>
              </a:solidFill>
              <a:latin typeface="Arial" panose="020B0604020202020204" pitchFamily="34" charset="0"/>
              <a:cs typeface="Arial" panose="020B0604020202020204" pitchFamily="34" charset="0"/>
            </a:endParaRPr>
          </a:p>
        </p:txBody>
      </p:sp>
      <p:sp>
        <p:nvSpPr>
          <p:cNvPr id="55" name="Textfeld 54">
            <a:extLst>
              <a:ext uri="{FF2B5EF4-FFF2-40B4-BE49-F238E27FC236}">
                <a16:creationId xmlns:a16="http://schemas.microsoft.com/office/drawing/2014/main" id="{31568C82-8898-B14F-9911-34E41E764FD7}"/>
              </a:ext>
            </a:extLst>
          </p:cNvPr>
          <p:cNvSpPr txBox="1"/>
          <p:nvPr/>
        </p:nvSpPr>
        <p:spPr bwMode="auto">
          <a:xfrm>
            <a:off x="4776214" y="2882550"/>
            <a:ext cx="3647931" cy="492443"/>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Vorkommnis</a:t>
            </a:r>
            <a:r>
              <a:rPr lang="en-US" sz="1300">
                <a:solidFill>
                  <a:srgbClr val="000000"/>
                </a:solidFill>
                <a:latin typeface="Arial" panose="020B0604020202020204" pitchFamily="34" charset="0"/>
                <a:cs typeface="Arial" panose="020B0604020202020204" pitchFamily="34" charset="0"/>
              </a:rPr>
              <a:t> der </a:t>
            </a:r>
            <a:r>
              <a:rPr lang="en-US" sz="1300" err="1">
                <a:solidFill>
                  <a:srgbClr val="000000"/>
                </a:solidFill>
                <a:latin typeface="Arial" panose="020B0604020202020204" pitchFamily="34" charset="0"/>
                <a:cs typeface="Arial" panose="020B0604020202020204" pitchFamily="34" charset="0"/>
              </a:rPr>
              <a:t>Stopps</a:t>
            </a:r>
            <a:r>
              <a:rPr lang="en-US" sz="1300">
                <a:solidFill>
                  <a:srgbClr val="000000"/>
                </a:solidFill>
                <a:latin typeface="Arial" panose="020B0604020202020204" pitchFamily="34" charset="0"/>
                <a:cs typeface="Arial" panose="020B0604020202020204" pitchFamily="34" charset="0"/>
              </a:rPr>
              <a:t> je Ort und </a:t>
            </a:r>
            <a:r>
              <a:rPr lang="en-US" sz="1300" err="1">
                <a:solidFill>
                  <a:srgbClr val="000000"/>
                </a:solidFill>
                <a:latin typeface="Arial" panose="020B0604020202020204" pitchFamily="34" charset="0"/>
                <a:cs typeface="Arial" panose="020B0604020202020204" pitchFamily="34" charset="0"/>
              </a:rPr>
              <a:t>Schiffstyp</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normalisiert</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für</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bessere</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Vergleichbarkeit</a:t>
            </a:r>
            <a:endParaRPr lang="en-US" sz="1300">
              <a:solidFill>
                <a:srgbClr val="000000"/>
              </a:solidFill>
              <a:latin typeface="Arial" panose="020B0604020202020204" pitchFamily="34" charset="0"/>
              <a:cs typeface="Arial" panose="020B0604020202020204" pitchFamily="34" charset="0"/>
            </a:endParaRPr>
          </a:p>
        </p:txBody>
      </p:sp>
      <p:sp>
        <p:nvSpPr>
          <p:cNvPr id="56" name="Textfeld 55">
            <a:extLst>
              <a:ext uri="{FF2B5EF4-FFF2-40B4-BE49-F238E27FC236}">
                <a16:creationId xmlns:a16="http://schemas.microsoft.com/office/drawing/2014/main" id="{7C8EA0D9-1BE0-CF4B-AE47-5F8D7362934B}"/>
              </a:ext>
            </a:extLst>
          </p:cNvPr>
          <p:cNvSpPr txBox="1"/>
          <p:nvPr/>
        </p:nvSpPr>
        <p:spPr bwMode="auto">
          <a:xfrm>
            <a:off x="4776211" y="3912396"/>
            <a:ext cx="3647931" cy="292388"/>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Zeitstempel</a:t>
            </a:r>
            <a:r>
              <a:rPr lang="en-US" sz="1300">
                <a:solidFill>
                  <a:srgbClr val="000000"/>
                </a:solidFill>
                <a:latin typeface="Arial" panose="020B0604020202020204" pitchFamily="34" charset="0"/>
                <a:cs typeface="Arial" panose="020B0604020202020204" pitchFamily="34" charset="0"/>
              </a:rPr>
              <a:t> von Char </a:t>
            </a:r>
            <a:r>
              <a:rPr lang="en-US" sz="1300" err="1">
                <a:solidFill>
                  <a:srgbClr val="000000"/>
                </a:solidFill>
                <a:latin typeface="Arial" panose="020B0604020202020204" pitchFamily="34" charset="0"/>
                <a:cs typeface="Arial" panose="020B0604020202020204" pitchFamily="34" charset="0"/>
              </a:rPr>
              <a:t>zu</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Zeitformat</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geändert</a:t>
            </a:r>
            <a:endParaRPr lang="en-US" sz="1300">
              <a:solidFill>
                <a:srgbClr val="000000"/>
              </a:solidFill>
              <a:latin typeface="Arial" panose="020B0604020202020204" pitchFamily="34" charset="0"/>
              <a:cs typeface="Arial" panose="020B0604020202020204" pitchFamily="34" charset="0"/>
            </a:endParaRPr>
          </a:p>
        </p:txBody>
      </p:sp>
      <p:sp>
        <p:nvSpPr>
          <p:cNvPr id="57" name="Textfeld 56">
            <a:extLst>
              <a:ext uri="{FF2B5EF4-FFF2-40B4-BE49-F238E27FC236}">
                <a16:creationId xmlns:a16="http://schemas.microsoft.com/office/drawing/2014/main" id="{90F5FED1-5448-6947-B5B4-323F3260A3A9}"/>
              </a:ext>
            </a:extLst>
          </p:cNvPr>
          <p:cNvSpPr txBox="1"/>
          <p:nvPr/>
        </p:nvSpPr>
        <p:spPr bwMode="auto">
          <a:xfrm>
            <a:off x="4776212" y="4596847"/>
            <a:ext cx="3647931" cy="292388"/>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Stoppzeit</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über</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verbleibende</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Strecke</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integriert</a:t>
            </a:r>
            <a:endParaRPr lang="en-US" sz="1300">
              <a:solidFill>
                <a:srgbClr val="000000"/>
              </a:solidFill>
              <a:latin typeface="Arial" panose="020B0604020202020204" pitchFamily="34" charset="0"/>
              <a:cs typeface="Arial" panose="020B0604020202020204" pitchFamily="34" charset="0"/>
            </a:endParaRPr>
          </a:p>
        </p:txBody>
      </p:sp>
      <p:sp>
        <p:nvSpPr>
          <p:cNvPr id="58" name="Textfeld 57">
            <a:extLst>
              <a:ext uri="{FF2B5EF4-FFF2-40B4-BE49-F238E27FC236}">
                <a16:creationId xmlns:a16="http://schemas.microsoft.com/office/drawing/2014/main" id="{8B812F81-7471-C549-8DDF-69FF62F9D0FA}"/>
              </a:ext>
            </a:extLst>
          </p:cNvPr>
          <p:cNvSpPr txBox="1"/>
          <p:nvPr/>
        </p:nvSpPr>
        <p:spPr bwMode="auto">
          <a:xfrm>
            <a:off x="4774427" y="5474193"/>
            <a:ext cx="5759961" cy="492443"/>
          </a:xfrm>
          <a:prstGeom prst="rect">
            <a:avLst/>
          </a:prstGeom>
          <a:noFill/>
          <a:ln w="6350">
            <a:noFill/>
            <a:prstDash val="solid"/>
            <a:miter lim="800000"/>
            <a:headEnd/>
            <a:tailEnd/>
          </a:ln>
        </p:spPr>
        <p:txBody>
          <a:bodyPr wrap="square">
            <a:spAutoFit/>
          </a:bodyPr>
          <a:lstStyle/>
          <a:p>
            <a:pPr marL="0" lvl="1">
              <a:lnSpc>
                <a:spcPct val="100000"/>
              </a:lnSpc>
            </a:pPr>
            <a:r>
              <a:rPr lang="en-US" sz="1300" err="1">
                <a:solidFill>
                  <a:srgbClr val="000000"/>
                </a:solidFill>
                <a:latin typeface="Arial" panose="020B0604020202020204" pitchFamily="34" charset="0"/>
                <a:cs typeface="Arial" panose="020B0604020202020204" pitchFamily="34" charset="0"/>
              </a:rPr>
              <a:t>Verbleibende</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Strecke</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aus</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Längen</a:t>
            </a:r>
            <a:r>
              <a:rPr lang="en-US" sz="1300">
                <a:solidFill>
                  <a:srgbClr val="000000"/>
                </a:solidFill>
                <a:latin typeface="Arial" panose="020B0604020202020204" pitchFamily="34" charset="0"/>
                <a:cs typeface="Arial" panose="020B0604020202020204" pitchFamily="34" charset="0"/>
              </a:rPr>
              <a:t>- und </a:t>
            </a:r>
            <a:r>
              <a:rPr lang="en-US" sz="1300" err="1">
                <a:solidFill>
                  <a:srgbClr val="000000"/>
                </a:solidFill>
                <a:latin typeface="Arial" panose="020B0604020202020204" pitchFamily="34" charset="0"/>
                <a:cs typeface="Arial" panose="020B0604020202020204" pitchFamily="34" charset="0"/>
              </a:rPr>
              <a:t>Breitengrad</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kombiniert</a:t>
            </a:r>
            <a:r>
              <a:rPr lang="en-US" sz="1300">
                <a:solidFill>
                  <a:srgbClr val="000000"/>
                </a:solidFill>
                <a:latin typeface="Arial" panose="020B0604020202020204" pitchFamily="34" charset="0"/>
                <a:cs typeface="Arial" panose="020B0604020202020204" pitchFamily="34" charset="0"/>
              </a:rPr>
              <a:t>, </a:t>
            </a:r>
          </a:p>
          <a:p>
            <a:pPr marL="0" lvl="1">
              <a:lnSpc>
                <a:spcPct val="100000"/>
              </a:lnSpc>
            </a:pPr>
            <a:r>
              <a:rPr lang="en-US" sz="1300" err="1">
                <a:solidFill>
                  <a:srgbClr val="000000"/>
                </a:solidFill>
                <a:latin typeface="Arial" panose="020B0604020202020204" pitchFamily="34" charset="0"/>
                <a:cs typeface="Arial" panose="020B0604020202020204" pitchFamily="34" charset="0"/>
              </a:rPr>
              <a:t>Ferien</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aus</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Zeitstempel</a:t>
            </a:r>
            <a:r>
              <a:rPr lang="en-US" sz="1300">
                <a:solidFill>
                  <a:srgbClr val="000000"/>
                </a:solidFill>
                <a:latin typeface="Arial" panose="020B0604020202020204" pitchFamily="34" charset="0"/>
                <a:cs typeface="Arial" panose="020B0604020202020204" pitchFamily="34" charset="0"/>
              </a:rPr>
              <a:t> und </a:t>
            </a:r>
            <a:r>
              <a:rPr lang="en-US" sz="1300" err="1">
                <a:solidFill>
                  <a:srgbClr val="000000"/>
                </a:solidFill>
                <a:latin typeface="Arial" panose="020B0604020202020204" pitchFamily="34" charset="0"/>
                <a:cs typeface="Arial" panose="020B0604020202020204" pitchFamily="34" charset="0"/>
              </a:rPr>
              <a:t>Feriendaten</a:t>
            </a:r>
            <a:r>
              <a:rPr lang="en-US" sz="1300">
                <a:solidFill>
                  <a:srgbClr val="000000"/>
                </a:solidFill>
                <a:latin typeface="Arial" panose="020B0604020202020204" pitchFamily="34" charset="0"/>
                <a:cs typeface="Arial" panose="020B0604020202020204" pitchFamily="34" charset="0"/>
              </a:rPr>
              <a:t> </a:t>
            </a:r>
            <a:r>
              <a:rPr lang="en-US" sz="1300" err="1">
                <a:solidFill>
                  <a:srgbClr val="000000"/>
                </a:solidFill>
                <a:latin typeface="Arial" panose="020B0604020202020204" pitchFamily="34" charset="0"/>
                <a:cs typeface="Arial" panose="020B0604020202020204" pitchFamily="34" charset="0"/>
              </a:rPr>
              <a:t>komniniert</a:t>
            </a:r>
            <a:r>
              <a:rPr lang="en-US" sz="1300">
                <a:solidFill>
                  <a:srgbClr val="000000"/>
                </a:solidFill>
                <a:latin typeface="Arial" panose="020B0604020202020204" pitchFamily="34" charset="0"/>
                <a:cs typeface="Arial" panose="020B0604020202020204" pitchFamily="34" charset="0"/>
              </a:rPr>
              <a:t>, …</a:t>
            </a:r>
          </a:p>
        </p:txBody>
      </p:sp>
      <p:sp>
        <p:nvSpPr>
          <p:cNvPr id="5" name="Textfeld 4">
            <a:extLst>
              <a:ext uri="{FF2B5EF4-FFF2-40B4-BE49-F238E27FC236}">
                <a16:creationId xmlns:a16="http://schemas.microsoft.com/office/drawing/2014/main" id="{19C81A97-EACA-B144-B68C-D1ED5573B372}"/>
              </a:ext>
            </a:extLst>
          </p:cNvPr>
          <p:cNvSpPr txBox="1"/>
          <p:nvPr/>
        </p:nvSpPr>
        <p:spPr bwMode="auto">
          <a:xfrm>
            <a:off x="1284270" y="-585627"/>
            <a:ext cx="0" cy="0"/>
          </a:xfrm>
          <a:prstGeom prst="rect">
            <a:avLst/>
          </a:prstGeom>
          <a:noFill/>
          <a:ln w="6350">
            <a:solidFill>
              <a:schemeClr val="accent4"/>
            </a:solidFill>
            <a:prstDash val="solid"/>
            <a:miter lim="800000"/>
            <a:headEnd/>
            <a:tailEnd/>
          </a:ln>
        </p:spPr>
        <p:txBody>
          <a:bodyPr wrap="none" lIns="72000" rIns="72000" rtlCol="0">
            <a:noAutofit/>
          </a:bodyPr>
          <a:lstStyle/>
          <a:p>
            <a:pPr marL="144000" indent="-144000">
              <a:lnSpc>
                <a:spcPct val="125000"/>
              </a:lnSpc>
              <a:spcAft>
                <a:spcPts val="400"/>
              </a:spcAft>
              <a:buClr>
                <a:schemeClr val="accent1"/>
              </a:buClr>
              <a:buFont typeface="Wingdings" panose="05000000000000000000" pitchFamily="2" charset="2"/>
              <a:buChar char="§"/>
            </a:pPr>
            <a:endParaRPr lang="de-DE" sz="1400"/>
          </a:p>
        </p:txBody>
      </p:sp>
      <p:sp>
        <p:nvSpPr>
          <p:cNvPr id="15" name="Rechteck: abgerundete Ecken 14">
            <a:hlinkClick r:id="rId4" action="ppaction://hlinksldjump"/>
            <a:extLst>
              <a:ext uri="{FF2B5EF4-FFF2-40B4-BE49-F238E27FC236}">
                <a16:creationId xmlns:a16="http://schemas.microsoft.com/office/drawing/2014/main" id="{739234EF-8AAD-4DB7-9578-5D4D4F1AB21F}"/>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6" name="Grafik 15" descr="Kreis mit Pfeil nach links mit einfarbiger Füllung">
            <a:hlinkClick r:id="rId4" action="ppaction://hlinksldjump"/>
            <a:extLst>
              <a:ext uri="{FF2B5EF4-FFF2-40B4-BE49-F238E27FC236}">
                <a16:creationId xmlns:a16="http://schemas.microsoft.com/office/drawing/2014/main" id="{BF7C203A-CF7E-4FDB-A7F9-71560D7B98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1536672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Feature Engineering – Herleitung der Variablen</a:t>
            </a:r>
          </a:p>
        </p:txBody>
      </p:sp>
      <p:sp>
        <p:nvSpPr>
          <p:cNvPr id="3" name="Textplatzhalter 2">
            <a:extLst>
              <a:ext uri="{FF2B5EF4-FFF2-40B4-BE49-F238E27FC236}">
                <a16:creationId xmlns:a16="http://schemas.microsoft.com/office/drawing/2014/main" id="{B470A3F6-BB11-42E2-9848-44853AFFCB30}"/>
              </a:ext>
            </a:extLst>
          </p:cNvPr>
          <p:cNvSpPr>
            <a:spLocks noGrp="1"/>
          </p:cNvSpPr>
          <p:nvPr>
            <p:ph type="body" sz="quarter" idx="10"/>
          </p:nvPr>
        </p:nvSpPr>
        <p:spPr>
          <a:xfrm>
            <a:off x="551384" y="960983"/>
            <a:ext cx="8696694" cy="4666666"/>
          </a:xfrm>
        </p:spPr>
        <p:txBody>
          <a:bodyPr/>
          <a:lstStyle/>
          <a:p>
            <a:r>
              <a:rPr lang="de-DE" sz="1200" b="1" err="1">
                <a:solidFill>
                  <a:schemeClr val="tx1"/>
                </a:solidFill>
              </a:rPr>
              <a:t>Shiptype</a:t>
            </a:r>
            <a:r>
              <a:rPr lang="de-DE" sz="1200" b="1">
                <a:solidFill>
                  <a:schemeClr val="tx1"/>
                </a:solidFill>
              </a:rPr>
              <a:t> </a:t>
            </a:r>
          </a:p>
          <a:p>
            <a:pPr marL="285750" indent="-285750">
              <a:buFont typeface="Arial" panose="020B0604020202020204" pitchFamily="34" charset="0"/>
              <a:buChar char="•"/>
            </a:pPr>
            <a:r>
              <a:rPr lang="de-DE" sz="1200">
                <a:solidFill>
                  <a:schemeClr val="tx1"/>
                </a:solidFill>
              </a:rPr>
              <a:t>Klassifizierung der AIS-Schiffstypen mittels </a:t>
            </a:r>
            <a:r>
              <a:rPr lang="de-DE" sz="1200" b="1" err="1">
                <a:solidFill>
                  <a:schemeClr val="tx1"/>
                </a:solidFill>
              </a:rPr>
              <a:t>typeOfShipId</a:t>
            </a:r>
            <a:r>
              <a:rPr lang="de-DE" sz="1200" b="1">
                <a:solidFill>
                  <a:schemeClr val="tx1"/>
                </a:solidFill>
              </a:rPr>
              <a:t> </a:t>
            </a:r>
          </a:p>
          <a:p>
            <a:pPr marL="285750" indent="-285750">
              <a:buFont typeface="Arial" panose="020B0604020202020204" pitchFamily="34" charset="0"/>
              <a:buChar char="•"/>
            </a:pPr>
            <a:r>
              <a:rPr lang="de-DE" sz="1200">
                <a:solidFill>
                  <a:schemeClr val="tx1"/>
                </a:solidFill>
              </a:rPr>
              <a:t>Erstellen externer </a:t>
            </a:r>
            <a:r>
              <a:rPr lang="de-DE" sz="1200" err="1">
                <a:solidFill>
                  <a:schemeClr val="tx1"/>
                </a:solidFill>
              </a:rPr>
              <a:t>CSv</a:t>
            </a:r>
            <a:r>
              <a:rPr lang="de-DE" sz="1200">
                <a:solidFill>
                  <a:schemeClr val="tx1"/>
                </a:solidFill>
              </a:rPr>
              <a:t>- Datei, </a:t>
            </a:r>
            <a:r>
              <a:rPr lang="de-DE" sz="1200" err="1">
                <a:solidFill>
                  <a:schemeClr val="tx1"/>
                </a:solidFill>
              </a:rPr>
              <a:t>merge</a:t>
            </a:r>
            <a:r>
              <a:rPr lang="de-DE" sz="1200">
                <a:solidFill>
                  <a:schemeClr val="tx1"/>
                </a:solidFill>
              </a:rPr>
              <a:t> mit Tabelle </a:t>
            </a:r>
            <a:r>
              <a:rPr lang="de-DE" sz="1200" err="1">
                <a:solidFill>
                  <a:schemeClr val="tx1"/>
                </a:solidFill>
              </a:rPr>
              <a:t>TripsAggregated</a:t>
            </a:r>
            <a:r>
              <a:rPr lang="de-DE" sz="1200">
                <a:solidFill>
                  <a:schemeClr val="tx1"/>
                </a:solidFill>
              </a:rPr>
              <a:t> über </a:t>
            </a:r>
            <a:r>
              <a:rPr lang="de-DE" sz="1200" b="1" err="1">
                <a:solidFill>
                  <a:schemeClr val="tx1"/>
                </a:solidFill>
              </a:rPr>
              <a:t>typeOfShipId</a:t>
            </a:r>
            <a:endParaRPr lang="de-DE" sz="1200" b="1">
              <a:solidFill>
                <a:schemeClr val="tx1"/>
              </a:solidFill>
            </a:endParaRPr>
          </a:p>
          <a:p>
            <a:pPr marL="285750" indent="-285750">
              <a:buFont typeface="Arial" panose="020B0604020202020204" pitchFamily="34" charset="0"/>
              <a:buChar char="•"/>
            </a:pPr>
            <a:endParaRPr lang="de-DE" sz="1200" b="1">
              <a:solidFill>
                <a:schemeClr val="tx1"/>
              </a:solidFill>
            </a:endParaRPr>
          </a:p>
          <a:p>
            <a:r>
              <a:rPr lang="de-DE" sz="1200" b="1" err="1">
                <a:solidFill>
                  <a:schemeClr val="tx1"/>
                </a:solidFill>
              </a:rPr>
              <a:t>HochWaser</a:t>
            </a:r>
            <a:r>
              <a:rPr lang="de-DE" sz="1200" b="1">
                <a:solidFill>
                  <a:schemeClr val="tx1"/>
                </a:solidFill>
              </a:rPr>
              <a:t>/</a:t>
            </a:r>
            <a:r>
              <a:rPr lang="de-DE" sz="1200" b="1" err="1">
                <a:solidFill>
                  <a:schemeClr val="tx1"/>
                </a:solidFill>
              </a:rPr>
              <a:t>NiedRigWasser</a:t>
            </a:r>
            <a:endParaRPr lang="de-DE" sz="1200" b="1">
              <a:solidFill>
                <a:schemeClr val="tx1"/>
              </a:solidFill>
            </a:endParaRPr>
          </a:p>
          <a:p>
            <a:pPr marL="171450" indent="-171450">
              <a:buFont typeface="Arial" panose="020B0604020202020204" pitchFamily="34" charset="0"/>
              <a:buChar char="•"/>
            </a:pPr>
            <a:r>
              <a:rPr lang="de-DE" sz="1200">
                <a:solidFill>
                  <a:schemeClr val="tx1"/>
                </a:solidFill>
              </a:rPr>
              <a:t>Für jede Messstation auf dem Rhein gibt es </a:t>
            </a:r>
            <a:r>
              <a:rPr lang="de-DE" sz="1200" err="1">
                <a:solidFill>
                  <a:schemeClr val="tx1"/>
                </a:solidFill>
              </a:rPr>
              <a:t>Glw</a:t>
            </a:r>
            <a:r>
              <a:rPr lang="de-DE" sz="1200">
                <a:solidFill>
                  <a:schemeClr val="tx1"/>
                </a:solidFill>
              </a:rPr>
              <a:t> (</a:t>
            </a:r>
            <a:r>
              <a:rPr lang="de-DE" sz="1200" i="1" cap="none">
                <a:solidFill>
                  <a:schemeClr val="tx1"/>
                </a:solidFill>
              </a:rPr>
              <a:t>Gleichwertigen Wasserstand</a:t>
            </a:r>
            <a:r>
              <a:rPr lang="de-DE" sz="1200">
                <a:solidFill>
                  <a:schemeClr val="tx1"/>
                </a:solidFill>
              </a:rPr>
              <a:t>)/HSW (</a:t>
            </a:r>
            <a:r>
              <a:rPr lang="de-DE" sz="1200" i="1" cap="none">
                <a:solidFill>
                  <a:schemeClr val="tx1"/>
                </a:solidFill>
              </a:rPr>
              <a:t>Höchster Schifffahrtswasserstand</a:t>
            </a:r>
            <a:r>
              <a:rPr lang="de-DE" sz="1200">
                <a:solidFill>
                  <a:schemeClr val="tx1"/>
                </a:solidFill>
              </a:rPr>
              <a:t>) Werte. Wasserlevel unter dem GLW werden als Niedrigwasser interpretiert, Wasserlevel Über dem HSW als Hochwasser.</a:t>
            </a:r>
          </a:p>
          <a:p>
            <a:endParaRPr lang="de-DE" sz="1200" b="1">
              <a:solidFill>
                <a:schemeClr val="tx1"/>
              </a:solidFill>
            </a:endParaRPr>
          </a:p>
          <a:p>
            <a:r>
              <a:rPr lang="de-DE" sz="1200" b="1">
                <a:solidFill>
                  <a:schemeClr val="tx1"/>
                </a:solidFill>
              </a:rPr>
              <a:t>Euklidische Distanz </a:t>
            </a:r>
            <a:r>
              <a:rPr lang="de-DE" sz="1200">
                <a:solidFill>
                  <a:schemeClr val="tx1"/>
                </a:solidFill>
              </a:rPr>
              <a:t>(pro Trip in </a:t>
            </a:r>
            <a:r>
              <a:rPr lang="de-DE" sz="1200" err="1">
                <a:solidFill>
                  <a:schemeClr val="tx1"/>
                </a:solidFill>
              </a:rPr>
              <a:t>TripsAggregated</a:t>
            </a:r>
            <a:r>
              <a:rPr lang="de-DE" sz="1200">
                <a:solidFill>
                  <a:schemeClr val="tx1"/>
                </a:solidFill>
              </a:rPr>
              <a:t>)</a:t>
            </a:r>
          </a:p>
          <a:p>
            <a:pPr marL="171450" indent="-171450">
              <a:buFont typeface="Arial" panose="020B0604020202020204" pitchFamily="34" charset="0"/>
              <a:buChar char="•"/>
            </a:pPr>
            <a:r>
              <a:rPr lang="de-DE" sz="1200">
                <a:solidFill>
                  <a:schemeClr val="tx1"/>
                </a:solidFill>
              </a:rPr>
              <a:t>Wenn man Länge und Breite in Grad angibt, ergibt sich die Entfernung in Kilometern. Die Konstante 111.3 ist dabei der Abstand zwischen zwei Breitenkreisen in km und 71.5 der durchschnittliche Abstand zwischen zwei Längenkreisen in unseren Breiten</a:t>
            </a:r>
          </a:p>
          <a:p>
            <a:endParaRPr lang="de-DE" sz="1200">
              <a:solidFill>
                <a:schemeClr val="tx1"/>
              </a:solidFill>
            </a:endParaRPr>
          </a:p>
          <a:p>
            <a:r>
              <a:rPr lang="de-DE" sz="1200" b="1">
                <a:solidFill>
                  <a:schemeClr val="tx1"/>
                </a:solidFill>
              </a:rPr>
              <a:t>Distanz Ab/Seit Frankfurt </a:t>
            </a:r>
            <a:r>
              <a:rPr lang="de-DE" sz="1200">
                <a:solidFill>
                  <a:schemeClr val="tx1"/>
                </a:solidFill>
              </a:rPr>
              <a:t>(pro Trip in </a:t>
            </a:r>
            <a:r>
              <a:rPr lang="de-DE" sz="1200" err="1">
                <a:solidFill>
                  <a:schemeClr val="tx1"/>
                </a:solidFill>
              </a:rPr>
              <a:t>TripsRaW</a:t>
            </a:r>
            <a:r>
              <a:rPr lang="de-DE" sz="1200">
                <a:solidFill>
                  <a:schemeClr val="tx1"/>
                </a:solidFill>
              </a:rPr>
              <a:t>)</a:t>
            </a:r>
          </a:p>
          <a:p>
            <a:pPr marL="171450" indent="-171450">
              <a:buFont typeface="Arial" panose="020B0604020202020204" pitchFamily="34" charset="0"/>
              <a:buChar char="•"/>
            </a:pPr>
            <a:r>
              <a:rPr lang="de-DE" sz="1200">
                <a:solidFill>
                  <a:schemeClr val="tx1"/>
                </a:solidFill>
              </a:rPr>
              <a:t>Aus den Wenn man Länge und Breite in Grad angibt, ergibt sich die Entfernung in Kilometern. Die Konstante 111.3 ist dabei der Abstand zwischen zwei Breitenkreisen in km und 71.5 der durchschnittliche Abstand zwischen zwei Längenkreisen in unseren Breiten</a:t>
            </a:r>
          </a:p>
          <a:p>
            <a:endParaRPr lang="de-DE" sz="1200">
              <a:solidFill>
                <a:schemeClr val="tx1"/>
              </a:solidFill>
            </a:endParaRPr>
          </a:p>
          <a:p>
            <a:r>
              <a:rPr lang="de-DE" sz="1200" b="1">
                <a:solidFill>
                  <a:schemeClr val="tx1"/>
                </a:solidFill>
              </a:rPr>
              <a:t>Ferien</a:t>
            </a:r>
          </a:p>
          <a:p>
            <a:pPr marL="171450" indent="-171450">
              <a:buFont typeface="Arial" panose="020B0604020202020204" pitchFamily="34" charset="0"/>
              <a:buChar char="•"/>
            </a:pPr>
            <a:r>
              <a:rPr lang="de-DE" sz="1200">
                <a:solidFill>
                  <a:schemeClr val="tx1"/>
                </a:solidFill>
              </a:rPr>
              <a:t>Die Daten der Sommerferien in allen Deutschen und </a:t>
            </a:r>
            <a:r>
              <a:rPr lang="de-DE" sz="1200" err="1">
                <a:solidFill>
                  <a:schemeClr val="tx1"/>
                </a:solidFill>
              </a:rPr>
              <a:t>niederlänsichen</a:t>
            </a:r>
            <a:r>
              <a:rPr lang="de-DE" sz="1200">
                <a:solidFill>
                  <a:schemeClr val="tx1"/>
                </a:solidFill>
              </a:rPr>
              <a:t> Bundesländern werden Aggregiert</a:t>
            </a:r>
          </a:p>
          <a:p>
            <a:endParaRPr lang="de-DE" sz="1200" i="1">
              <a:solidFill>
                <a:schemeClr val="tx1"/>
              </a:solidFill>
            </a:endParaRPr>
          </a:p>
          <a:p>
            <a:endParaRPr lang="de-DE" sz="1200" i="1">
              <a:solidFill>
                <a:schemeClr val="tx1"/>
              </a:solidFill>
            </a:endParaRP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7" name="Rechteck: abgerundete Ecken 6">
            <a:hlinkClick r:id="rId2" action="ppaction://hlinksldjump"/>
            <a:extLst>
              <a:ext uri="{FF2B5EF4-FFF2-40B4-BE49-F238E27FC236}">
                <a16:creationId xmlns:a16="http://schemas.microsoft.com/office/drawing/2014/main" id="{E6F79C6D-AEBD-42DE-AA15-10FB23ADAEAE}"/>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8" name="Grafik 7" descr="Kreis mit Pfeil nach links mit einfarbiger Füllung">
            <a:hlinkClick r:id="rId2" action="ppaction://hlinksldjump"/>
            <a:extLst>
              <a:ext uri="{FF2B5EF4-FFF2-40B4-BE49-F238E27FC236}">
                <a16:creationId xmlns:a16="http://schemas.microsoft.com/office/drawing/2014/main" id="{A6340FB0-EE03-4E6D-9C95-F921EA0F3F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21302106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Feature Engineering – Erklärung Schiffstypen</a:t>
            </a:r>
          </a:p>
        </p:txBody>
      </p:sp>
      <p:sp>
        <p:nvSpPr>
          <p:cNvPr id="3" name="Textplatzhalter 2">
            <a:extLst>
              <a:ext uri="{FF2B5EF4-FFF2-40B4-BE49-F238E27FC236}">
                <a16:creationId xmlns:a16="http://schemas.microsoft.com/office/drawing/2014/main" id="{B470A3F6-BB11-42E2-9848-44853AFFCB30}"/>
              </a:ext>
            </a:extLst>
          </p:cNvPr>
          <p:cNvSpPr>
            <a:spLocks noGrp="1"/>
          </p:cNvSpPr>
          <p:nvPr>
            <p:ph type="body" sz="quarter" idx="10"/>
          </p:nvPr>
        </p:nvSpPr>
        <p:spPr>
          <a:xfrm>
            <a:off x="551384" y="960983"/>
            <a:ext cx="8795816" cy="5335042"/>
          </a:xfrm>
        </p:spPr>
        <p:txBody>
          <a:bodyPr/>
          <a:lstStyle/>
          <a:p>
            <a:r>
              <a:rPr lang="de-DE" sz="1200" b="1">
                <a:solidFill>
                  <a:schemeClr val="tx1"/>
                </a:solidFill>
              </a:rPr>
              <a:t>Tanker</a:t>
            </a:r>
          </a:p>
          <a:p>
            <a:pPr marL="171450" indent="-171450">
              <a:buFont typeface="Wingdings" panose="05000000000000000000" pitchFamily="2" charset="2"/>
              <a:buChar char="à"/>
            </a:pPr>
            <a:r>
              <a:rPr lang="de-DE" sz="1200">
                <a:solidFill>
                  <a:schemeClr val="tx1"/>
                </a:solidFill>
              </a:rPr>
              <a:t>ist ein zum Transport flüssiger oder gasförmiger Stoffe konstruiertes </a:t>
            </a:r>
            <a:r>
              <a:rPr lang="de-DE" sz="1200" err="1">
                <a:solidFill>
                  <a:schemeClr val="tx1"/>
                </a:solidFill>
              </a:rPr>
              <a:t>SchifF</a:t>
            </a:r>
            <a:endParaRPr lang="de-DE" sz="1200">
              <a:solidFill>
                <a:schemeClr val="tx1"/>
              </a:solidFill>
            </a:endParaRPr>
          </a:p>
          <a:p>
            <a:pPr marL="171450" indent="-171450">
              <a:buFont typeface="Arial" panose="020B0604020202020204" pitchFamily="34" charset="0"/>
              <a:buChar char="•"/>
            </a:pPr>
            <a:r>
              <a:rPr lang="de-DE" sz="1200">
                <a:solidFill>
                  <a:schemeClr val="tx1"/>
                </a:solidFill>
              </a:rPr>
              <a:t>Typische Transportgüter sind Rohöl, Öl als Fertigprodukt, Kraftstoff, Flüssiggas, Wasser, Saft</a:t>
            </a:r>
          </a:p>
          <a:p>
            <a:pPr marL="171450" indent="-171450">
              <a:buFont typeface="Arial" panose="020B0604020202020204" pitchFamily="34" charset="0"/>
              <a:buChar char="•"/>
            </a:pPr>
            <a:r>
              <a:rPr lang="de-DE" sz="1200">
                <a:solidFill>
                  <a:schemeClr val="tx1"/>
                </a:solidFill>
              </a:rPr>
              <a:t>durch seine Silhouette leicht von anderen Schiffen zu unterscheiden</a:t>
            </a:r>
          </a:p>
          <a:p>
            <a:pPr marL="171450" indent="-171450">
              <a:buFont typeface="Arial" panose="020B0604020202020204" pitchFamily="34" charset="0"/>
              <a:buChar char="•"/>
            </a:pPr>
            <a:r>
              <a:rPr lang="de-DE" sz="1200">
                <a:solidFill>
                  <a:schemeClr val="tx1"/>
                </a:solidFill>
              </a:rPr>
              <a:t>hat ein flaches Deck, das außer der Brücke kaum Aufbauten trägt</a:t>
            </a:r>
          </a:p>
          <a:p>
            <a:pPr marL="171450" indent="-171450">
              <a:buFont typeface="Arial" panose="020B0604020202020204" pitchFamily="34" charset="0"/>
              <a:buChar char="•"/>
            </a:pPr>
            <a:r>
              <a:rPr lang="de-DE" sz="1200">
                <a:solidFill>
                  <a:schemeClr val="tx1"/>
                </a:solidFill>
              </a:rPr>
              <a:t>benötigt kein Ladegeschirr (auf Deck montierte Kräne), bis auf den mittschiffs auf allen Tankschiffen montierten Kran, mit dem Schläuche von Land an Bord gehoben werden können, um sie mit dem Leitungssystem des Schiffes zu verbinden</a:t>
            </a:r>
          </a:p>
          <a:p>
            <a:pPr marL="171450" indent="-171450">
              <a:buFont typeface="Arial" panose="020B0604020202020204" pitchFamily="34" charset="0"/>
              <a:buChar char="•"/>
            </a:pPr>
            <a:r>
              <a:rPr lang="de-DE" sz="1200">
                <a:solidFill>
                  <a:schemeClr val="tx1"/>
                </a:solidFill>
              </a:rPr>
              <a:t>Tanker haben mehrere Anschlussstationen (</a:t>
            </a:r>
            <a:r>
              <a:rPr lang="de-DE" sz="1200" err="1">
                <a:solidFill>
                  <a:schemeClr val="tx1"/>
                </a:solidFill>
              </a:rPr>
              <a:t>Manifolds</a:t>
            </a:r>
            <a:r>
              <a:rPr lang="de-DE" sz="1200">
                <a:solidFill>
                  <a:schemeClr val="tx1"/>
                </a:solidFill>
              </a:rPr>
              <a:t>) für Schläuche</a:t>
            </a:r>
          </a:p>
          <a:p>
            <a:endParaRPr lang="de-DE" sz="1200">
              <a:solidFill>
                <a:schemeClr val="tx1"/>
              </a:solidFill>
            </a:endParaRPr>
          </a:p>
          <a:p>
            <a:r>
              <a:rPr lang="en-US" sz="1200" u="sng">
                <a:solidFill>
                  <a:schemeClr val="tx1"/>
                </a:solidFill>
              </a:rPr>
              <a:t>Hazardous Type B</a:t>
            </a:r>
          </a:p>
          <a:p>
            <a:pPr marL="171450" indent="-171450">
              <a:buFont typeface="Wingdings" panose="05000000000000000000" pitchFamily="2" charset="2"/>
              <a:buChar char="à"/>
            </a:pPr>
            <a:r>
              <a:rPr lang="de-DE" sz="1200">
                <a:solidFill>
                  <a:schemeClr val="tx1"/>
                </a:solidFill>
                <a:sym typeface="Wingdings" panose="05000000000000000000" pitchFamily="2" charset="2"/>
              </a:rPr>
              <a:t>Reguläre Umweltschäden in absehbarem </a:t>
            </a:r>
            <a:r>
              <a:rPr lang="de-DE" sz="1200" err="1">
                <a:solidFill>
                  <a:schemeClr val="tx1"/>
                </a:solidFill>
                <a:sym typeface="Wingdings" panose="05000000000000000000" pitchFamily="2" charset="2"/>
              </a:rPr>
              <a:t>MAße</a:t>
            </a:r>
            <a:endParaRPr lang="de-DE" sz="1200">
              <a:solidFill>
                <a:schemeClr val="tx1"/>
              </a:solidFill>
              <a:sym typeface="Wingdings" panose="05000000000000000000" pitchFamily="2" charset="2"/>
            </a:endParaRPr>
          </a:p>
          <a:p>
            <a:endParaRPr lang="en-US" sz="1200">
              <a:solidFill>
                <a:schemeClr val="tx1"/>
              </a:solidFill>
            </a:endParaRPr>
          </a:p>
          <a:p>
            <a:r>
              <a:rPr lang="en-US" sz="1200" u="sng">
                <a:solidFill>
                  <a:schemeClr val="tx1"/>
                </a:solidFill>
              </a:rPr>
              <a:t>Hazardous Type C</a:t>
            </a:r>
          </a:p>
          <a:p>
            <a:r>
              <a:rPr lang="en-US" sz="1200">
                <a:solidFill>
                  <a:schemeClr val="tx1"/>
                </a:solidFill>
                <a:sym typeface="Wingdings" panose="05000000000000000000" pitchFamily="2" charset="2"/>
              </a:rPr>
              <a:t> </a:t>
            </a:r>
            <a:r>
              <a:rPr lang="en-US" sz="1200" err="1">
                <a:solidFill>
                  <a:schemeClr val="tx1"/>
                </a:solidFill>
                <a:sym typeface="Wingdings" panose="05000000000000000000" pitchFamily="2" charset="2"/>
              </a:rPr>
              <a:t>Geringe</a:t>
            </a:r>
            <a:r>
              <a:rPr lang="en-US" sz="1200">
                <a:solidFill>
                  <a:schemeClr val="tx1"/>
                </a:solidFill>
                <a:sym typeface="Wingdings" panose="05000000000000000000" pitchFamily="2" charset="2"/>
              </a:rPr>
              <a:t> </a:t>
            </a:r>
            <a:r>
              <a:rPr lang="en-US" sz="1200" err="1">
                <a:solidFill>
                  <a:schemeClr val="tx1"/>
                </a:solidFill>
                <a:sym typeface="Wingdings" panose="05000000000000000000" pitchFamily="2" charset="2"/>
              </a:rPr>
              <a:t>Gefahr</a:t>
            </a:r>
            <a:r>
              <a:rPr lang="en-US" sz="1200">
                <a:solidFill>
                  <a:schemeClr val="tx1"/>
                </a:solidFill>
                <a:sym typeface="Wingdings" panose="05000000000000000000" pitchFamily="2" charset="2"/>
              </a:rPr>
              <a:t> </a:t>
            </a:r>
            <a:r>
              <a:rPr lang="en-US" sz="1200" err="1">
                <a:solidFill>
                  <a:schemeClr val="tx1"/>
                </a:solidFill>
                <a:sym typeface="Wingdings" panose="05000000000000000000" pitchFamily="2" charset="2"/>
              </a:rPr>
              <a:t>für</a:t>
            </a:r>
            <a:r>
              <a:rPr lang="en-US" sz="1200">
                <a:solidFill>
                  <a:schemeClr val="tx1"/>
                </a:solidFill>
                <a:sym typeface="Wingdings" panose="05000000000000000000" pitchFamily="2" charset="2"/>
              </a:rPr>
              <a:t> die Umwelt </a:t>
            </a:r>
            <a:r>
              <a:rPr lang="en-US" sz="1200" err="1">
                <a:solidFill>
                  <a:schemeClr val="tx1"/>
                </a:solidFill>
                <a:sym typeface="Wingdings" panose="05000000000000000000" pitchFamily="2" charset="2"/>
              </a:rPr>
              <a:t>bei</a:t>
            </a:r>
            <a:r>
              <a:rPr lang="en-US" sz="1200">
                <a:solidFill>
                  <a:schemeClr val="tx1"/>
                </a:solidFill>
                <a:sym typeface="Wingdings" panose="05000000000000000000" pitchFamily="2" charset="2"/>
              </a:rPr>
              <a:t> </a:t>
            </a:r>
            <a:r>
              <a:rPr lang="en-US" sz="1200" err="1">
                <a:solidFill>
                  <a:schemeClr val="tx1"/>
                </a:solidFill>
                <a:sym typeface="Wingdings" panose="05000000000000000000" pitchFamily="2" charset="2"/>
              </a:rPr>
              <a:t>Unfällen</a:t>
            </a:r>
            <a:endParaRPr lang="en-US" sz="1200">
              <a:solidFill>
                <a:schemeClr val="tx1"/>
              </a:solidFill>
            </a:endParaRPr>
          </a:p>
          <a:p>
            <a:endParaRPr lang="en-US" sz="1200">
              <a:solidFill>
                <a:schemeClr val="tx1"/>
              </a:solidFill>
            </a:endParaRPr>
          </a:p>
          <a:p>
            <a:r>
              <a:rPr lang="en-US" sz="1200" u="sng">
                <a:solidFill>
                  <a:schemeClr val="tx1"/>
                </a:solidFill>
              </a:rPr>
              <a:t>Hazardous Type D</a:t>
            </a:r>
          </a:p>
          <a:p>
            <a:pPr marL="171450" indent="-171450">
              <a:buFont typeface="Wingdings" panose="05000000000000000000" pitchFamily="2" charset="2"/>
              <a:buChar char="à"/>
            </a:pPr>
            <a:r>
              <a:rPr lang="de-DE" sz="1200">
                <a:solidFill>
                  <a:schemeClr val="tx1"/>
                </a:solidFill>
                <a:sym typeface="Wingdings" panose="05000000000000000000" pitchFamily="2" charset="2"/>
              </a:rPr>
              <a:t> Keine direkten Umweltschäden durch die Landung </a:t>
            </a:r>
          </a:p>
          <a:p>
            <a:r>
              <a:rPr lang="de-DE" sz="1200" err="1">
                <a:solidFill>
                  <a:schemeClr val="tx1"/>
                </a:solidFill>
                <a:sym typeface="Wingdings" panose="05000000000000000000" pitchFamily="2" charset="2"/>
              </a:rPr>
              <a:t>Examples</a:t>
            </a:r>
            <a:r>
              <a:rPr lang="de-DE" sz="1200">
                <a:solidFill>
                  <a:schemeClr val="tx1"/>
                </a:solidFill>
                <a:sym typeface="Wingdings" panose="05000000000000000000" pitchFamily="2" charset="2"/>
              </a:rPr>
              <a:t>: </a:t>
            </a:r>
            <a:r>
              <a:rPr lang="de-DE" sz="1200" err="1">
                <a:solidFill>
                  <a:schemeClr val="tx1"/>
                </a:solidFill>
                <a:sym typeface="Wingdings" panose="05000000000000000000" pitchFamily="2" charset="2"/>
              </a:rPr>
              <a:t>Lng</a:t>
            </a:r>
            <a:r>
              <a:rPr lang="de-DE" sz="1200">
                <a:solidFill>
                  <a:schemeClr val="tx1"/>
                </a:solidFill>
                <a:sym typeface="Wingdings" panose="05000000000000000000" pitchFamily="2" charset="2"/>
              </a:rPr>
              <a:t> Tanker, </a:t>
            </a:r>
            <a:r>
              <a:rPr lang="de-DE" sz="1200" err="1">
                <a:solidFill>
                  <a:schemeClr val="tx1"/>
                </a:solidFill>
                <a:sym typeface="Wingdings" panose="05000000000000000000" pitchFamily="2" charset="2"/>
              </a:rPr>
              <a:t>Lpg</a:t>
            </a:r>
            <a:r>
              <a:rPr lang="de-DE" sz="1200">
                <a:solidFill>
                  <a:schemeClr val="tx1"/>
                </a:solidFill>
                <a:sym typeface="Wingdings" panose="05000000000000000000" pitchFamily="2" charset="2"/>
              </a:rPr>
              <a:t> Tanker, Gas Carrier</a:t>
            </a:r>
          </a:p>
          <a:p>
            <a:endParaRPr lang="de-DE" sz="1200">
              <a:solidFill>
                <a:schemeClr val="tx1"/>
              </a:solidFill>
              <a:sym typeface="Wingdings" panose="05000000000000000000" pitchFamily="2" charset="2"/>
            </a:endParaRPr>
          </a:p>
          <a:p>
            <a:r>
              <a:rPr lang="de-DE" sz="1200">
                <a:solidFill>
                  <a:schemeClr val="tx1"/>
                </a:solidFill>
                <a:sym typeface="Wingdings" panose="05000000000000000000" pitchFamily="2" charset="2"/>
              </a:rPr>
              <a:t>Quellen:</a:t>
            </a:r>
          </a:p>
          <a:p>
            <a:r>
              <a:rPr lang="de-DE" sz="1000">
                <a:solidFill>
                  <a:schemeClr val="accent1"/>
                </a:solidFill>
                <a:hlinkClick r:id="rId2">
                  <a:extLst>
                    <a:ext uri="{A12FA001-AC4F-418D-AE19-62706E023703}">
                      <ahyp:hlinkClr xmlns:ahyp="http://schemas.microsoft.com/office/drawing/2018/hyperlinkcolor" val="tx"/>
                    </a:ext>
                  </a:extLst>
                </a:hlinkClick>
              </a:rPr>
              <a:t>https://help.marinetraffic.com/hc/en-us/articles/205579997-What-is-the-significance-of-the-AIS-Shiptype-number-</a:t>
            </a:r>
            <a:endParaRPr lang="de-DE" sz="1000">
              <a:solidFill>
                <a:schemeClr val="accent1"/>
              </a:solidFill>
              <a:sym typeface="Wingdings" panose="05000000000000000000" pitchFamily="2" charset="2"/>
            </a:endParaRPr>
          </a:p>
          <a:p>
            <a:endParaRPr lang="de-DE" sz="1200" i="1">
              <a:solidFill>
                <a:schemeClr val="tx1"/>
              </a:solidFill>
            </a:endParaRP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pic>
        <p:nvPicPr>
          <p:cNvPr id="5" name="Grafik 4" descr="Ein Bild, das Wasser, Boot, draußen, Wasserfahrzeug enthält.&#10;&#10;Automatisch generierte Beschreibung">
            <a:extLst>
              <a:ext uri="{FF2B5EF4-FFF2-40B4-BE49-F238E27FC236}">
                <a16:creationId xmlns:a16="http://schemas.microsoft.com/office/drawing/2014/main" id="{F3CE592C-94E1-4AC4-BD17-EBCBA99C0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1360" y="960983"/>
            <a:ext cx="2259965" cy="1694974"/>
          </a:xfrm>
          <a:prstGeom prst="rect">
            <a:avLst/>
          </a:prstGeom>
        </p:spPr>
      </p:pic>
      <p:sp>
        <p:nvSpPr>
          <p:cNvPr id="4" name="Textfeld 3">
            <a:extLst>
              <a:ext uri="{FF2B5EF4-FFF2-40B4-BE49-F238E27FC236}">
                <a16:creationId xmlns:a16="http://schemas.microsoft.com/office/drawing/2014/main" id="{7D81A169-8285-4D45-8EE6-499D94EB13B9}"/>
              </a:ext>
            </a:extLst>
          </p:cNvPr>
          <p:cNvSpPr txBox="1"/>
          <p:nvPr/>
        </p:nvSpPr>
        <p:spPr bwMode="auto">
          <a:xfrm>
            <a:off x="8908217" y="3287682"/>
            <a:ext cx="2963108" cy="2182091"/>
          </a:xfrm>
          <a:prstGeom prst="rect">
            <a:avLst/>
          </a:prstGeom>
          <a:noFill/>
          <a:ln w="6350">
            <a:solidFill>
              <a:schemeClr val="accent4"/>
            </a:solidFill>
            <a:prstDash val="solid"/>
            <a:miter lim="800000"/>
            <a:headEnd/>
            <a:tailEnd/>
          </a:ln>
        </p:spPr>
        <p:txBody>
          <a:bodyPr wrap="square" lIns="72000" rIns="72000" rtlCol="0">
            <a:noAutofit/>
          </a:bodyPr>
          <a:lstStyle/>
          <a:p>
            <a:r>
              <a:rPr lang="de-DE" sz="1400" b="1" err="1">
                <a:solidFill>
                  <a:schemeClr val="tx1"/>
                </a:solidFill>
              </a:rPr>
              <a:t>Hazardous</a:t>
            </a:r>
            <a:r>
              <a:rPr lang="de-DE" sz="1400" b="1"/>
              <a:t>:</a:t>
            </a:r>
          </a:p>
          <a:p>
            <a:pPr marL="285750" indent="-285750">
              <a:buFont typeface="Arial" panose="020B0604020202020204" pitchFamily="34" charset="0"/>
              <a:buChar char="•"/>
            </a:pPr>
            <a:r>
              <a:rPr lang="de-DE" sz="1400">
                <a:solidFill>
                  <a:schemeClr val="tx1"/>
                </a:solidFill>
                <a:sym typeface="Wingdings" panose="05000000000000000000" pitchFamily="2" charset="2"/>
              </a:rPr>
              <a:t>Dimension/Schweregrad des Gefahrenguts</a:t>
            </a:r>
          </a:p>
          <a:p>
            <a:pPr marL="285750" indent="-285750">
              <a:buFont typeface="Arial" panose="020B0604020202020204" pitchFamily="34" charset="0"/>
              <a:buChar char="•"/>
            </a:pPr>
            <a:r>
              <a:rPr lang="de-DE" sz="1400">
                <a:solidFill>
                  <a:schemeClr val="tx1"/>
                </a:solidFill>
                <a:sym typeface="Wingdings" panose="05000000000000000000" pitchFamily="2" charset="2"/>
              </a:rPr>
              <a:t>Hazard Type A, B, C, D gibt die Gefahr möglicher Umweltschäden durch die Ladung bei einem Unfall an</a:t>
            </a:r>
          </a:p>
          <a:p>
            <a:pPr marL="285750" indent="-285750">
              <a:buFont typeface="Arial" panose="020B0604020202020204" pitchFamily="34" charset="0"/>
              <a:buChar char="•"/>
            </a:pPr>
            <a:r>
              <a:rPr lang="de-DE" sz="1400">
                <a:solidFill>
                  <a:schemeClr val="tx1"/>
                </a:solidFill>
                <a:sym typeface="Wingdings" panose="05000000000000000000" pitchFamily="2" charset="2"/>
              </a:rPr>
              <a:t>(Type A heißt hohe Umweltschäden)</a:t>
            </a:r>
          </a:p>
        </p:txBody>
      </p:sp>
      <p:sp>
        <p:nvSpPr>
          <p:cNvPr id="9" name="Rechteck: abgerundete Ecken 8">
            <a:hlinkClick r:id="rId4" action="ppaction://hlinksldjump"/>
            <a:extLst>
              <a:ext uri="{FF2B5EF4-FFF2-40B4-BE49-F238E27FC236}">
                <a16:creationId xmlns:a16="http://schemas.microsoft.com/office/drawing/2014/main" id="{FB6AE99C-394F-4C30-8261-CDF5E99FBFC3}"/>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0" name="Grafik 9" descr="Kreis mit Pfeil nach links mit einfarbiger Füllung">
            <a:hlinkClick r:id="rId4" action="ppaction://hlinksldjump"/>
            <a:extLst>
              <a:ext uri="{FF2B5EF4-FFF2-40B4-BE49-F238E27FC236}">
                <a16:creationId xmlns:a16="http://schemas.microsoft.com/office/drawing/2014/main" id="{1AC4A00A-CDC1-4673-910B-68A61555D7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36759727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Feature Engineering – Erklärung Schiffstypen</a:t>
            </a:r>
          </a:p>
        </p:txBody>
      </p:sp>
      <p:sp>
        <p:nvSpPr>
          <p:cNvPr id="3" name="Textplatzhalter 2">
            <a:extLst>
              <a:ext uri="{FF2B5EF4-FFF2-40B4-BE49-F238E27FC236}">
                <a16:creationId xmlns:a16="http://schemas.microsoft.com/office/drawing/2014/main" id="{B470A3F6-BB11-42E2-9848-44853AFFCB30}"/>
              </a:ext>
            </a:extLst>
          </p:cNvPr>
          <p:cNvSpPr>
            <a:spLocks noGrp="1"/>
          </p:cNvSpPr>
          <p:nvPr>
            <p:ph type="body" sz="quarter" idx="10"/>
          </p:nvPr>
        </p:nvSpPr>
        <p:spPr>
          <a:xfrm>
            <a:off x="551384" y="960983"/>
            <a:ext cx="7401991" cy="4666666"/>
          </a:xfrm>
        </p:spPr>
        <p:txBody>
          <a:bodyPr/>
          <a:lstStyle/>
          <a:p>
            <a:r>
              <a:rPr lang="de-DE" sz="1200" b="1">
                <a:solidFill>
                  <a:schemeClr val="tx1"/>
                </a:solidFill>
              </a:rPr>
              <a:t>Cargo </a:t>
            </a:r>
          </a:p>
          <a:p>
            <a:pPr marL="171450" indent="-171450">
              <a:buFont typeface="Arial" panose="020B0604020202020204" pitchFamily="34" charset="0"/>
              <a:buChar char="•"/>
            </a:pPr>
            <a:r>
              <a:rPr lang="de-DE" sz="1200">
                <a:solidFill>
                  <a:schemeClr val="tx1"/>
                </a:solidFill>
              </a:rPr>
              <a:t>= Frachtschiff, ein Handelsschiff, das von der Konstruktion her ausschließlich oder vorzugsweise zum Transport von Frachtgut vorgesehen ist</a:t>
            </a:r>
          </a:p>
          <a:p>
            <a:pPr marL="171450" indent="-171450">
              <a:buFont typeface="Arial" panose="020B0604020202020204" pitchFamily="34" charset="0"/>
              <a:buChar char="•"/>
            </a:pPr>
            <a:r>
              <a:rPr lang="de-DE" sz="1200">
                <a:solidFill>
                  <a:schemeClr val="tx1"/>
                </a:solidFill>
              </a:rPr>
              <a:t>Umgangssprachlich wird das Transportgut eines Schiffs Fracht genannt</a:t>
            </a:r>
          </a:p>
          <a:p>
            <a:pPr marL="171450" indent="-171450">
              <a:buFont typeface="Arial" panose="020B0604020202020204" pitchFamily="34" charset="0"/>
              <a:buChar char="•"/>
            </a:pPr>
            <a:r>
              <a:rPr lang="de-DE" sz="1200">
                <a:solidFill>
                  <a:schemeClr val="tx1"/>
                </a:solidFill>
              </a:rPr>
              <a:t>Juristisch ist Fracht das Entgelt, das für die Beförderung des Gutes gezahlt wird.</a:t>
            </a:r>
          </a:p>
          <a:p>
            <a:pPr marL="171450" indent="-171450">
              <a:buFont typeface="Arial" panose="020B0604020202020204" pitchFamily="34" charset="0"/>
              <a:buChar char="•"/>
            </a:pPr>
            <a:r>
              <a:rPr lang="de-DE" sz="1200">
                <a:solidFill>
                  <a:schemeClr val="tx1"/>
                </a:solidFill>
              </a:rPr>
              <a:t>Ein typ des Frachtschiffs ist das Containerschiff</a:t>
            </a:r>
          </a:p>
          <a:p>
            <a:endParaRPr lang="de-DE" sz="1200" i="1">
              <a:solidFill>
                <a:schemeClr val="tx1"/>
              </a:solidFill>
            </a:endParaRPr>
          </a:p>
          <a:p>
            <a:endParaRPr lang="de-DE" sz="1200" i="1">
              <a:solidFill>
                <a:schemeClr val="tx1"/>
              </a:solidFill>
            </a:endParaRPr>
          </a:p>
          <a:p>
            <a:endParaRPr lang="de-DE" sz="1200" i="1">
              <a:solidFill>
                <a:schemeClr val="tx1"/>
              </a:solidFill>
            </a:endParaRPr>
          </a:p>
          <a:p>
            <a:endParaRPr lang="de-DE" sz="1200" i="1">
              <a:solidFill>
                <a:schemeClr val="tx1"/>
              </a:solidFill>
            </a:endParaRP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pic>
        <p:nvPicPr>
          <p:cNvPr id="8" name="Grafik 7">
            <a:extLst>
              <a:ext uri="{FF2B5EF4-FFF2-40B4-BE49-F238E27FC236}">
                <a16:creationId xmlns:a16="http://schemas.microsoft.com/office/drawing/2014/main" id="{C7DF9761-6F88-4415-9928-FA4007610480}"/>
              </a:ext>
            </a:extLst>
          </p:cNvPr>
          <p:cNvPicPr>
            <a:picLocks noChangeAspect="1"/>
          </p:cNvPicPr>
          <p:nvPr/>
        </p:nvPicPr>
        <p:blipFill>
          <a:blip r:embed="rId2"/>
          <a:stretch>
            <a:fillRect/>
          </a:stretch>
        </p:blipFill>
        <p:spPr>
          <a:xfrm>
            <a:off x="8240184" y="1191070"/>
            <a:ext cx="3513666" cy="3093554"/>
          </a:xfrm>
          <a:prstGeom prst="rect">
            <a:avLst/>
          </a:prstGeom>
        </p:spPr>
      </p:pic>
      <p:sp>
        <p:nvSpPr>
          <p:cNvPr id="9" name="Rechteck: abgerundete Ecken 8">
            <a:hlinkClick r:id="rId3" action="ppaction://hlinksldjump"/>
            <a:extLst>
              <a:ext uri="{FF2B5EF4-FFF2-40B4-BE49-F238E27FC236}">
                <a16:creationId xmlns:a16="http://schemas.microsoft.com/office/drawing/2014/main" id="{E10C9721-1850-4A51-870B-F3413010755E}"/>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0" name="Grafik 9" descr="Kreis mit Pfeil nach links mit einfarbiger Füllung">
            <a:hlinkClick r:id="rId3" action="ppaction://hlinksldjump"/>
            <a:extLst>
              <a:ext uri="{FF2B5EF4-FFF2-40B4-BE49-F238E27FC236}">
                <a16:creationId xmlns:a16="http://schemas.microsoft.com/office/drawing/2014/main" id="{F689A2F3-80B7-4662-BFD4-72EC89CE9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9229101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Modellierung</a:t>
            </a: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6" name="Textplatzhalter 5">
            <a:extLst>
              <a:ext uri="{FF2B5EF4-FFF2-40B4-BE49-F238E27FC236}">
                <a16:creationId xmlns:a16="http://schemas.microsoft.com/office/drawing/2014/main" id="{D5E1C403-D519-4760-BC98-8DFC502C19D7}"/>
              </a:ext>
            </a:extLst>
          </p:cNvPr>
          <p:cNvSpPr>
            <a:spLocks noGrp="1"/>
          </p:cNvSpPr>
          <p:nvPr>
            <p:ph type="body" sz="quarter" idx="10"/>
          </p:nvPr>
        </p:nvSpPr>
        <p:spPr/>
        <p:txBody>
          <a:bodyPr/>
          <a:lstStyle/>
          <a:p>
            <a:r>
              <a:rPr lang="de-DE"/>
              <a:t>Korrelation Statisches </a:t>
            </a:r>
            <a:r>
              <a:rPr lang="de-DE" err="1"/>
              <a:t>MoDell</a:t>
            </a:r>
            <a:endParaRPr lang="de-DE"/>
          </a:p>
        </p:txBody>
      </p:sp>
      <p:graphicFrame>
        <p:nvGraphicFramePr>
          <p:cNvPr id="9" name="Tabelle 8">
            <a:extLst>
              <a:ext uri="{FF2B5EF4-FFF2-40B4-BE49-F238E27FC236}">
                <a16:creationId xmlns:a16="http://schemas.microsoft.com/office/drawing/2014/main" id="{4BB82D40-A634-46DC-B195-77108BF5DE31}"/>
              </a:ext>
            </a:extLst>
          </p:cNvPr>
          <p:cNvGraphicFramePr>
            <a:graphicFrameLocks noGrp="1"/>
          </p:cNvGraphicFramePr>
          <p:nvPr/>
        </p:nvGraphicFramePr>
        <p:xfrm>
          <a:off x="551384" y="2233274"/>
          <a:ext cx="11273782" cy="2011096"/>
        </p:xfrm>
        <a:graphic>
          <a:graphicData uri="http://schemas.openxmlformats.org/drawingml/2006/table">
            <a:tbl>
              <a:tblPr firstRow="1" firstCol="1" lastRow="1">
                <a:tableStyleId>{F5AB1C69-6EDB-4FF4-983F-18BD219EF322}</a:tableStyleId>
              </a:tblPr>
              <a:tblGrid>
                <a:gridCol w="1854478">
                  <a:extLst>
                    <a:ext uri="{9D8B030D-6E8A-4147-A177-3AD203B41FA5}">
                      <a16:colId xmlns:a16="http://schemas.microsoft.com/office/drawing/2014/main" val="997302371"/>
                    </a:ext>
                  </a:extLst>
                </a:gridCol>
                <a:gridCol w="1111046">
                  <a:extLst>
                    <a:ext uri="{9D8B030D-6E8A-4147-A177-3AD203B41FA5}">
                      <a16:colId xmlns:a16="http://schemas.microsoft.com/office/drawing/2014/main" val="4236063475"/>
                    </a:ext>
                  </a:extLst>
                </a:gridCol>
                <a:gridCol w="1927122">
                  <a:extLst>
                    <a:ext uri="{9D8B030D-6E8A-4147-A177-3AD203B41FA5}">
                      <a16:colId xmlns:a16="http://schemas.microsoft.com/office/drawing/2014/main" val="817529014"/>
                    </a:ext>
                  </a:extLst>
                </a:gridCol>
                <a:gridCol w="1386349">
                  <a:extLst>
                    <a:ext uri="{9D8B030D-6E8A-4147-A177-3AD203B41FA5}">
                      <a16:colId xmlns:a16="http://schemas.microsoft.com/office/drawing/2014/main" val="42096796"/>
                    </a:ext>
                  </a:extLst>
                </a:gridCol>
                <a:gridCol w="953729">
                  <a:extLst>
                    <a:ext uri="{9D8B030D-6E8A-4147-A177-3AD203B41FA5}">
                      <a16:colId xmlns:a16="http://schemas.microsoft.com/office/drawing/2014/main" val="4143143196"/>
                    </a:ext>
                  </a:extLst>
                </a:gridCol>
                <a:gridCol w="1524000">
                  <a:extLst>
                    <a:ext uri="{9D8B030D-6E8A-4147-A177-3AD203B41FA5}">
                      <a16:colId xmlns:a16="http://schemas.microsoft.com/office/drawing/2014/main" val="3913037974"/>
                    </a:ext>
                  </a:extLst>
                </a:gridCol>
                <a:gridCol w="1337187">
                  <a:extLst>
                    <a:ext uri="{9D8B030D-6E8A-4147-A177-3AD203B41FA5}">
                      <a16:colId xmlns:a16="http://schemas.microsoft.com/office/drawing/2014/main" val="4208265459"/>
                    </a:ext>
                  </a:extLst>
                </a:gridCol>
                <a:gridCol w="1179871">
                  <a:extLst>
                    <a:ext uri="{9D8B030D-6E8A-4147-A177-3AD203B41FA5}">
                      <a16:colId xmlns:a16="http://schemas.microsoft.com/office/drawing/2014/main" val="416591102"/>
                    </a:ext>
                  </a:extLst>
                </a:gridCol>
              </a:tblGrid>
              <a:tr h="173583">
                <a:tc>
                  <a:txBody>
                    <a:bodyPr/>
                    <a:lstStyle/>
                    <a:p>
                      <a:pPr algn="l" fontAlgn="b"/>
                      <a:r>
                        <a:rPr lang="de-DE" sz="1600" u="none" strike="noStrike">
                          <a:effectLst/>
                        </a:rPr>
                        <a:t>    </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Startzeit</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Startgeschwindigkeit</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Niedrigwasser</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Ferien</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Schiffstyp</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Gefahrgut</a:t>
                      </a:r>
                      <a:endParaRPr lang="de-DE" sz="1600" b="1" i="0" u="none" strike="noStrike">
                        <a:solidFill>
                          <a:srgbClr val="FFFFFF"/>
                        </a:solidFill>
                        <a:effectLst/>
                        <a:latin typeface="Liberation Sans"/>
                      </a:endParaRPr>
                    </a:p>
                  </a:txBody>
                  <a:tcPr marL="7547" marR="7547" marT="7547" marB="0" anchor="b"/>
                </a:tc>
                <a:tc>
                  <a:txBody>
                    <a:bodyPr/>
                    <a:lstStyle/>
                    <a:p>
                      <a:pPr algn="l" fontAlgn="b"/>
                      <a:r>
                        <a:rPr lang="de-DE" sz="1600" u="none" strike="noStrike">
                          <a:effectLst/>
                        </a:rPr>
                        <a:t>Ankunftszeit</a:t>
                      </a:r>
                      <a:endParaRPr lang="de-DE" sz="1600" b="1" i="0" u="none" strike="noStrike">
                        <a:solidFill>
                          <a:srgbClr val="FFFFFF"/>
                        </a:solidFill>
                        <a:effectLst/>
                        <a:latin typeface="Liberation Sans"/>
                      </a:endParaRPr>
                    </a:p>
                  </a:txBody>
                  <a:tcPr marL="7547" marR="7547" marT="7547" marB="0" anchor="b"/>
                </a:tc>
                <a:extLst>
                  <a:ext uri="{0D108BD9-81ED-4DB2-BD59-A6C34878D82A}">
                    <a16:rowId xmlns:a16="http://schemas.microsoft.com/office/drawing/2014/main" val="1193110795"/>
                  </a:ext>
                </a:extLst>
              </a:tr>
              <a:tr h="173583">
                <a:tc>
                  <a:txBody>
                    <a:bodyPr/>
                    <a:lstStyle/>
                    <a:p>
                      <a:pPr algn="l" fontAlgn="b"/>
                      <a:r>
                        <a:rPr lang="de-DE" sz="1600" u="none" strike="noStrike">
                          <a:effectLst/>
                        </a:rPr>
                        <a:t>Startzeit</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96776</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88513</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26207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331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90737</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999979</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494687821"/>
                  </a:ext>
                </a:extLst>
              </a:tr>
              <a:tr h="173583">
                <a:tc>
                  <a:txBody>
                    <a:bodyPr/>
                    <a:lstStyle/>
                    <a:p>
                      <a:pPr algn="l" fontAlgn="b"/>
                      <a:r>
                        <a:rPr lang="de-DE" sz="1600" u="none" strike="noStrike">
                          <a:effectLst/>
                        </a:rPr>
                        <a:t>Startgeschwindigkeit</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0.196776</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31168</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47719</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953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67847</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97362</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1188963597"/>
                  </a:ext>
                </a:extLst>
              </a:tr>
              <a:tr h="173583">
                <a:tc>
                  <a:txBody>
                    <a:bodyPr/>
                    <a:lstStyle/>
                    <a:p>
                      <a:pPr algn="l" fontAlgn="b"/>
                      <a:r>
                        <a:rPr lang="de-DE" sz="1600" u="none" strike="noStrike">
                          <a:effectLst/>
                        </a:rPr>
                        <a:t>Niedrigwasser</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0.188513</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31168</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5435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838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4505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88130</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1801803371"/>
                  </a:ext>
                </a:extLst>
              </a:tr>
              <a:tr h="173583">
                <a:tc>
                  <a:txBody>
                    <a:bodyPr/>
                    <a:lstStyle/>
                    <a:p>
                      <a:pPr algn="l" fontAlgn="b"/>
                      <a:r>
                        <a:rPr lang="de-DE" sz="1600" u="none" strike="noStrike">
                          <a:effectLst/>
                        </a:rPr>
                        <a:t>Ferien</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highlight>
                            <a:srgbClr val="FFFF00"/>
                          </a:highlight>
                        </a:rPr>
                        <a:t>0.262074</a:t>
                      </a:r>
                      <a:endParaRPr lang="de-DE" sz="1600" b="0" i="0" u="none" strike="noStrike">
                        <a:solidFill>
                          <a:srgbClr val="000000"/>
                        </a:solidFill>
                        <a:effectLst/>
                        <a:highlight>
                          <a:srgbClr val="FFFF00"/>
                        </a:highlight>
                        <a:latin typeface="Liberation Sans"/>
                      </a:endParaRPr>
                    </a:p>
                  </a:txBody>
                  <a:tcPr marL="7547" marR="7547" marT="7547" marB="0" anchor="b"/>
                </a:tc>
                <a:tc>
                  <a:txBody>
                    <a:bodyPr/>
                    <a:lstStyle/>
                    <a:p>
                      <a:pPr algn="r" fontAlgn="b"/>
                      <a:r>
                        <a:rPr lang="de-DE" sz="1600" u="none" strike="noStrike">
                          <a:effectLst/>
                        </a:rPr>
                        <a:t>0.147719</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5435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1836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4965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262843</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3463093629"/>
                  </a:ext>
                </a:extLst>
              </a:tr>
              <a:tr h="173583">
                <a:tc>
                  <a:txBody>
                    <a:bodyPr/>
                    <a:lstStyle/>
                    <a:p>
                      <a:pPr algn="l" fontAlgn="b"/>
                      <a:r>
                        <a:rPr lang="de-DE" sz="1600" u="none" strike="noStrike">
                          <a:effectLst/>
                        </a:rPr>
                        <a:t>Shiffstyp</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0.05331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953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838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1836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221249</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5929</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1820084207"/>
                  </a:ext>
                </a:extLst>
              </a:tr>
              <a:tr h="173583">
                <a:tc>
                  <a:txBody>
                    <a:bodyPr/>
                    <a:lstStyle/>
                    <a:p>
                      <a:pPr algn="l" fontAlgn="b"/>
                      <a:r>
                        <a:rPr lang="de-DE" sz="1600" u="none" strike="noStrike">
                          <a:effectLst/>
                        </a:rPr>
                        <a:t>Gefahrgut</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0.090737</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67847</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4505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49654</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highlight>
                            <a:srgbClr val="FFFF00"/>
                          </a:highlight>
                        </a:rPr>
                        <a:t>-0.221249</a:t>
                      </a:r>
                      <a:endParaRPr lang="de-DE" sz="1600" b="0" i="0" u="none" strike="noStrike">
                        <a:solidFill>
                          <a:srgbClr val="000000"/>
                        </a:solidFill>
                        <a:effectLst/>
                        <a:highlight>
                          <a:srgbClr val="FFFF00"/>
                        </a:highligh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90571</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156806931"/>
                  </a:ext>
                </a:extLst>
              </a:tr>
              <a:tr h="173583">
                <a:tc>
                  <a:txBody>
                    <a:bodyPr/>
                    <a:lstStyle/>
                    <a:p>
                      <a:pPr algn="l" fontAlgn="b"/>
                      <a:r>
                        <a:rPr lang="de-DE" sz="1600" u="none" strike="noStrike">
                          <a:effectLst/>
                        </a:rPr>
                        <a:t>Ankunftszeit</a:t>
                      </a:r>
                      <a:endParaRPr lang="de-DE" sz="1600" b="1" i="0" u="none" strike="noStrike">
                        <a:solidFill>
                          <a:srgbClr val="FFFFFF"/>
                        </a:solidFill>
                        <a:effectLst/>
                        <a:latin typeface="Liberation Sans"/>
                      </a:endParaRPr>
                    </a:p>
                  </a:txBody>
                  <a:tcPr marL="7547" marR="7547" marT="7547" marB="0" anchor="b"/>
                </a:tc>
                <a:tc>
                  <a:txBody>
                    <a:bodyPr/>
                    <a:lstStyle/>
                    <a:p>
                      <a:pPr algn="r" fontAlgn="b"/>
                      <a:r>
                        <a:rPr lang="de-DE" sz="1600" u="none" strike="noStrike">
                          <a:effectLst/>
                        </a:rPr>
                        <a:t>0.999979</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97362</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188130</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262843</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55929</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0.090571</a:t>
                      </a:r>
                      <a:endParaRPr lang="de-DE" sz="1600" b="0" i="0" u="none" strike="noStrike">
                        <a:solidFill>
                          <a:srgbClr val="000000"/>
                        </a:solidFill>
                        <a:effectLst/>
                        <a:latin typeface="Liberation Sans"/>
                      </a:endParaRPr>
                    </a:p>
                  </a:txBody>
                  <a:tcPr marL="7547" marR="7547" marT="7547" marB="0" anchor="b"/>
                </a:tc>
                <a:tc>
                  <a:txBody>
                    <a:bodyPr/>
                    <a:lstStyle/>
                    <a:p>
                      <a:pPr algn="r" fontAlgn="b"/>
                      <a:r>
                        <a:rPr lang="de-DE" sz="1600" u="none" strike="noStrike">
                          <a:effectLst/>
                        </a:rPr>
                        <a:t>1.000000</a:t>
                      </a:r>
                      <a:endParaRPr lang="de-DE" sz="1600" b="0" i="0" u="none" strike="noStrike">
                        <a:solidFill>
                          <a:srgbClr val="000000"/>
                        </a:solidFill>
                        <a:effectLst/>
                        <a:latin typeface="Liberation Sans"/>
                      </a:endParaRPr>
                    </a:p>
                  </a:txBody>
                  <a:tcPr marL="7547" marR="7547" marT="7547" marB="0" anchor="b"/>
                </a:tc>
                <a:extLst>
                  <a:ext uri="{0D108BD9-81ED-4DB2-BD59-A6C34878D82A}">
                    <a16:rowId xmlns:a16="http://schemas.microsoft.com/office/drawing/2014/main" val="1723186383"/>
                  </a:ext>
                </a:extLst>
              </a:tr>
            </a:tbl>
          </a:graphicData>
        </a:graphic>
      </p:graphicFrame>
      <p:sp>
        <p:nvSpPr>
          <p:cNvPr id="10" name="Rechteck: abgerundete Ecken 9">
            <a:hlinkClick r:id="rId2" action="ppaction://hlinksldjump"/>
            <a:extLst>
              <a:ext uri="{FF2B5EF4-FFF2-40B4-BE49-F238E27FC236}">
                <a16:creationId xmlns:a16="http://schemas.microsoft.com/office/drawing/2014/main" id="{D27CC319-A627-45ED-BBBF-3160E73A953C}"/>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2" name="Grafik 11" descr="Kreis mit Pfeil nach links mit einfarbiger Füllung">
            <a:hlinkClick r:id="rId2" action="ppaction://hlinksldjump"/>
            <a:extLst>
              <a:ext uri="{FF2B5EF4-FFF2-40B4-BE49-F238E27FC236}">
                <a16:creationId xmlns:a16="http://schemas.microsoft.com/office/drawing/2014/main" id="{1A05BA1A-E734-431E-A236-589E309ECE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14107186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Modellierung</a:t>
            </a: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6" name="Textplatzhalter 5">
            <a:extLst>
              <a:ext uri="{FF2B5EF4-FFF2-40B4-BE49-F238E27FC236}">
                <a16:creationId xmlns:a16="http://schemas.microsoft.com/office/drawing/2014/main" id="{D5E1C403-D519-4760-BC98-8DFC502C19D7}"/>
              </a:ext>
            </a:extLst>
          </p:cNvPr>
          <p:cNvSpPr>
            <a:spLocks noGrp="1"/>
          </p:cNvSpPr>
          <p:nvPr>
            <p:ph type="body" sz="quarter" idx="10"/>
          </p:nvPr>
        </p:nvSpPr>
        <p:spPr/>
        <p:txBody>
          <a:bodyPr/>
          <a:lstStyle/>
          <a:p>
            <a:r>
              <a:rPr lang="de-DE"/>
              <a:t>Korrelation </a:t>
            </a:r>
            <a:r>
              <a:rPr lang="de-DE" err="1"/>
              <a:t>DyNamisches</a:t>
            </a:r>
            <a:r>
              <a:rPr lang="de-DE"/>
              <a:t> </a:t>
            </a:r>
            <a:r>
              <a:rPr lang="de-DE" err="1"/>
              <a:t>MoDell</a:t>
            </a:r>
            <a:endParaRPr lang="de-DE"/>
          </a:p>
        </p:txBody>
      </p:sp>
      <p:graphicFrame>
        <p:nvGraphicFramePr>
          <p:cNvPr id="3" name="Tabelle 2">
            <a:extLst>
              <a:ext uri="{FF2B5EF4-FFF2-40B4-BE49-F238E27FC236}">
                <a16:creationId xmlns:a16="http://schemas.microsoft.com/office/drawing/2014/main" id="{BD5D4B69-9BFB-4286-944E-54833BA16973}"/>
              </a:ext>
            </a:extLst>
          </p:cNvPr>
          <p:cNvGraphicFramePr>
            <a:graphicFrameLocks noGrp="1"/>
          </p:cNvGraphicFramePr>
          <p:nvPr/>
        </p:nvGraphicFramePr>
        <p:xfrm>
          <a:off x="432400" y="1355371"/>
          <a:ext cx="11327199" cy="4599849"/>
        </p:xfrm>
        <a:graphic>
          <a:graphicData uri="http://schemas.openxmlformats.org/drawingml/2006/table">
            <a:tbl>
              <a:tblPr firstRow="1" firstCol="1" lastRow="1">
                <a:tableStyleId>{F5AB1C69-6EDB-4FF4-983F-18BD219EF322}</a:tableStyleId>
              </a:tblPr>
              <a:tblGrid>
                <a:gridCol w="2015601">
                  <a:extLst>
                    <a:ext uri="{9D8B030D-6E8A-4147-A177-3AD203B41FA5}">
                      <a16:colId xmlns:a16="http://schemas.microsoft.com/office/drawing/2014/main" val="1896062568"/>
                    </a:ext>
                  </a:extLst>
                </a:gridCol>
                <a:gridCol w="1030709">
                  <a:extLst>
                    <a:ext uri="{9D8B030D-6E8A-4147-A177-3AD203B41FA5}">
                      <a16:colId xmlns:a16="http://schemas.microsoft.com/office/drawing/2014/main" val="2814944360"/>
                    </a:ext>
                  </a:extLst>
                </a:gridCol>
                <a:gridCol w="1067569">
                  <a:extLst>
                    <a:ext uri="{9D8B030D-6E8A-4147-A177-3AD203B41FA5}">
                      <a16:colId xmlns:a16="http://schemas.microsoft.com/office/drawing/2014/main" val="3455771557"/>
                    </a:ext>
                  </a:extLst>
                </a:gridCol>
                <a:gridCol w="721283">
                  <a:extLst>
                    <a:ext uri="{9D8B030D-6E8A-4147-A177-3AD203B41FA5}">
                      <a16:colId xmlns:a16="http://schemas.microsoft.com/office/drawing/2014/main" val="3925239926"/>
                    </a:ext>
                  </a:extLst>
                </a:gridCol>
                <a:gridCol w="1147768">
                  <a:extLst>
                    <a:ext uri="{9D8B030D-6E8A-4147-A177-3AD203B41FA5}">
                      <a16:colId xmlns:a16="http://schemas.microsoft.com/office/drawing/2014/main" val="616977831"/>
                    </a:ext>
                  </a:extLst>
                </a:gridCol>
                <a:gridCol w="733831">
                  <a:extLst>
                    <a:ext uri="{9D8B030D-6E8A-4147-A177-3AD203B41FA5}">
                      <a16:colId xmlns:a16="http://schemas.microsoft.com/office/drawing/2014/main" val="1101350144"/>
                    </a:ext>
                  </a:extLst>
                </a:gridCol>
                <a:gridCol w="850237">
                  <a:extLst>
                    <a:ext uri="{9D8B030D-6E8A-4147-A177-3AD203B41FA5}">
                      <a16:colId xmlns:a16="http://schemas.microsoft.com/office/drawing/2014/main" val="2680299358"/>
                    </a:ext>
                  </a:extLst>
                </a:gridCol>
                <a:gridCol w="1257392">
                  <a:extLst>
                    <a:ext uri="{9D8B030D-6E8A-4147-A177-3AD203B41FA5}">
                      <a16:colId xmlns:a16="http://schemas.microsoft.com/office/drawing/2014/main" val="2176217131"/>
                    </a:ext>
                  </a:extLst>
                </a:gridCol>
                <a:gridCol w="778386">
                  <a:extLst>
                    <a:ext uri="{9D8B030D-6E8A-4147-A177-3AD203B41FA5}">
                      <a16:colId xmlns:a16="http://schemas.microsoft.com/office/drawing/2014/main" val="2170407873"/>
                    </a:ext>
                  </a:extLst>
                </a:gridCol>
                <a:gridCol w="802337">
                  <a:extLst>
                    <a:ext uri="{9D8B030D-6E8A-4147-A177-3AD203B41FA5}">
                      <a16:colId xmlns:a16="http://schemas.microsoft.com/office/drawing/2014/main" val="3104561917"/>
                    </a:ext>
                  </a:extLst>
                </a:gridCol>
                <a:gridCol w="922086">
                  <a:extLst>
                    <a:ext uri="{9D8B030D-6E8A-4147-A177-3AD203B41FA5}">
                      <a16:colId xmlns:a16="http://schemas.microsoft.com/office/drawing/2014/main" val="699809627"/>
                    </a:ext>
                  </a:extLst>
                </a:gridCol>
              </a:tblGrid>
              <a:tr h="329584">
                <a:tc>
                  <a:txBody>
                    <a:bodyPr/>
                    <a:lstStyle/>
                    <a:p>
                      <a:pPr algn="l" fontAlgn="b"/>
                      <a:r>
                        <a:rPr lang="de-DE" sz="1200" u="none" strike="noStrike">
                          <a:effectLst/>
                        </a:rPr>
                        <a:t>    </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 Entfernung</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Schleusen</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Tiefgang</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Wasserstand</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Schiffstyp</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Gefahrgut</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Geschwindigkeit</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Ferien</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Stoppzeit</a:t>
                      </a:r>
                      <a:endParaRPr lang="de-DE" sz="1200" b="1" i="0" u="none" strike="noStrike">
                        <a:solidFill>
                          <a:srgbClr val="FFFFFF"/>
                        </a:solidFill>
                        <a:effectLst/>
                        <a:latin typeface="Liberation Sans"/>
                      </a:endParaRPr>
                    </a:p>
                  </a:txBody>
                  <a:tcPr marL="4403" marR="4403" marT="4403" marB="0" anchor="b"/>
                </a:tc>
                <a:tc>
                  <a:txBody>
                    <a:bodyPr/>
                    <a:lstStyle/>
                    <a:p>
                      <a:pPr algn="l" fontAlgn="b"/>
                      <a:r>
                        <a:rPr lang="de-DE" sz="1200" u="none" strike="noStrike">
                          <a:effectLst/>
                        </a:rPr>
                        <a:t>aktuelle Zeit</a:t>
                      </a:r>
                      <a:endParaRPr lang="de-DE" sz="1200" b="1" i="0" u="none" strike="noStrike">
                        <a:solidFill>
                          <a:srgbClr val="FFFFFF"/>
                        </a:solidFill>
                        <a:effectLst/>
                        <a:latin typeface="Liberation Sans"/>
                      </a:endParaRPr>
                    </a:p>
                  </a:txBody>
                  <a:tcPr marL="4403" marR="4403" marT="4403" marB="0" anchor="b"/>
                </a:tc>
                <a:extLst>
                  <a:ext uri="{0D108BD9-81ED-4DB2-BD59-A6C34878D82A}">
                    <a16:rowId xmlns:a16="http://schemas.microsoft.com/office/drawing/2014/main" val="1767589580"/>
                  </a:ext>
                </a:extLst>
              </a:tr>
              <a:tr h="329584">
                <a:tc>
                  <a:txBody>
                    <a:bodyPr/>
                    <a:lstStyle/>
                    <a:p>
                      <a:pPr algn="l" fontAlgn="b"/>
                      <a:r>
                        <a:rPr lang="de-DE" sz="1200" u="none" strike="noStrike">
                          <a:effectLst/>
                        </a:rPr>
                        <a:t>ausstehende Entfernung</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439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64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451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5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15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6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9126</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08</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1886783907"/>
                  </a:ext>
                </a:extLst>
              </a:tr>
              <a:tr h="644841">
                <a:tc>
                  <a:txBody>
                    <a:bodyPr/>
                    <a:lstStyle/>
                    <a:p>
                      <a:pPr algn="l" fontAlgn="b"/>
                      <a:r>
                        <a:rPr lang="de-DE" sz="1200" u="none" strike="noStrike">
                          <a:effectLst/>
                        </a:rPr>
                        <a:t>Anzahl passierter Schleusen</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4399</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6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44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1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2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67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8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448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69</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3909130307"/>
                  </a:ext>
                </a:extLst>
              </a:tr>
              <a:tr h="329584">
                <a:tc>
                  <a:txBody>
                    <a:bodyPr/>
                    <a:lstStyle/>
                    <a:p>
                      <a:pPr algn="l" fontAlgn="b"/>
                      <a:r>
                        <a:rPr lang="de-DE" sz="1200" u="none" strike="noStrike">
                          <a:effectLst/>
                        </a:rPr>
                        <a:t>Tiefgang</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64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6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01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9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11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89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3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88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65</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1196779290"/>
                  </a:ext>
                </a:extLst>
              </a:tr>
              <a:tr h="329584">
                <a:tc>
                  <a:txBody>
                    <a:bodyPr/>
                    <a:lstStyle/>
                    <a:p>
                      <a:pPr algn="l" fontAlgn="b"/>
                      <a:r>
                        <a:rPr lang="de-DE" sz="1200" u="none" strike="noStrike">
                          <a:effectLst/>
                        </a:rPr>
                        <a:t>Wasserstand</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4518</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244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01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86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0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2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19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431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626</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347898510"/>
                  </a:ext>
                </a:extLst>
              </a:tr>
              <a:tr h="329584">
                <a:tc>
                  <a:txBody>
                    <a:bodyPr/>
                    <a:lstStyle/>
                    <a:p>
                      <a:pPr algn="l" fontAlgn="b"/>
                      <a:r>
                        <a:rPr lang="de-DE" sz="1200" u="none" strike="noStrike">
                          <a:effectLst/>
                        </a:rPr>
                        <a:t>Niedrigwasser</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02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39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9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96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3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1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6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60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27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85</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2712511553"/>
                  </a:ext>
                </a:extLst>
              </a:tr>
              <a:tr h="329584">
                <a:tc>
                  <a:txBody>
                    <a:bodyPr/>
                    <a:lstStyle/>
                    <a:p>
                      <a:pPr algn="l" fontAlgn="b"/>
                      <a:r>
                        <a:rPr lang="de-DE" sz="1200" u="none" strike="noStrike">
                          <a:effectLst/>
                        </a:rPr>
                        <a:t>Schifftstyp</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1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9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86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62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756</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2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90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67</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2394117415"/>
                  </a:ext>
                </a:extLst>
              </a:tr>
              <a:tr h="329584">
                <a:tc>
                  <a:txBody>
                    <a:bodyPr/>
                    <a:lstStyle/>
                    <a:p>
                      <a:pPr algn="l" fontAlgn="b"/>
                      <a:r>
                        <a:rPr lang="de-DE" sz="1200" u="none" strike="noStrike">
                          <a:effectLst/>
                        </a:rPr>
                        <a:t>Gefahrgut</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5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2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11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0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2621</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7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47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189</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1042576227"/>
                  </a:ext>
                </a:extLst>
              </a:tr>
              <a:tr h="329584">
                <a:tc>
                  <a:txBody>
                    <a:bodyPr/>
                    <a:lstStyle/>
                    <a:p>
                      <a:pPr algn="l" fontAlgn="b"/>
                      <a:r>
                        <a:rPr lang="de-DE" sz="1200" u="none" strike="noStrike">
                          <a:effectLst/>
                        </a:rPr>
                        <a:t>aktuelle Geschwindigkeit</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15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67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89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2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2756</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007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8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66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47</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1532952500"/>
                  </a:ext>
                </a:extLst>
              </a:tr>
              <a:tr h="329584">
                <a:tc>
                  <a:txBody>
                    <a:bodyPr/>
                    <a:lstStyle/>
                    <a:p>
                      <a:pPr algn="l" fontAlgn="b"/>
                      <a:r>
                        <a:rPr lang="de-DE" sz="1200" u="none" strike="noStrike">
                          <a:effectLst/>
                        </a:rPr>
                        <a:t>Ferien</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6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8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3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19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2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3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8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9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346</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3079603918"/>
                  </a:ext>
                </a:extLst>
              </a:tr>
              <a:tr h="329584">
                <a:tc>
                  <a:txBody>
                    <a:bodyPr/>
                    <a:lstStyle/>
                    <a:p>
                      <a:pPr algn="l" fontAlgn="b"/>
                      <a:r>
                        <a:rPr lang="de-DE" sz="1200" u="none" strike="noStrike">
                          <a:effectLst/>
                        </a:rPr>
                        <a:t>vorhergesagte Stoppzeit</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9126</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highlight>
                            <a:srgbClr val="FFFF00"/>
                          </a:highlight>
                        </a:rPr>
                        <a:t>-0.4485</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088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a:t>
                      </a:r>
                      <a:r>
                        <a:rPr lang="de-DE" sz="1200" u="none" strike="noStrike">
                          <a:effectLst/>
                          <a:highlight>
                            <a:srgbClr val="FFFF00"/>
                          </a:highlight>
                        </a:rPr>
                        <a:t>0.4314</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190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47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a:t>
                      </a:r>
                      <a:r>
                        <a:rPr lang="de-DE" sz="1200" u="none" strike="noStrike">
                          <a:effectLst/>
                          <a:highlight>
                            <a:srgbClr val="FFFF00"/>
                          </a:highlight>
                        </a:rPr>
                        <a:t>0.2665</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0594</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02</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3270139698"/>
                  </a:ext>
                </a:extLst>
              </a:tr>
              <a:tr h="329584">
                <a:tc>
                  <a:txBody>
                    <a:bodyPr/>
                    <a:lstStyle/>
                    <a:p>
                      <a:pPr algn="l" fontAlgn="b"/>
                      <a:r>
                        <a:rPr lang="de-DE" sz="1200" u="none" strike="noStrike">
                          <a:effectLst/>
                        </a:rPr>
                        <a:t>aktuelle Zeit</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0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36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06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a:t>
                      </a:r>
                      <a:r>
                        <a:rPr lang="de-DE" sz="1200" u="none" strike="noStrike">
                          <a:effectLst/>
                          <a:highlight>
                            <a:srgbClr val="FFFF00"/>
                          </a:highlight>
                        </a:rPr>
                        <a:t>0.2626</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056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189</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24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highlight>
                            <a:srgbClr val="FFFF00"/>
                          </a:highlight>
                        </a:rPr>
                        <a:t>0.2346</a:t>
                      </a:r>
                      <a:endParaRPr lang="de-DE" sz="1200" b="0" i="0" u="none" strike="noStrike">
                        <a:solidFill>
                          <a:srgbClr val="000000"/>
                        </a:solidFill>
                        <a:effectLst/>
                        <a:highlight>
                          <a:srgbClr val="FFFF00"/>
                        </a:highlight>
                        <a:latin typeface="Liberation Sans"/>
                      </a:endParaRPr>
                    </a:p>
                  </a:txBody>
                  <a:tcPr marL="4403" marR="4403" marT="4403" marB="0" anchor="b"/>
                </a:tc>
                <a:tc>
                  <a:txBody>
                    <a:bodyPr/>
                    <a:lstStyle/>
                    <a:p>
                      <a:pPr algn="r" fontAlgn="b"/>
                      <a:r>
                        <a:rPr lang="de-DE" sz="1200" u="none" strike="noStrike">
                          <a:effectLst/>
                        </a:rPr>
                        <a:t>0.0102</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1</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2209480463"/>
                  </a:ext>
                </a:extLst>
              </a:tr>
              <a:tr h="329584">
                <a:tc>
                  <a:txBody>
                    <a:bodyPr/>
                    <a:lstStyle/>
                    <a:p>
                      <a:pPr algn="l" fontAlgn="b"/>
                      <a:r>
                        <a:rPr lang="de-DE" sz="1200" u="none" strike="noStrike">
                          <a:effectLst/>
                        </a:rPr>
                        <a:t>verbleibende Tripdauer</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5685</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986</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05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78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2453</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19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3678</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1440</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5967</a:t>
                      </a:r>
                      <a:endParaRPr lang="de-DE" sz="1200" b="0" i="0" u="none" strike="noStrike">
                        <a:solidFill>
                          <a:srgbClr val="000000"/>
                        </a:solidFill>
                        <a:effectLst/>
                        <a:latin typeface="Liberation Sans"/>
                      </a:endParaRPr>
                    </a:p>
                  </a:txBody>
                  <a:tcPr marL="4403" marR="4403" marT="4403" marB="0" anchor="b"/>
                </a:tc>
                <a:tc>
                  <a:txBody>
                    <a:bodyPr/>
                    <a:lstStyle/>
                    <a:p>
                      <a:pPr algn="r" fontAlgn="b"/>
                      <a:r>
                        <a:rPr lang="de-DE" sz="1200" u="none" strike="noStrike">
                          <a:effectLst/>
                        </a:rPr>
                        <a:t>0.0587</a:t>
                      </a:r>
                      <a:endParaRPr lang="de-DE" sz="1200" b="0" i="0" u="none" strike="noStrike">
                        <a:solidFill>
                          <a:srgbClr val="000000"/>
                        </a:solidFill>
                        <a:effectLst/>
                        <a:latin typeface="Liberation Sans"/>
                      </a:endParaRPr>
                    </a:p>
                  </a:txBody>
                  <a:tcPr marL="4403" marR="4403" marT="4403" marB="0" anchor="b"/>
                </a:tc>
                <a:extLst>
                  <a:ext uri="{0D108BD9-81ED-4DB2-BD59-A6C34878D82A}">
                    <a16:rowId xmlns:a16="http://schemas.microsoft.com/office/drawing/2014/main" val="3854780347"/>
                  </a:ext>
                </a:extLst>
              </a:tr>
            </a:tbl>
          </a:graphicData>
        </a:graphic>
      </p:graphicFrame>
      <p:sp>
        <p:nvSpPr>
          <p:cNvPr id="9" name="Rechteck: abgerundete Ecken 8">
            <a:hlinkClick r:id="rId2" action="ppaction://hlinksldjump"/>
            <a:extLst>
              <a:ext uri="{FF2B5EF4-FFF2-40B4-BE49-F238E27FC236}">
                <a16:creationId xmlns:a16="http://schemas.microsoft.com/office/drawing/2014/main" id="{58C772CA-3C0A-4C6A-9625-1FF0A5633B92}"/>
              </a:ext>
            </a:extLst>
          </p:cNvPr>
          <p:cNvSpPr/>
          <p:nvPr/>
        </p:nvSpPr>
        <p:spPr>
          <a:xfrm>
            <a:off x="11283392" y="5981854"/>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0" name="Grafik 9" descr="Kreis mit Pfeil nach links mit einfarbiger Füllung">
            <a:hlinkClick r:id="rId2" action="ppaction://hlinksldjump"/>
            <a:extLst>
              <a:ext uri="{FF2B5EF4-FFF2-40B4-BE49-F238E27FC236}">
                <a16:creationId xmlns:a16="http://schemas.microsoft.com/office/drawing/2014/main" id="{9A91290B-180E-4223-915A-31DB25B0D0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11400983" y="6024230"/>
            <a:ext cx="215194" cy="215194"/>
          </a:xfrm>
          <a:prstGeom prst="rect">
            <a:avLst/>
          </a:prstGeom>
        </p:spPr>
      </p:pic>
    </p:spTree>
    <p:extLst>
      <p:ext uri="{BB962C8B-B14F-4D97-AF65-F5344CB8AC3E}">
        <p14:creationId xmlns:p14="http://schemas.microsoft.com/office/powerpoint/2010/main" val="1005962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descr="Ein Bild, das Himmel, Wasser, Boot, draußen enthält.&#10;&#10;Automatisch generierte Beschreibung">
            <a:extLst>
              <a:ext uri="{FF2B5EF4-FFF2-40B4-BE49-F238E27FC236}">
                <a16:creationId xmlns:a16="http://schemas.microsoft.com/office/drawing/2014/main" id="{9466B8E0-903E-4914-9488-6A95075EE0E4}"/>
              </a:ext>
            </a:extLst>
          </p:cNvPr>
          <p:cNvPicPr>
            <a:picLocks noChangeAspect="1"/>
          </p:cNvPicPr>
          <p:nvPr/>
        </p:nvPicPr>
        <p:blipFill rotWithShape="1">
          <a:blip r:embed="rId3">
            <a:extLst>
              <a:ext uri="{28A0092B-C50C-407E-A947-70E740481C1C}">
                <a14:useLocalDpi xmlns:a14="http://schemas.microsoft.com/office/drawing/2010/main" val="0"/>
              </a:ext>
            </a:extLst>
          </a:blip>
          <a:srcRect t="8068" b="14806"/>
          <a:stretch/>
        </p:blipFill>
        <p:spPr>
          <a:xfrm>
            <a:off x="1700" y="921601"/>
            <a:ext cx="12192000" cy="5289231"/>
          </a:xfrm>
          <a:prstGeom prst="rect">
            <a:avLst/>
          </a:prstGeom>
        </p:spPr>
      </p:pic>
      <p:sp>
        <p:nvSpPr>
          <p:cNvPr id="63" name="Rechteck: abgerundete Ecken 62">
            <a:extLst>
              <a:ext uri="{FF2B5EF4-FFF2-40B4-BE49-F238E27FC236}">
                <a16:creationId xmlns:a16="http://schemas.microsoft.com/office/drawing/2014/main" id="{F60C1185-9A96-4038-9710-EC5289A1B893}"/>
              </a:ext>
            </a:extLst>
          </p:cNvPr>
          <p:cNvSpPr/>
          <p:nvPr/>
        </p:nvSpPr>
        <p:spPr>
          <a:xfrm>
            <a:off x="-323400" y="1018402"/>
            <a:ext cx="4207806" cy="1204098"/>
          </a:xfrm>
          <a:prstGeom prst="roundRect">
            <a:avLst/>
          </a:prstGeom>
          <a:solidFill>
            <a:srgbClr val="FEA15E">
              <a:alpha val="43922"/>
            </a:srgb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2" name="Titel 1">
            <a:extLst>
              <a:ext uri="{FF2B5EF4-FFF2-40B4-BE49-F238E27FC236}">
                <a16:creationId xmlns:a16="http://schemas.microsoft.com/office/drawing/2014/main" id="{5C404AE5-A648-4944-AC2D-C52C26B04543}"/>
              </a:ext>
            </a:extLst>
          </p:cNvPr>
          <p:cNvSpPr>
            <a:spLocks noGrp="1"/>
          </p:cNvSpPr>
          <p:nvPr>
            <p:ph type="title"/>
          </p:nvPr>
        </p:nvSpPr>
        <p:spPr/>
        <p:txBody>
          <a:bodyPr/>
          <a:lstStyle/>
          <a:p>
            <a:r>
              <a:rPr lang="de-DE"/>
              <a:t>Problemidentifikation</a:t>
            </a:r>
          </a:p>
        </p:txBody>
      </p:sp>
      <p:sp>
        <p:nvSpPr>
          <p:cNvPr id="4" name="Fußzeilenplatzhalter 3">
            <a:extLst>
              <a:ext uri="{FF2B5EF4-FFF2-40B4-BE49-F238E27FC236}">
                <a16:creationId xmlns:a16="http://schemas.microsoft.com/office/drawing/2014/main" id="{8B7B9FF0-BECE-4FF8-B3AD-8AD331F7E501}"/>
              </a:ext>
            </a:extLst>
          </p:cNvPr>
          <p:cNvSpPr>
            <a:spLocks noGrp="1"/>
          </p:cNvSpPr>
          <p:nvPr>
            <p:ph type="ftr" sz="quarter" idx="11"/>
          </p:nvPr>
        </p:nvSpPr>
        <p:spPr/>
        <p:txBody>
          <a:bodyPr/>
          <a:lstStyle/>
          <a:p>
            <a:pPr>
              <a:spcBef>
                <a:spcPct val="20000"/>
              </a:spcBef>
            </a:pPr>
            <a:r>
              <a:rPr lang="de-DE"/>
              <a:t>SCA Case Study – 28.07.2021</a:t>
            </a:r>
          </a:p>
        </p:txBody>
      </p:sp>
      <p:sp>
        <p:nvSpPr>
          <p:cNvPr id="3" name="Textfeld 2">
            <a:extLst>
              <a:ext uri="{FF2B5EF4-FFF2-40B4-BE49-F238E27FC236}">
                <a16:creationId xmlns:a16="http://schemas.microsoft.com/office/drawing/2014/main" id="{2E66DEE5-7834-4313-80F1-5D76AA2E0CAD}"/>
              </a:ext>
            </a:extLst>
          </p:cNvPr>
          <p:cNvSpPr txBox="1"/>
          <p:nvPr/>
        </p:nvSpPr>
        <p:spPr bwMode="auto">
          <a:xfrm>
            <a:off x="534000" y="962198"/>
            <a:ext cx="3594100" cy="509063"/>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de-DE" sz="1600" b="1">
                <a:solidFill>
                  <a:schemeClr val="tx2"/>
                </a:solidFill>
              </a:rPr>
              <a:t>R O T </a:t>
            </a:r>
            <a:r>
              <a:rPr lang="de-DE" sz="1600" b="1" err="1">
                <a:solidFill>
                  <a:schemeClr val="tx2"/>
                </a:solidFill>
              </a:rPr>
              <a:t>T</a:t>
            </a:r>
            <a:r>
              <a:rPr lang="de-DE" sz="1600" b="1">
                <a:solidFill>
                  <a:schemeClr val="tx2"/>
                </a:solidFill>
              </a:rPr>
              <a:t> E R D A M</a:t>
            </a:r>
          </a:p>
        </p:txBody>
      </p:sp>
      <p:grpSp>
        <p:nvGrpSpPr>
          <p:cNvPr id="57" name="Gruppieren 56">
            <a:extLst>
              <a:ext uri="{FF2B5EF4-FFF2-40B4-BE49-F238E27FC236}">
                <a16:creationId xmlns:a16="http://schemas.microsoft.com/office/drawing/2014/main" id="{63334F46-93FD-4601-8AB9-F3F73EE8535F}"/>
              </a:ext>
            </a:extLst>
          </p:cNvPr>
          <p:cNvGrpSpPr/>
          <p:nvPr/>
        </p:nvGrpSpPr>
        <p:grpSpPr>
          <a:xfrm>
            <a:off x="570306" y="1389833"/>
            <a:ext cx="360000" cy="360000"/>
            <a:chOff x="660400" y="1438920"/>
            <a:chExt cx="504000" cy="504000"/>
          </a:xfrm>
        </p:grpSpPr>
        <p:sp>
          <p:nvSpPr>
            <p:cNvPr id="58" name="Ellipse 57">
              <a:extLst>
                <a:ext uri="{FF2B5EF4-FFF2-40B4-BE49-F238E27FC236}">
                  <a16:creationId xmlns:a16="http://schemas.microsoft.com/office/drawing/2014/main" id="{19BD54C5-2BED-45CE-A49E-3B40FCAA0A30}"/>
                </a:ext>
              </a:extLst>
            </p:cNvPr>
            <p:cNvSpPr/>
            <p:nvPr/>
          </p:nvSpPr>
          <p:spPr>
            <a:xfrm>
              <a:off x="660400" y="1438920"/>
              <a:ext cx="504000" cy="5040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9" name="Grafik 58" descr="Schlepper mit einfarbiger Füllung">
              <a:extLst>
                <a:ext uri="{FF2B5EF4-FFF2-40B4-BE49-F238E27FC236}">
                  <a16:creationId xmlns:a16="http://schemas.microsoft.com/office/drawing/2014/main" id="{3D558B68-2E4F-462B-A37F-18FC9B2402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1324" y="1496846"/>
              <a:ext cx="356751" cy="356751"/>
            </a:xfrm>
            <a:prstGeom prst="rect">
              <a:avLst/>
            </a:prstGeom>
          </p:spPr>
        </p:pic>
      </p:grpSp>
      <p:grpSp>
        <p:nvGrpSpPr>
          <p:cNvPr id="60" name="Gruppieren 59">
            <a:extLst>
              <a:ext uri="{FF2B5EF4-FFF2-40B4-BE49-F238E27FC236}">
                <a16:creationId xmlns:a16="http://schemas.microsoft.com/office/drawing/2014/main" id="{977C764D-CB54-402D-8B16-81903E8E3354}"/>
              </a:ext>
            </a:extLst>
          </p:cNvPr>
          <p:cNvGrpSpPr/>
          <p:nvPr/>
        </p:nvGrpSpPr>
        <p:grpSpPr>
          <a:xfrm>
            <a:off x="570306" y="1791209"/>
            <a:ext cx="360000" cy="360000"/>
            <a:chOff x="574075" y="1403617"/>
            <a:chExt cx="360000" cy="360000"/>
          </a:xfrm>
        </p:grpSpPr>
        <p:sp>
          <p:nvSpPr>
            <p:cNvPr id="55" name="Ellipse 54">
              <a:extLst>
                <a:ext uri="{FF2B5EF4-FFF2-40B4-BE49-F238E27FC236}">
                  <a16:creationId xmlns:a16="http://schemas.microsoft.com/office/drawing/2014/main" id="{D8FE41F9-13EC-4C55-8F9C-BE01AE6440FF}"/>
                </a:ext>
              </a:extLst>
            </p:cNvPr>
            <p:cNvSpPr/>
            <p:nvPr/>
          </p:nvSpPr>
          <p:spPr>
            <a:xfrm>
              <a:off x="574075" y="1403617"/>
              <a:ext cx="360000" cy="360000"/>
            </a:xfrm>
            <a:prstGeom prst="ellipse">
              <a:avLst/>
            </a:prstGeom>
            <a:solidFill>
              <a:schemeClr val="accent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4" name="Grafik 53" descr="Lager mit einfarbiger Füllung">
              <a:extLst>
                <a:ext uri="{FF2B5EF4-FFF2-40B4-BE49-F238E27FC236}">
                  <a16:creationId xmlns:a16="http://schemas.microsoft.com/office/drawing/2014/main" id="{CC84B22C-B883-4825-9B3C-84C127550F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0381" y="1432995"/>
              <a:ext cx="281463" cy="281463"/>
            </a:xfrm>
            <a:prstGeom prst="rect">
              <a:avLst/>
            </a:prstGeom>
          </p:spPr>
        </p:pic>
      </p:grpSp>
      <p:sp>
        <p:nvSpPr>
          <p:cNvPr id="61" name="Textfeld 60">
            <a:extLst>
              <a:ext uri="{FF2B5EF4-FFF2-40B4-BE49-F238E27FC236}">
                <a16:creationId xmlns:a16="http://schemas.microsoft.com/office/drawing/2014/main" id="{8EBE1391-CA26-48EC-A2B2-C001315CD58D}"/>
              </a:ext>
            </a:extLst>
          </p:cNvPr>
          <p:cNvSpPr txBox="1"/>
          <p:nvPr/>
        </p:nvSpPr>
        <p:spPr bwMode="auto">
          <a:xfrm>
            <a:off x="930306" y="1351507"/>
            <a:ext cx="3594100" cy="374059"/>
          </a:xfrm>
          <a:prstGeom prst="rect">
            <a:avLst/>
          </a:prstGeom>
          <a:noFill/>
          <a:ln w="6350">
            <a:noFill/>
            <a:prstDash val="solid"/>
            <a:miter lim="800000"/>
            <a:headEnd/>
            <a:tailEnd/>
          </a:ln>
        </p:spPr>
        <p:txBody>
          <a:bodyPr wrap="square" lIns="72000" rIns="72000" rtlCol="0" anchor="ctr">
            <a:noAutofit/>
          </a:bodyPr>
          <a:lstStyle/>
          <a:p>
            <a:pPr>
              <a:lnSpc>
                <a:spcPct val="125000"/>
              </a:lnSpc>
              <a:spcAft>
                <a:spcPts val="400"/>
              </a:spcAft>
              <a:buClr>
                <a:schemeClr val="accent1"/>
              </a:buClr>
            </a:pPr>
            <a:r>
              <a:rPr lang="de-DE" sz="1200" b="1">
                <a:solidFill>
                  <a:schemeClr val="tx2"/>
                </a:solidFill>
              </a:rPr>
              <a:t>100.000 Binnenschiffs-Anläufe </a:t>
            </a:r>
            <a:r>
              <a:rPr lang="de-DE" sz="1000" b="1">
                <a:solidFill>
                  <a:schemeClr val="tx2"/>
                </a:solidFill>
              </a:rPr>
              <a:t>p. a.</a:t>
            </a:r>
            <a:endParaRPr lang="de-DE" sz="1200" b="1">
              <a:solidFill>
                <a:schemeClr val="tx2"/>
              </a:solidFill>
            </a:endParaRPr>
          </a:p>
        </p:txBody>
      </p:sp>
      <p:sp>
        <p:nvSpPr>
          <p:cNvPr id="62" name="Textfeld 61">
            <a:extLst>
              <a:ext uri="{FF2B5EF4-FFF2-40B4-BE49-F238E27FC236}">
                <a16:creationId xmlns:a16="http://schemas.microsoft.com/office/drawing/2014/main" id="{04CC9739-DA0C-4541-A08B-2234318A5CDE}"/>
              </a:ext>
            </a:extLst>
          </p:cNvPr>
          <p:cNvSpPr txBox="1"/>
          <p:nvPr/>
        </p:nvSpPr>
        <p:spPr bwMode="auto">
          <a:xfrm>
            <a:off x="924381" y="1760059"/>
            <a:ext cx="3594100" cy="374059"/>
          </a:xfrm>
          <a:prstGeom prst="rect">
            <a:avLst/>
          </a:prstGeom>
          <a:noFill/>
          <a:ln w="6350">
            <a:noFill/>
            <a:prstDash val="solid"/>
            <a:miter lim="800000"/>
            <a:headEnd/>
            <a:tailEnd/>
          </a:ln>
        </p:spPr>
        <p:txBody>
          <a:bodyPr wrap="square" lIns="72000" rIns="72000" rtlCol="0" anchor="ctr">
            <a:noAutofit/>
          </a:bodyPr>
          <a:lstStyle/>
          <a:p>
            <a:pPr>
              <a:lnSpc>
                <a:spcPct val="125000"/>
              </a:lnSpc>
              <a:spcAft>
                <a:spcPts val="400"/>
              </a:spcAft>
              <a:buClr>
                <a:schemeClr val="accent1"/>
              </a:buClr>
            </a:pPr>
            <a:r>
              <a:rPr lang="de-DE" sz="1200" b="1">
                <a:solidFill>
                  <a:schemeClr val="tx2"/>
                </a:solidFill>
              </a:rPr>
              <a:t>150 Mio. t Güter </a:t>
            </a:r>
            <a:r>
              <a:rPr lang="de-DE" sz="1000" b="1">
                <a:solidFill>
                  <a:schemeClr val="tx2"/>
                </a:solidFill>
              </a:rPr>
              <a:t>p. a.</a:t>
            </a:r>
            <a:endParaRPr lang="de-DE" sz="1200" b="1">
              <a:solidFill>
                <a:schemeClr val="tx2"/>
              </a:solidFill>
            </a:endParaRPr>
          </a:p>
        </p:txBody>
      </p:sp>
      <p:grpSp>
        <p:nvGrpSpPr>
          <p:cNvPr id="178" name="Gruppieren 177">
            <a:extLst>
              <a:ext uri="{FF2B5EF4-FFF2-40B4-BE49-F238E27FC236}">
                <a16:creationId xmlns:a16="http://schemas.microsoft.com/office/drawing/2014/main" id="{0C0A27ED-240E-4D01-949B-2A2DF6E77EE2}"/>
              </a:ext>
            </a:extLst>
          </p:cNvPr>
          <p:cNvGrpSpPr/>
          <p:nvPr/>
        </p:nvGrpSpPr>
        <p:grpSpPr>
          <a:xfrm>
            <a:off x="4896003" y="1634534"/>
            <a:ext cx="1953475" cy="1809672"/>
            <a:chOff x="4896003" y="1634534"/>
            <a:chExt cx="1953475" cy="1809672"/>
          </a:xfrm>
        </p:grpSpPr>
        <p:sp>
          <p:nvSpPr>
            <p:cNvPr id="76" name="Ellipse 75">
              <a:extLst>
                <a:ext uri="{FF2B5EF4-FFF2-40B4-BE49-F238E27FC236}">
                  <a16:creationId xmlns:a16="http://schemas.microsoft.com/office/drawing/2014/main" id="{565486AF-4A87-462E-AD64-1B07FEE0B51E}"/>
                </a:ext>
              </a:extLst>
            </p:cNvPr>
            <p:cNvSpPr/>
            <p:nvPr/>
          </p:nvSpPr>
          <p:spPr>
            <a:xfrm>
              <a:off x="4896003" y="2132037"/>
              <a:ext cx="505494" cy="481681"/>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0" name="Grafik 49" descr="Wolke mit Blitz und Regen mit einfarbiger Füllung">
              <a:extLst>
                <a:ext uri="{FF2B5EF4-FFF2-40B4-BE49-F238E27FC236}">
                  <a16:creationId xmlns:a16="http://schemas.microsoft.com/office/drawing/2014/main" id="{70B7D21D-86C1-479B-B501-A1C71FEEE6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20609" y="2151048"/>
              <a:ext cx="481682" cy="481682"/>
            </a:xfrm>
            <a:prstGeom prst="rect">
              <a:avLst/>
            </a:prstGeom>
          </p:spPr>
        </p:pic>
        <p:sp>
          <p:nvSpPr>
            <p:cNvPr id="78" name="Ellipse 77">
              <a:extLst>
                <a:ext uri="{FF2B5EF4-FFF2-40B4-BE49-F238E27FC236}">
                  <a16:creationId xmlns:a16="http://schemas.microsoft.com/office/drawing/2014/main" id="{FFEE57A5-8B65-4433-B4DB-9701EF54F60D}"/>
                </a:ext>
              </a:extLst>
            </p:cNvPr>
            <p:cNvSpPr/>
            <p:nvPr/>
          </p:nvSpPr>
          <p:spPr>
            <a:xfrm>
              <a:off x="4947559" y="2672288"/>
              <a:ext cx="505494" cy="481681"/>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6" name="Grafik 45" descr="Welle mit einfarbiger Füllung">
              <a:extLst>
                <a:ext uri="{FF2B5EF4-FFF2-40B4-BE49-F238E27FC236}">
                  <a16:creationId xmlns:a16="http://schemas.microsoft.com/office/drawing/2014/main" id="{299EECE5-CECE-4BF7-80FB-B1E223EC02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92945" y="2662916"/>
              <a:ext cx="436602" cy="436602"/>
            </a:xfrm>
            <a:prstGeom prst="rect">
              <a:avLst/>
            </a:prstGeom>
          </p:spPr>
        </p:pic>
        <p:grpSp>
          <p:nvGrpSpPr>
            <p:cNvPr id="32" name="Gruppieren 31">
              <a:extLst>
                <a:ext uri="{FF2B5EF4-FFF2-40B4-BE49-F238E27FC236}">
                  <a16:creationId xmlns:a16="http://schemas.microsoft.com/office/drawing/2014/main" id="{3101D436-4065-46AD-85F2-3A7EBEED8BE3}"/>
                </a:ext>
              </a:extLst>
            </p:cNvPr>
            <p:cNvGrpSpPr/>
            <p:nvPr/>
          </p:nvGrpSpPr>
          <p:grpSpPr>
            <a:xfrm>
              <a:off x="5410998" y="1634534"/>
              <a:ext cx="505494" cy="481681"/>
              <a:chOff x="5862900" y="1642576"/>
              <a:chExt cx="505494" cy="481681"/>
            </a:xfrm>
          </p:grpSpPr>
          <p:sp>
            <p:nvSpPr>
              <p:cNvPr id="106" name="Ellipse 105">
                <a:extLst>
                  <a:ext uri="{FF2B5EF4-FFF2-40B4-BE49-F238E27FC236}">
                    <a16:creationId xmlns:a16="http://schemas.microsoft.com/office/drawing/2014/main" id="{A2C29802-1DAD-4FEE-BBAA-12505E89A2F3}"/>
                  </a:ext>
                </a:extLst>
              </p:cNvPr>
              <p:cNvSpPr/>
              <p:nvPr/>
            </p:nvSpPr>
            <p:spPr>
              <a:xfrm>
                <a:off x="5862900" y="1642576"/>
                <a:ext cx="505494" cy="481681"/>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87" name="Bildplatzhalter 12" descr="Anker mit einfarbiger Füllung">
                <a:extLst>
                  <a:ext uri="{FF2B5EF4-FFF2-40B4-BE49-F238E27FC236}">
                    <a16:creationId xmlns:a16="http://schemas.microsoft.com/office/drawing/2014/main" id="{D36822D4-4E43-4E4F-BE86-AFF8211FD402}"/>
                  </a:ext>
                </a:extLst>
              </p:cNvPr>
              <p:cNvSpPr/>
              <p:nvPr/>
            </p:nvSpPr>
            <p:spPr>
              <a:xfrm>
                <a:off x="5978627" y="1712059"/>
                <a:ext cx="268273" cy="307090"/>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rgbClr val="EED3BF"/>
              </a:solidFill>
              <a:ln w="16371" cap="flat">
                <a:noFill/>
                <a:prstDash val="solid"/>
                <a:miter/>
              </a:ln>
            </p:spPr>
            <p:txBody>
              <a:bodyPr rtlCol="0" anchor="ctr"/>
              <a:lstStyle/>
              <a:p>
                <a:endParaRPr lang="de-DE"/>
              </a:p>
            </p:txBody>
          </p:sp>
        </p:grpSp>
        <p:grpSp>
          <p:nvGrpSpPr>
            <p:cNvPr id="34" name="Gruppieren 33">
              <a:extLst>
                <a:ext uri="{FF2B5EF4-FFF2-40B4-BE49-F238E27FC236}">
                  <a16:creationId xmlns:a16="http://schemas.microsoft.com/office/drawing/2014/main" id="{A553B1F3-C60E-4523-AD6B-12C6B259AF5A}"/>
                </a:ext>
              </a:extLst>
            </p:cNvPr>
            <p:cNvGrpSpPr/>
            <p:nvPr/>
          </p:nvGrpSpPr>
          <p:grpSpPr>
            <a:xfrm>
              <a:off x="6343984" y="2151048"/>
              <a:ext cx="505494" cy="481681"/>
              <a:chOff x="6408310" y="2239573"/>
              <a:chExt cx="505494" cy="481681"/>
            </a:xfrm>
          </p:grpSpPr>
          <p:sp>
            <p:nvSpPr>
              <p:cNvPr id="82" name="Ellipse 81">
                <a:extLst>
                  <a:ext uri="{FF2B5EF4-FFF2-40B4-BE49-F238E27FC236}">
                    <a16:creationId xmlns:a16="http://schemas.microsoft.com/office/drawing/2014/main" id="{045E3708-FBEF-4217-9D03-F4ED5E03C49B}"/>
                  </a:ext>
                </a:extLst>
              </p:cNvPr>
              <p:cNvSpPr/>
              <p:nvPr/>
            </p:nvSpPr>
            <p:spPr>
              <a:xfrm>
                <a:off x="6408310" y="2239573"/>
                <a:ext cx="505494" cy="481681"/>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4" name="Grafik 43" descr="Wasserkraft mit einfarbiger Füllung">
                <a:extLst>
                  <a:ext uri="{FF2B5EF4-FFF2-40B4-BE49-F238E27FC236}">
                    <a16:creationId xmlns:a16="http://schemas.microsoft.com/office/drawing/2014/main" id="{CA34C877-21E6-4A3C-9B10-8056AA88BF9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520" y="2315180"/>
                <a:ext cx="344407" cy="344407"/>
              </a:xfrm>
              <a:prstGeom prst="rect">
                <a:avLst/>
              </a:prstGeom>
            </p:spPr>
          </p:pic>
        </p:grpSp>
        <p:grpSp>
          <p:nvGrpSpPr>
            <p:cNvPr id="30" name="Gruppieren 29">
              <a:extLst>
                <a:ext uri="{FF2B5EF4-FFF2-40B4-BE49-F238E27FC236}">
                  <a16:creationId xmlns:a16="http://schemas.microsoft.com/office/drawing/2014/main" id="{507E5650-BCD9-4475-A2B5-661DD0BC74C0}"/>
                </a:ext>
              </a:extLst>
            </p:cNvPr>
            <p:cNvGrpSpPr/>
            <p:nvPr/>
          </p:nvGrpSpPr>
          <p:grpSpPr>
            <a:xfrm>
              <a:off x="6005718" y="2962525"/>
              <a:ext cx="505494" cy="481681"/>
              <a:chOff x="13793172" y="4648926"/>
              <a:chExt cx="505494" cy="481681"/>
            </a:xfrm>
          </p:grpSpPr>
          <p:sp>
            <p:nvSpPr>
              <p:cNvPr id="108" name="Ellipse 107">
                <a:extLst>
                  <a:ext uri="{FF2B5EF4-FFF2-40B4-BE49-F238E27FC236}">
                    <a16:creationId xmlns:a16="http://schemas.microsoft.com/office/drawing/2014/main" id="{ECA41D3A-81F1-4E27-92C5-DF5468E4D9C8}"/>
                  </a:ext>
                </a:extLst>
              </p:cNvPr>
              <p:cNvSpPr/>
              <p:nvPr/>
            </p:nvSpPr>
            <p:spPr>
              <a:xfrm>
                <a:off x="13793172" y="4648926"/>
                <a:ext cx="505494" cy="481681"/>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88" name="Gruppieren 87">
                <a:extLst>
                  <a:ext uri="{FF2B5EF4-FFF2-40B4-BE49-F238E27FC236}">
                    <a16:creationId xmlns:a16="http://schemas.microsoft.com/office/drawing/2014/main" id="{D48FF817-CC4E-441D-866C-D108FAC9E315}"/>
                  </a:ext>
                </a:extLst>
              </p:cNvPr>
              <p:cNvGrpSpPr/>
              <p:nvPr/>
            </p:nvGrpSpPr>
            <p:grpSpPr>
              <a:xfrm>
                <a:off x="13906324" y="4693120"/>
                <a:ext cx="304589" cy="357779"/>
                <a:chOff x="5745080" y="1534870"/>
                <a:chExt cx="744550" cy="874572"/>
              </a:xfrm>
              <a:solidFill>
                <a:srgbClr val="EED3BF"/>
              </a:solidFill>
            </p:grpSpPr>
            <p:grpSp>
              <p:nvGrpSpPr>
                <p:cNvPr id="90" name="Gruppieren 89">
                  <a:extLst>
                    <a:ext uri="{FF2B5EF4-FFF2-40B4-BE49-F238E27FC236}">
                      <a16:creationId xmlns:a16="http://schemas.microsoft.com/office/drawing/2014/main" id="{FCF53EC0-B3A4-4904-B42C-7396A70B8668}"/>
                    </a:ext>
                  </a:extLst>
                </p:cNvPr>
                <p:cNvGrpSpPr/>
                <p:nvPr/>
              </p:nvGrpSpPr>
              <p:grpSpPr>
                <a:xfrm>
                  <a:off x="5745080" y="1965727"/>
                  <a:ext cx="744550" cy="443715"/>
                  <a:chOff x="9316970" y="1884825"/>
                  <a:chExt cx="1514374" cy="947540"/>
                </a:xfrm>
                <a:grpFill/>
              </p:grpSpPr>
              <p:sp>
                <p:nvSpPr>
                  <p:cNvPr id="96" name="Bildplatzhalter 14" descr="Fracht mit einfarbiger Füllung">
                    <a:extLst>
                      <a:ext uri="{FF2B5EF4-FFF2-40B4-BE49-F238E27FC236}">
                        <a16:creationId xmlns:a16="http://schemas.microsoft.com/office/drawing/2014/main" id="{70B9F144-D203-433A-8F56-C5A1BEB4A60F}"/>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97" name="Bildplatzhalter 14" descr="Fracht mit einfarbiger Füllung">
                    <a:extLst>
                      <a:ext uri="{FF2B5EF4-FFF2-40B4-BE49-F238E27FC236}">
                        <a16:creationId xmlns:a16="http://schemas.microsoft.com/office/drawing/2014/main" id="{0C9FA5C2-EEF7-400D-B5DC-0DECAC2BD56E}"/>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98" name="Bildplatzhalter 14" descr="Fracht mit einfarbiger Füllung">
                    <a:extLst>
                      <a:ext uri="{FF2B5EF4-FFF2-40B4-BE49-F238E27FC236}">
                        <a16:creationId xmlns:a16="http://schemas.microsoft.com/office/drawing/2014/main" id="{5DF792F9-2746-429A-888F-69A694646B52}"/>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99" name="Bildplatzhalter 14" descr="Fracht mit einfarbiger Füllung">
                    <a:extLst>
                      <a:ext uri="{FF2B5EF4-FFF2-40B4-BE49-F238E27FC236}">
                        <a16:creationId xmlns:a16="http://schemas.microsoft.com/office/drawing/2014/main" id="{84F6E5A3-679D-4984-BD04-8BE2B32819FB}"/>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100" name="Bildplatzhalter 14" descr="Fracht mit einfarbiger Füllung">
                    <a:extLst>
                      <a:ext uri="{FF2B5EF4-FFF2-40B4-BE49-F238E27FC236}">
                        <a16:creationId xmlns:a16="http://schemas.microsoft.com/office/drawing/2014/main" id="{5C888C3C-A0D1-40FB-AEEE-E6BEB7E260C2}"/>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101" name="Bildplatzhalter 14" descr="Fracht mit einfarbiger Füllung">
                    <a:extLst>
                      <a:ext uri="{FF2B5EF4-FFF2-40B4-BE49-F238E27FC236}">
                        <a16:creationId xmlns:a16="http://schemas.microsoft.com/office/drawing/2014/main" id="{D823BF46-BFF4-4FBF-BD7B-E06D53BB9770}"/>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102" name="Bildplatzhalter 14" descr="Fracht mit einfarbiger Füllung">
                    <a:extLst>
                      <a:ext uri="{FF2B5EF4-FFF2-40B4-BE49-F238E27FC236}">
                        <a16:creationId xmlns:a16="http://schemas.microsoft.com/office/drawing/2014/main" id="{6E2E6A5D-6BD7-4B9B-9E7A-ACFFE77048A2}"/>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103" name="Bildplatzhalter 14" descr="Fracht mit einfarbiger Füllung">
                    <a:extLst>
                      <a:ext uri="{FF2B5EF4-FFF2-40B4-BE49-F238E27FC236}">
                        <a16:creationId xmlns:a16="http://schemas.microsoft.com/office/drawing/2014/main" id="{3FFD3049-B8AB-460E-9C0C-E7023EAB0A24}"/>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104" name="Bildplatzhalter 14" descr="Fracht mit einfarbiger Füllung">
                    <a:extLst>
                      <a:ext uri="{FF2B5EF4-FFF2-40B4-BE49-F238E27FC236}">
                        <a16:creationId xmlns:a16="http://schemas.microsoft.com/office/drawing/2014/main" id="{93EE9D6F-E84D-427C-8141-C684D45D4895}"/>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105" name="Bildplatzhalter 14" descr="Fracht mit einfarbiger Füllung">
                    <a:extLst>
                      <a:ext uri="{FF2B5EF4-FFF2-40B4-BE49-F238E27FC236}">
                        <a16:creationId xmlns:a16="http://schemas.microsoft.com/office/drawing/2014/main" id="{B12658D8-45BB-425A-8B58-45F6FE6F7A9F}"/>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91" name="Gruppieren 90">
                  <a:extLst>
                    <a:ext uri="{FF2B5EF4-FFF2-40B4-BE49-F238E27FC236}">
                      <a16:creationId xmlns:a16="http://schemas.microsoft.com/office/drawing/2014/main" id="{213EB578-F0E9-49E6-92A0-C491FF09ED61}"/>
                    </a:ext>
                  </a:extLst>
                </p:cNvPr>
                <p:cNvGrpSpPr/>
                <p:nvPr/>
              </p:nvGrpSpPr>
              <p:grpSpPr>
                <a:xfrm>
                  <a:off x="5896644" y="1534870"/>
                  <a:ext cx="398712" cy="415448"/>
                  <a:chOff x="-1463559" y="2802046"/>
                  <a:chExt cx="1343912" cy="1321940"/>
                </a:xfrm>
                <a:grpFill/>
              </p:grpSpPr>
              <p:sp>
                <p:nvSpPr>
                  <p:cNvPr id="92" name="Bildplatzhalter 10" descr="Schlepper mit einfarbiger Füllung">
                    <a:extLst>
                      <a:ext uri="{FF2B5EF4-FFF2-40B4-BE49-F238E27FC236}">
                        <a16:creationId xmlns:a16="http://schemas.microsoft.com/office/drawing/2014/main" id="{03AFC1EB-36E3-4ECF-922E-32E6A419A399}"/>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93" name="Bildplatzhalter 10" descr="Schlepper mit einfarbiger Füllung">
                    <a:extLst>
                      <a:ext uri="{FF2B5EF4-FFF2-40B4-BE49-F238E27FC236}">
                        <a16:creationId xmlns:a16="http://schemas.microsoft.com/office/drawing/2014/main" id="{17E062EE-EDCA-49EC-B505-E4891870251F}"/>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94" name="Bildplatzhalter 10" descr="Schlepper mit einfarbiger Füllung">
                    <a:extLst>
                      <a:ext uri="{FF2B5EF4-FFF2-40B4-BE49-F238E27FC236}">
                        <a16:creationId xmlns:a16="http://schemas.microsoft.com/office/drawing/2014/main" id="{62DDB15A-F078-405E-9C37-B2AFF1A4ED6A}"/>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95" name="Bildplatzhalter 10" descr="Schlepper mit einfarbiger Füllung">
                    <a:extLst>
                      <a:ext uri="{FF2B5EF4-FFF2-40B4-BE49-F238E27FC236}">
                        <a16:creationId xmlns:a16="http://schemas.microsoft.com/office/drawing/2014/main" id="{24E978E8-3EDA-4A0A-BFA0-C9CAFE9E067E}"/>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grpSp>
      </p:grpSp>
      <p:grpSp>
        <p:nvGrpSpPr>
          <p:cNvPr id="173" name="Gruppieren 172">
            <a:extLst>
              <a:ext uri="{FF2B5EF4-FFF2-40B4-BE49-F238E27FC236}">
                <a16:creationId xmlns:a16="http://schemas.microsoft.com/office/drawing/2014/main" id="{AB1105D4-D75A-42CF-8D91-223EA5D0F3BD}"/>
              </a:ext>
            </a:extLst>
          </p:cNvPr>
          <p:cNvGrpSpPr/>
          <p:nvPr/>
        </p:nvGrpSpPr>
        <p:grpSpPr>
          <a:xfrm>
            <a:off x="5226389" y="1829660"/>
            <a:ext cx="5664919" cy="2792840"/>
            <a:chOff x="5226389" y="1829660"/>
            <a:chExt cx="5664919" cy="2792840"/>
          </a:xfrm>
        </p:grpSpPr>
        <p:cxnSp>
          <p:nvCxnSpPr>
            <p:cNvPr id="73" name="Gerader Verbinder 72">
              <a:extLst>
                <a:ext uri="{FF2B5EF4-FFF2-40B4-BE49-F238E27FC236}">
                  <a16:creationId xmlns:a16="http://schemas.microsoft.com/office/drawing/2014/main" id="{8BE36A8E-C8CF-4F67-916A-FD5B979737B4}"/>
                </a:ext>
              </a:extLst>
            </p:cNvPr>
            <p:cNvCxnSpPr>
              <a:cxnSpLocks/>
            </p:cNvCxnSpPr>
            <p:nvPr/>
          </p:nvCxnSpPr>
          <p:spPr>
            <a:xfrm>
              <a:off x="5873492" y="3241390"/>
              <a:ext cx="0" cy="1381110"/>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9" name="Gerader Verbinder 158">
              <a:extLst>
                <a:ext uri="{FF2B5EF4-FFF2-40B4-BE49-F238E27FC236}">
                  <a16:creationId xmlns:a16="http://schemas.microsoft.com/office/drawing/2014/main" id="{DD97AD1A-31BF-438B-B205-2AF7997BDB52}"/>
                </a:ext>
              </a:extLst>
            </p:cNvPr>
            <p:cNvCxnSpPr>
              <a:cxnSpLocks/>
              <a:stCxn id="65" idx="2"/>
            </p:cNvCxnSpPr>
            <p:nvPr/>
          </p:nvCxnSpPr>
          <p:spPr>
            <a:xfrm flipH="1" flipV="1">
              <a:off x="6517286" y="2747183"/>
              <a:ext cx="1558720" cy="587872"/>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1" name="Gerader Verbinder 160">
              <a:extLst>
                <a:ext uri="{FF2B5EF4-FFF2-40B4-BE49-F238E27FC236}">
                  <a16:creationId xmlns:a16="http://schemas.microsoft.com/office/drawing/2014/main" id="{7872DEBA-1C22-460A-B200-C117EF7FC525}"/>
                </a:ext>
              </a:extLst>
            </p:cNvPr>
            <p:cNvCxnSpPr>
              <a:cxnSpLocks/>
              <a:stCxn id="72" idx="1"/>
              <a:endCxn id="82" idx="5"/>
            </p:cNvCxnSpPr>
            <p:nvPr/>
          </p:nvCxnSpPr>
          <p:spPr>
            <a:xfrm flipH="1">
              <a:off x="6775450" y="2372000"/>
              <a:ext cx="2313001" cy="190188"/>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4" name="Gerader Verbinder 163">
              <a:extLst>
                <a:ext uri="{FF2B5EF4-FFF2-40B4-BE49-F238E27FC236}">
                  <a16:creationId xmlns:a16="http://schemas.microsoft.com/office/drawing/2014/main" id="{7437A8ED-C010-4E60-A38F-A9FD244BDE10}"/>
                </a:ext>
              </a:extLst>
            </p:cNvPr>
            <p:cNvCxnSpPr>
              <a:cxnSpLocks/>
              <a:stCxn id="41" idx="1"/>
              <a:endCxn id="108" idx="6"/>
            </p:cNvCxnSpPr>
            <p:nvPr/>
          </p:nvCxnSpPr>
          <p:spPr>
            <a:xfrm flipH="1" flipV="1">
              <a:off x="6511212" y="3203366"/>
              <a:ext cx="1271672" cy="1042590"/>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7" name="Gerader Verbinder 166">
              <a:extLst>
                <a:ext uri="{FF2B5EF4-FFF2-40B4-BE49-F238E27FC236}">
                  <a16:creationId xmlns:a16="http://schemas.microsoft.com/office/drawing/2014/main" id="{D1517691-51F3-4183-93BB-C044F327995C}"/>
                </a:ext>
              </a:extLst>
            </p:cNvPr>
            <p:cNvCxnSpPr>
              <a:cxnSpLocks/>
              <a:endCxn id="82" idx="6"/>
            </p:cNvCxnSpPr>
            <p:nvPr/>
          </p:nvCxnSpPr>
          <p:spPr>
            <a:xfrm flipH="1">
              <a:off x="6849478" y="1829660"/>
              <a:ext cx="4041830" cy="562229"/>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71" name="Ellipse 70">
              <a:extLst>
                <a:ext uri="{FF2B5EF4-FFF2-40B4-BE49-F238E27FC236}">
                  <a16:creationId xmlns:a16="http://schemas.microsoft.com/office/drawing/2014/main" id="{F6721D8B-2FA1-454B-B96E-B5CD772C686B}"/>
                </a:ext>
              </a:extLst>
            </p:cNvPr>
            <p:cNvSpPr/>
            <p:nvPr/>
          </p:nvSpPr>
          <p:spPr>
            <a:xfrm>
              <a:off x="5226389" y="1947088"/>
              <a:ext cx="1320806" cy="1256278"/>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29" name="Grafik 28" descr="Uhr mit einfarbiger Füllung">
              <a:extLst>
                <a:ext uri="{FF2B5EF4-FFF2-40B4-BE49-F238E27FC236}">
                  <a16:creationId xmlns:a16="http://schemas.microsoft.com/office/drawing/2014/main" id="{5C9EBA99-0A86-4A61-BF14-578BC35A547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39489" y="2120901"/>
              <a:ext cx="914400" cy="914400"/>
            </a:xfrm>
            <a:prstGeom prst="rect">
              <a:avLst/>
            </a:prstGeom>
          </p:spPr>
        </p:pic>
      </p:grpSp>
      <p:grpSp>
        <p:nvGrpSpPr>
          <p:cNvPr id="172" name="Gruppieren 171">
            <a:extLst>
              <a:ext uri="{FF2B5EF4-FFF2-40B4-BE49-F238E27FC236}">
                <a16:creationId xmlns:a16="http://schemas.microsoft.com/office/drawing/2014/main" id="{D3681CE7-CBD4-4519-86CC-C6BADB1D8EC1}"/>
              </a:ext>
            </a:extLst>
          </p:cNvPr>
          <p:cNvGrpSpPr/>
          <p:nvPr/>
        </p:nvGrpSpPr>
        <p:grpSpPr>
          <a:xfrm>
            <a:off x="7745215" y="1679881"/>
            <a:ext cx="4827785" cy="3743019"/>
            <a:chOff x="7745215" y="1679881"/>
            <a:chExt cx="4827785" cy="3743019"/>
          </a:xfrm>
        </p:grpSpPr>
        <p:cxnSp>
          <p:nvCxnSpPr>
            <p:cNvPr id="116" name="Gerader Verbinder 115">
              <a:extLst>
                <a:ext uri="{FF2B5EF4-FFF2-40B4-BE49-F238E27FC236}">
                  <a16:creationId xmlns:a16="http://schemas.microsoft.com/office/drawing/2014/main" id="{BA46CEAB-893E-447D-AA6C-9622EB27B2E9}"/>
                </a:ext>
              </a:extLst>
            </p:cNvPr>
            <p:cNvCxnSpPr>
              <a:cxnSpLocks/>
              <a:stCxn id="68" idx="2"/>
            </p:cNvCxnSpPr>
            <p:nvPr/>
          </p:nvCxnSpPr>
          <p:spPr>
            <a:xfrm>
              <a:off x="10981900" y="2285174"/>
              <a:ext cx="0" cy="2985326"/>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1" name="Gerader Verbinder 30">
              <a:extLst>
                <a:ext uri="{FF2B5EF4-FFF2-40B4-BE49-F238E27FC236}">
                  <a16:creationId xmlns:a16="http://schemas.microsoft.com/office/drawing/2014/main" id="{7BF8AA31-1FF7-47CE-B531-AA5368A1D2E2}"/>
                </a:ext>
              </a:extLst>
            </p:cNvPr>
            <p:cNvCxnSpPr>
              <a:cxnSpLocks/>
            </p:cNvCxnSpPr>
            <p:nvPr/>
          </p:nvCxnSpPr>
          <p:spPr>
            <a:xfrm>
              <a:off x="11658000" y="3600905"/>
              <a:ext cx="0" cy="1424594"/>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3" name="Gerader Verbinder 32">
              <a:extLst>
                <a:ext uri="{FF2B5EF4-FFF2-40B4-BE49-F238E27FC236}">
                  <a16:creationId xmlns:a16="http://schemas.microsoft.com/office/drawing/2014/main" id="{1AB1B01F-8D56-4653-B1F9-98D0995FD1BF}"/>
                </a:ext>
              </a:extLst>
            </p:cNvPr>
            <p:cNvCxnSpPr>
              <a:cxnSpLocks/>
            </p:cNvCxnSpPr>
            <p:nvPr/>
          </p:nvCxnSpPr>
          <p:spPr>
            <a:xfrm>
              <a:off x="9333900" y="2704899"/>
              <a:ext cx="0" cy="2146501"/>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5" name="Gerader Verbinder 34">
              <a:extLst>
                <a:ext uri="{FF2B5EF4-FFF2-40B4-BE49-F238E27FC236}">
                  <a16:creationId xmlns:a16="http://schemas.microsoft.com/office/drawing/2014/main" id="{3DD1616D-A1D7-4B6C-A82D-5F007CC7A3FB}"/>
                </a:ext>
              </a:extLst>
            </p:cNvPr>
            <p:cNvCxnSpPr>
              <a:cxnSpLocks/>
            </p:cNvCxnSpPr>
            <p:nvPr/>
          </p:nvCxnSpPr>
          <p:spPr>
            <a:xfrm>
              <a:off x="10388000" y="3889390"/>
              <a:ext cx="0" cy="1381110"/>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7" name="Gerader Verbinder 36">
              <a:extLst>
                <a:ext uri="{FF2B5EF4-FFF2-40B4-BE49-F238E27FC236}">
                  <a16:creationId xmlns:a16="http://schemas.microsoft.com/office/drawing/2014/main" id="{9FF91967-8974-4613-890A-369ACFABC3F2}"/>
                </a:ext>
              </a:extLst>
            </p:cNvPr>
            <p:cNvCxnSpPr>
              <a:cxnSpLocks/>
            </p:cNvCxnSpPr>
            <p:nvPr/>
          </p:nvCxnSpPr>
          <p:spPr>
            <a:xfrm>
              <a:off x="8394100" y="3644389"/>
              <a:ext cx="0" cy="1381110"/>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Gerader Verbinder 41">
              <a:extLst>
                <a:ext uri="{FF2B5EF4-FFF2-40B4-BE49-F238E27FC236}">
                  <a16:creationId xmlns:a16="http://schemas.microsoft.com/office/drawing/2014/main" id="{4B4B82FE-3722-40C4-A396-15623052C89B}"/>
                </a:ext>
              </a:extLst>
            </p:cNvPr>
            <p:cNvCxnSpPr>
              <a:cxnSpLocks/>
            </p:cNvCxnSpPr>
            <p:nvPr/>
          </p:nvCxnSpPr>
          <p:spPr>
            <a:xfrm>
              <a:off x="7873826" y="4333622"/>
              <a:ext cx="0" cy="936878"/>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3" name="Gerader Verbinder 42">
              <a:extLst>
                <a:ext uri="{FF2B5EF4-FFF2-40B4-BE49-F238E27FC236}">
                  <a16:creationId xmlns:a16="http://schemas.microsoft.com/office/drawing/2014/main" id="{6824E02C-0D3E-483D-8765-11ED7B04E291}"/>
                </a:ext>
              </a:extLst>
            </p:cNvPr>
            <p:cNvCxnSpPr>
              <a:cxnSpLocks/>
            </p:cNvCxnSpPr>
            <p:nvPr/>
          </p:nvCxnSpPr>
          <p:spPr>
            <a:xfrm>
              <a:off x="9784675" y="3844763"/>
              <a:ext cx="0" cy="1006637"/>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5" name="Gerader Verbinder 44">
              <a:extLst>
                <a:ext uri="{FF2B5EF4-FFF2-40B4-BE49-F238E27FC236}">
                  <a16:creationId xmlns:a16="http://schemas.microsoft.com/office/drawing/2014/main" id="{910C9D80-A2A1-4F17-880D-639759FA4806}"/>
                </a:ext>
              </a:extLst>
            </p:cNvPr>
            <p:cNvCxnSpPr>
              <a:cxnSpLocks/>
              <a:stCxn id="38" idx="4"/>
            </p:cNvCxnSpPr>
            <p:nvPr/>
          </p:nvCxnSpPr>
          <p:spPr>
            <a:xfrm>
              <a:off x="11283227" y="4457600"/>
              <a:ext cx="21034" cy="965300"/>
            </a:xfrm>
            <a:prstGeom prst="line">
              <a:avLst/>
            </a:prstGeom>
            <a:ln w="6350">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0" name="Gerader Verbinder 109">
              <a:extLst>
                <a:ext uri="{FF2B5EF4-FFF2-40B4-BE49-F238E27FC236}">
                  <a16:creationId xmlns:a16="http://schemas.microsoft.com/office/drawing/2014/main" id="{C268CF4F-CCD0-4306-966C-809E54BEB749}"/>
                </a:ext>
              </a:extLst>
            </p:cNvPr>
            <p:cNvCxnSpPr>
              <a:cxnSpLocks/>
              <a:endCxn id="41" idx="7"/>
            </p:cNvCxnSpPr>
            <p:nvPr/>
          </p:nvCxnSpPr>
          <p:spPr>
            <a:xfrm flipH="1">
              <a:off x="7964769" y="3562294"/>
              <a:ext cx="236258" cy="683662"/>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1" name="Gerader Verbinder 110">
              <a:extLst>
                <a:ext uri="{FF2B5EF4-FFF2-40B4-BE49-F238E27FC236}">
                  <a16:creationId xmlns:a16="http://schemas.microsoft.com/office/drawing/2014/main" id="{81CCF3F9-0426-4D93-A5B0-3EFC526E8FCF}"/>
                </a:ext>
              </a:extLst>
            </p:cNvPr>
            <p:cNvCxnSpPr>
              <a:cxnSpLocks/>
            </p:cNvCxnSpPr>
            <p:nvPr/>
          </p:nvCxnSpPr>
          <p:spPr>
            <a:xfrm flipH="1">
              <a:off x="8603851" y="2613718"/>
              <a:ext cx="535646" cy="469769"/>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4" name="Gerader Verbinder 113">
              <a:extLst>
                <a:ext uri="{FF2B5EF4-FFF2-40B4-BE49-F238E27FC236}">
                  <a16:creationId xmlns:a16="http://schemas.microsoft.com/office/drawing/2014/main" id="{B378E4D7-BEE3-4B12-A4DB-0D1DD2462297}"/>
                </a:ext>
              </a:extLst>
            </p:cNvPr>
            <p:cNvCxnSpPr>
              <a:cxnSpLocks/>
              <a:stCxn id="40" idx="2"/>
            </p:cNvCxnSpPr>
            <p:nvPr/>
          </p:nvCxnSpPr>
          <p:spPr>
            <a:xfrm flipH="1" flipV="1">
              <a:off x="8659850" y="3501519"/>
              <a:ext cx="996214" cy="223364"/>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7" name="Gerader Verbinder 116">
              <a:extLst>
                <a:ext uri="{FF2B5EF4-FFF2-40B4-BE49-F238E27FC236}">
                  <a16:creationId xmlns:a16="http://schemas.microsoft.com/office/drawing/2014/main" id="{9300E492-A6EB-4F2F-B18C-3F226E6AC32E}"/>
                </a:ext>
              </a:extLst>
            </p:cNvPr>
            <p:cNvCxnSpPr>
              <a:cxnSpLocks/>
              <a:stCxn id="68" idx="1"/>
            </p:cNvCxnSpPr>
            <p:nvPr/>
          </p:nvCxnSpPr>
          <p:spPr>
            <a:xfrm flipH="1">
              <a:off x="9622554" y="2015225"/>
              <a:ext cx="1089396" cy="333047"/>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8" name="Gerader Verbinder 117">
              <a:extLst>
                <a:ext uri="{FF2B5EF4-FFF2-40B4-BE49-F238E27FC236}">
                  <a16:creationId xmlns:a16="http://schemas.microsoft.com/office/drawing/2014/main" id="{27D63E0B-59F0-460B-9B43-AF82EB089443}"/>
                </a:ext>
              </a:extLst>
            </p:cNvPr>
            <p:cNvCxnSpPr>
              <a:cxnSpLocks/>
              <a:endCxn id="83" idx="6"/>
            </p:cNvCxnSpPr>
            <p:nvPr/>
          </p:nvCxnSpPr>
          <p:spPr>
            <a:xfrm flipH="1" flipV="1">
              <a:off x="11305900" y="2003881"/>
              <a:ext cx="963042" cy="420748"/>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1" name="Gerader Verbinder 120">
              <a:extLst>
                <a:ext uri="{FF2B5EF4-FFF2-40B4-BE49-F238E27FC236}">
                  <a16:creationId xmlns:a16="http://schemas.microsoft.com/office/drawing/2014/main" id="{6070B617-F33F-4E56-93DB-653699253FC1}"/>
                </a:ext>
              </a:extLst>
            </p:cNvPr>
            <p:cNvCxnSpPr>
              <a:cxnSpLocks/>
              <a:stCxn id="75" idx="2"/>
              <a:endCxn id="77" idx="6"/>
            </p:cNvCxnSpPr>
            <p:nvPr/>
          </p:nvCxnSpPr>
          <p:spPr>
            <a:xfrm flipH="1">
              <a:off x="10711950" y="3317746"/>
              <a:ext cx="644724" cy="247644"/>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4" name="Gerader Verbinder 123">
              <a:extLst>
                <a:ext uri="{FF2B5EF4-FFF2-40B4-BE49-F238E27FC236}">
                  <a16:creationId xmlns:a16="http://schemas.microsoft.com/office/drawing/2014/main" id="{CE64154F-CA8B-425F-9D1F-CEE22F2060CE}"/>
                </a:ext>
              </a:extLst>
            </p:cNvPr>
            <p:cNvCxnSpPr>
              <a:cxnSpLocks/>
              <a:stCxn id="38" idx="2"/>
            </p:cNvCxnSpPr>
            <p:nvPr/>
          </p:nvCxnSpPr>
          <p:spPr>
            <a:xfrm flipH="1" flipV="1">
              <a:off x="9853889" y="3791144"/>
              <a:ext cx="1300726" cy="542478"/>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6" name="Gerader Verbinder 125">
              <a:extLst>
                <a:ext uri="{FF2B5EF4-FFF2-40B4-BE49-F238E27FC236}">
                  <a16:creationId xmlns:a16="http://schemas.microsoft.com/office/drawing/2014/main" id="{5A0714C0-8F87-42C9-80C5-D199FDD32C5A}"/>
                </a:ext>
              </a:extLst>
            </p:cNvPr>
            <p:cNvCxnSpPr>
              <a:cxnSpLocks/>
              <a:stCxn id="40" idx="3"/>
              <a:endCxn id="41" idx="6"/>
            </p:cNvCxnSpPr>
            <p:nvPr/>
          </p:nvCxnSpPr>
          <p:spPr>
            <a:xfrm flipH="1">
              <a:off x="8002438" y="3812549"/>
              <a:ext cx="1691295" cy="521073"/>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9" name="Gerader Verbinder 128">
              <a:extLst>
                <a:ext uri="{FF2B5EF4-FFF2-40B4-BE49-F238E27FC236}">
                  <a16:creationId xmlns:a16="http://schemas.microsoft.com/office/drawing/2014/main" id="{960A409B-FA15-481F-B0FF-275053914318}"/>
                </a:ext>
              </a:extLst>
            </p:cNvPr>
            <p:cNvCxnSpPr>
              <a:cxnSpLocks/>
              <a:stCxn id="40" idx="0"/>
            </p:cNvCxnSpPr>
            <p:nvPr/>
          </p:nvCxnSpPr>
          <p:spPr>
            <a:xfrm flipH="1" flipV="1">
              <a:off x="9474364" y="2677807"/>
              <a:ext cx="310312" cy="923098"/>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31" name="Gerader Verbinder 130">
              <a:extLst>
                <a:ext uri="{FF2B5EF4-FFF2-40B4-BE49-F238E27FC236}">
                  <a16:creationId xmlns:a16="http://schemas.microsoft.com/office/drawing/2014/main" id="{59133939-02A6-488A-B208-38434E3006D6}"/>
                </a:ext>
              </a:extLst>
            </p:cNvPr>
            <p:cNvCxnSpPr>
              <a:cxnSpLocks/>
              <a:stCxn id="77" idx="0"/>
            </p:cNvCxnSpPr>
            <p:nvPr/>
          </p:nvCxnSpPr>
          <p:spPr>
            <a:xfrm flipH="1" flipV="1">
              <a:off x="9603852" y="2526340"/>
              <a:ext cx="784098" cy="715050"/>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34" name="Gerader Verbinder 133">
              <a:extLst>
                <a:ext uri="{FF2B5EF4-FFF2-40B4-BE49-F238E27FC236}">
                  <a16:creationId xmlns:a16="http://schemas.microsoft.com/office/drawing/2014/main" id="{6F9E6BA8-3284-462F-AACE-24F30003391A}"/>
                </a:ext>
              </a:extLst>
            </p:cNvPr>
            <p:cNvCxnSpPr>
              <a:cxnSpLocks/>
              <a:endCxn id="83" idx="4"/>
            </p:cNvCxnSpPr>
            <p:nvPr/>
          </p:nvCxnSpPr>
          <p:spPr>
            <a:xfrm flipV="1">
              <a:off x="10568149" y="2327881"/>
              <a:ext cx="413751" cy="1026681"/>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37" name="Gerader Verbinder 136">
              <a:extLst>
                <a:ext uri="{FF2B5EF4-FFF2-40B4-BE49-F238E27FC236}">
                  <a16:creationId xmlns:a16="http://schemas.microsoft.com/office/drawing/2014/main" id="{73621C9E-9A4E-4A4C-B6BF-0970BF45BB7E}"/>
                </a:ext>
              </a:extLst>
            </p:cNvPr>
            <p:cNvCxnSpPr>
              <a:cxnSpLocks/>
              <a:stCxn id="75" idx="0"/>
            </p:cNvCxnSpPr>
            <p:nvPr/>
          </p:nvCxnSpPr>
          <p:spPr>
            <a:xfrm flipH="1" flipV="1">
              <a:off x="11154616" y="2222502"/>
              <a:ext cx="526058" cy="771244"/>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40" name="Gerader Verbinder 139">
              <a:extLst>
                <a:ext uri="{FF2B5EF4-FFF2-40B4-BE49-F238E27FC236}">
                  <a16:creationId xmlns:a16="http://schemas.microsoft.com/office/drawing/2014/main" id="{30CEEB4F-B6C9-44B0-AC64-FD4E7569A357}"/>
                </a:ext>
              </a:extLst>
            </p:cNvPr>
            <p:cNvCxnSpPr>
              <a:cxnSpLocks/>
              <a:endCxn id="75" idx="6"/>
            </p:cNvCxnSpPr>
            <p:nvPr/>
          </p:nvCxnSpPr>
          <p:spPr>
            <a:xfrm flipH="1">
              <a:off x="12004674" y="3043806"/>
              <a:ext cx="568326" cy="273940"/>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43" name="Gerader Verbinder 142">
              <a:extLst>
                <a:ext uri="{FF2B5EF4-FFF2-40B4-BE49-F238E27FC236}">
                  <a16:creationId xmlns:a16="http://schemas.microsoft.com/office/drawing/2014/main" id="{0093027C-BF4E-4FD5-83EF-58C18B07B476}"/>
                </a:ext>
              </a:extLst>
            </p:cNvPr>
            <p:cNvCxnSpPr>
              <a:cxnSpLocks/>
              <a:endCxn id="38" idx="6"/>
            </p:cNvCxnSpPr>
            <p:nvPr/>
          </p:nvCxnSpPr>
          <p:spPr>
            <a:xfrm flipH="1">
              <a:off x="11411838" y="3889390"/>
              <a:ext cx="857106" cy="444232"/>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46" name="Gerader Verbinder 145">
              <a:extLst>
                <a:ext uri="{FF2B5EF4-FFF2-40B4-BE49-F238E27FC236}">
                  <a16:creationId xmlns:a16="http://schemas.microsoft.com/office/drawing/2014/main" id="{BC149477-0BDA-4ACA-AE9E-66DBB721A05C}"/>
                </a:ext>
              </a:extLst>
            </p:cNvPr>
            <p:cNvCxnSpPr>
              <a:cxnSpLocks/>
              <a:stCxn id="75" idx="4"/>
              <a:endCxn id="38" idx="7"/>
            </p:cNvCxnSpPr>
            <p:nvPr/>
          </p:nvCxnSpPr>
          <p:spPr>
            <a:xfrm flipH="1">
              <a:off x="11374169" y="3641746"/>
              <a:ext cx="306505" cy="604210"/>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0" name="Gerader Verbinder 149">
              <a:extLst>
                <a:ext uri="{FF2B5EF4-FFF2-40B4-BE49-F238E27FC236}">
                  <a16:creationId xmlns:a16="http://schemas.microsoft.com/office/drawing/2014/main" id="{7D340FC6-D85D-498A-8A9A-877E045C7951}"/>
                </a:ext>
              </a:extLst>
            </p:cNvPr>
            <p:cNvCxnSpPr>
              <a:cxnSpLocks/>
              <a:stCxn id="75" idx="5"/>
            </p:cNvCxnSpPr>
            <p:nvPr/>
          </p:nvCxnSpPr>
          <p:spPr>
            <a:xfrm>
              <a:off x="11909777" y="3546849"/>
              <a:ext cx="503477" cy="259993"/>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3" name="Gerader Verbinder 152">
              <a:extLst>
                <a:ext uri="{FF2B5EF4-FFF2-40B4-BE49-F238E27FC236}">
                  <a16:creationId xmlns:a16="http://schemas.microsoft.com/office/drawing/2014/main" id="{DB8DA779-62E9-4CDF-9CD6-BE0E942A5125}"/>
                </a:ext>
              </a:extLst>
            </p:cNvPr>
            <p:cNvCxnSpPr>
              <a:cxnSpLocks/>
              <a:stCxn id="77" idx="5"/>
              <a:endCxn id="38" idx="1"/>
            </p:cNvCxnSpPr>
            <p:nvPr/>
          </p:nvCxnSpPr>
          <p:spPr>
            <a:xfrm>
              <a:off x="10617053" y="3794493"/>
              <a:ext cx="575231" cy="451463"/>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6" name="Gerader Verbinder 155">
              <a:extLst>
                <a:ext uri="{FF2B5EF4-FFF2-40B4-BE49-F238E27FC236}">
                  <a16:creationId xmlns:a16="http://schemas.microsoft.com/office/drawing/2014/main" id="{B70D2D90-4836-4151-BFB1-4312FB3CBEA4}"/>
                </a:ext>
              </a:extLst>
            </p:cNvPr>
            <p:cNvCxnSpPr>
              <a:cxnSpLocks/>
              <a:stCxn id="40" idx="6"/>
              <a:endCxn id="79" idx="1"/>
            </p:cNvCxnSpPr>
            <p:nvPr/>
          </p:nvCxnSpPr>
          <p:spPr>
            <a:xfrm flipV="1">
              <a:off x="9913287" y="3562294"/>
              <a:ext cx="256219" cy="162589"/>
            </a:xfrm>
            <a:prstGeom prst="line">
              <a:avLst/>
            </a:prstGeom>
            <a:ln w="15875">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65" name="Ellipse 64">
              <a:extLst>
                <a:ext uri="{FF2B5EF4-FFF2-40B4-BE49-F238E27FC236}">
                  <a16:creationId xmlns:a16="http://schemas.microsoft.com/office/drawing/2014/main" id="{43DBEA3F-A732-499B-961A-20337ECC8548}"/>
                </a:ext>
              </a:extLst>
            </p:cNvPr>
            <p:cNvSpPr/>
            <p:nvPr/>
          </p:nvSpPr>
          <p:spPr>
            <a:xfrm>
              <a:off x="8076006" y="3011055"/>
              <a:ext cx="648000" cy="648000"/>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8" name="Grafik 17" descr="Fahrrad mit Personen mit einfarbiger Füllung">
              <a:extLst>
                <a:ext uri="{FF2B5EF4-FFF2-40B4-BE49-F238E27FC236}">
                  <a16:creationId xmlns:a16="http://schemas.microsoft.com/office/drawing/2014/main" id="{4D33327A-D78F-4B23-9484-4980FF94493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34156" y="3043805"/>
              <a:ext cx="557100" cy="557100"/>
            </a:xfrm>
            <a:prstGeom prst="rect">
              <a:avLst/>
            </a:prstGeom>
          </p:spPr>
        </p:pic>
        <p:sp>
          <p:nvSpPr>
            <p:cNvPr id="75" name="Ellipse 74">
              <a:extLst>
                <a:ext uri="{FF2B5EF4-FFF2-40B4-BE49-F238E27FC236}">
                  <a16:creationId xmlns:a16="http://schemas.microsoft.com/office/drawing/2014/main" id="{DD3431D5-CC7E-4539-BA67-62695600B007}"/>
                </a:ext>
              </a:extLst>
            </p:cNvPr>
            <p:cNvSpPr/>
            <p:nvPr/>
          </p:nvSpPr>
          <p:spPr>
            <a:xfrm>
              <a:off x="11356674" y="2993746"/>
              <a:ext cx="648000" cy="648000"/>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74" name="Grafik 73" descr="Lager mit einfarbiger Füllung">
              <a:extLst>
                <a:ext uri="{FF2B5EF4-FFF2-40B4-BE49-F238E27FC236}">
                  <a16:creationId xmlns:a16="http://schemas.microsoft.com/office/drawing/2014/main" id="{886D0C54-FF1D-47A8-B421-33FE825BD72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466996" y="3083487"/>
              <a:ext cx="452756" cy="452756"/>
            </a:xfrm>
            <a:prstGeom prst="rect">
              <a:avLst/>
            </a:prstGeom>
          </p:spPr>
        </p:pic>
        <p:sp>
          <p:nvSpPr>
            <p:cNvPr id="77" name="Ellipse 76">
              <a:extLst>
                <a:ext uri="{FF2B5EF4-FFF2-40B4-BE49-F238E27FC236}">
                  <a16:creationId xmlns:a16="http://schemas.microsoft.com/office/drawing/2014/main" id="{52E7C152-366E-4A4E-9B7F-70281ED13B4B}"/>
                </a:ext>
              </a:extLst>
            </p:cNvPr>
            <p:cNvSpPr/>
            <p:nvPr/>
          </p:nvSpPr>
          <p:spPr>
            <a:xfrm>
              <a:off x="10063950" y="3241390"/>
              <a:ext cx="648000" cy="648000"/>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79" name="Grafik 78" descr="Kraftstoff mit einfarbiger Füllung">
              <a:extLst>
                <a:ext uri="{FF2B5EF4-FFF2-40B4-BE49-F238E27FC236}">
                  <a16:creationId xmlns:a16="http://schemas.microsoft.com/office/drawing/2014/main" id="{6478E4AF-16DE-4194-8B80-63BAEC10205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69506" y="3317746"/>
              <a:ext cx="489096" cy="489096"/>
            </a:xfrm>
            <a:prstGeom prst="rect">
              <a:avLst/>
            </a:prstGeom>
          </p:spPr>
        </p:pic>
        <p:sp>
          <p:nvSpPr>
            <p:cNvPr id="81" name="Ellipse 80">
              <a:extLst>
                <a:ext uri="{FF2B5EF4-FFF2-40B4-BE49-F238E27FC236}">
                  <a16:creationId xmlns:a16="http://schemas.microsoft.com/office/drawing/2014/main" id="{6CF8D6B1-ADA0-47AF-8212-103090972F1E}"/>
                </a:ext>
              </a:extLst>
            </p:cNvPr>
            <p:cNvSpPr/>
            <p:nvPr/>
          </p:nvSpPr>
          <p:spPr>
            <a:xfrm>
              <a:off x="9013210" y="2056899"/>
              <a:ext cx="648000" cy="648000"/>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72" name="Grafik 71" descr="Kran mit einfarbiger Füllung">
              <a:extLst>
                <a:ext uri="{FF2B5EF4-FFF2-40B4-BE49-F238E27FC236}">
                  <a16:creationId xmlns:a16="http://schemas.microsoft.com/office/drawing/2014/main" id="{7C76AD98-61F3-4984-B4DB-533974906E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088451" y="2102050"/>
              <a:ext cx="539899" cy="539899"/>
            </a:xfrm>
            <a:prstGeom prst="rect">
              <a:avLst/>
            </a:prstGeom>
          </p:spPr>
        </p:pic>
        <p:sp>
          <p:nvSpPr>
            <p:cNvPr id="83" name="Ellipse 82">
              <a:extLst>
                <a:ext uri="{FF2B5EF4-FFF2-40B4-BE49-F238E27FC236}">
                  <a16:creationId xmlns:a16="http://schemas.microsoft.com/office/drawing/2014/main" id="{ED909273-3240-406A-BC18-C676CAEB2C13}"/>
                </a:ext>
              </a:extLst>
            </p:cNvPr>
            <p:cNvSpPr/>
            <p:nvPr/>
          </p:nvSpPr>
          <p:spPr>
            <a:xfrm>
              <a:off x="10657900" y="1679881"/>
              <a:ext cx="648000" cy="648000"/>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68" name="Grafik 67" descr="Ampel mit einfarbiger Füllung">
              <a:extLst>
                <a:ext uri="{FF2B5EF4-FFF2-40B4-BE49-F238E27FC236}">
                  <a16:creationId xmlns:a16="http://schemas.microsoft.com/office/drawing/2014/main" id="{B8BAF664-2869-459C-A810-6033C569B4B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711950" y="1745275"/>
              <a:ext cx="539899" cy="539899"/>
            </a:xfrm>
            <a:prstGeom prst="rect">
              <a:avLst/>
            </a:prstGeom>
          </p:spPr>
        </p:pic>
        <p:sp>
          <p:nvSpPr>
            <p:cNvPr id="38" name="Ellipse 37">
              <a:extLst>
                <a:ext uri="{FF2B5EF4-FFF2-40B4-BE49-F238E27FC236}">
                  <a16:creationId xmlns:a16="http://schemas.microsoft.com/office/drawing/2014/main" id="{0B076DBC-A426-414C-A47E-7ED7DE37CB9F}"/>
                </a:ext>
              </a:extLst>
            </p:cNvPr>
            <p:cNvSpPr/>
            <p:nvPr/>
          </p:nvSpPr>
          <p:spPr>
            <a:xfrm>
              <a:off x="11154615" y="4209644"/>
              <a:ext cx="257223" cy="247956"/>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0" name="Ellipse 39">
              <a:extLst>
                <a:ext uri="{FF2B5EF4-FFF2-40B4-BE49-F238E27FC236}">
                  <a16:creationId xmlns:a16="http://schemas.microsoft.com/office/drawing/2014/main" id="{FA0985E2-7D95-4256-8247-95D2F56C341F}"/>
                </a:ext>
              </a:extLst>
            </p:cNvPr>
            <p:cNvSpPr/>
            <p:nvPr/>
          </p:nvSpPr>
          <p:spPr>
            <a:xfrm>
              <a:off x="9656064" y="3600905"/>
              <a:ext cx="257223" cy="247956"/>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1" name="Ellipse 40">
              <a:extLst>
                <a:ext uri="{FF2B5EF4-FFF2-40B4-BE49-F238E27FC236}">
                  <a16:creationId xmlns:a16="http://schemas.microsoft.com/office/drawing/2014/main" id="{E6A8E575-80DA-41BC-8F8C-7DAEB53ADAC8}"/>
                </a:ext>
              </a:extLst>
            </p:cNvPr>
            <p:cNvSpPr/>
            <p:nvPr/>
          </p:nvSpPr>
          <p:spPr>
            <a:xfrm>
              <a:off x="7745215" y="4209644"/>
              <a:ext cx="257223" cy="247956"/>
            </a:xfrm>
            <a:prstGeom prst="ellipse">
              <a:avLst/>
            </a:prstGeom>
            <a:solidFill>
              <a:srgbClr val="2B2D38"/>
            </a:solidFill>
            <a:ln cap="rnd">
              <a:solidFill>
                <a:srgbClr val="FEA15E"/>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Tree>
    <p:extLst>
      <p:ext uri="{BB962C8B-B14F-4D97-AF65-F5344CB8AC3E}">
        <p14:creationId xmlns:p14="http://schemas.microsoft.com/office/powerpoint/2010/main" val="4039409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wipe(down)">
                                      <p:cBhvr>
                                        <p:cTn id="7" dur="2000"/>
                                        <p:tgtEl>
                                          <p:spTgt spid="17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wipe(right)">
                                      <p:cBhvr>
                                        <p:cTn id="12" dur="2000"/>
                                        <p:tgtEl>
                                          <p:spTgt spid="17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Modellierung</a:t>
            </a: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6" name="Textplatzhalter 5">
            <a:extLst>
              <a:ext uri="{FF2B5EF4-FFF2-40B4-BE49-F238E27FC236}">
                <a16:creationId xmlns:a16="http://schemas.microsoft.com/office/drawing/2014/main" id="{D5E1C403-D519-4760-BC98-8DFC502C19D7}"/>
              </a:ext>
            </a:extLst>
          </p:cNvPr>
          <p:cNvSpPr>
            <a:spLocks noGrp="1"/>
          </p:cNvSpPr>
          <p:nvPr>
            <p:ph type="body" sz="quarter" idx="10"/>
          </p:nvPr>
        </p:nvSpPr>
        <p:spPr/>
        <p:txBody>
          <a:bodyPr/>
          <a:lstStyle/>
          <a:p>
            <a:r>
              <a:rPr lang="de-DE" err="1"/>
              <a:t>Residuenplots</a:t>
            </a:r>
            <a:r>
              <a:rPr lang="de-DE"/>
              <a:t> Statisches </a:t>
            </a:r>
            <a:r>
              <a:rPr lang="de-DE" err="1"/>
              <a:t>MoDell</a:t>
            </a:r>
            <a:endParaRPr lang="de-DE"/>
          </a:p>
        </p:txBody>
      </p:sp>
      <p:pic>
        <p:nvPicPr>
          <p:cNvPr id="4" name="Grafik 3">
            <a:extLst>
              <a:ext uri="{FF2B5EF4-FFF2-40B4-BE49-F238E27FC236}">
                <a16:creationId xmlns:a16="http://schemas.microsoft.com/office/drawing/2014/main" id="{F19D13DB-09D8-4F6B-8A2B-E0A4975D8D9C}"/>
              </a:ext>
            </a:extLst>
          </p:cNvPr>
          <p:cNvPicPr>
            <a:picLocks noChangeAspect="1"/>
          </p:cNvPicPr>
          <p:nvPr/>
        </p:nvPicPr>
        <p:blipFill rotWithShape="1">
          <a:blip r:embed="rId2">
            <a:extLst>
              <a:ext uri="{28A0092B-C50C-407E-A947-70E740481C1C}">
                <a14:useLocalDpi xmlns:a14="http://schemas.microsoft.com/office/drawing/2010/main" val="0"/>
              </a:ext>
            </a:extLst>
          </a:blip>
          <a:srcRect l="3153" r="3907"/>
          <a:stretch/>
        </p:blipFill>
        <p:spPr>
          <a:xfrm>
            <a:off x="678426" y="1341253"/>
            <a:ext cx="5417574" cy="3605224"/>
          </a:xfrm>
          <a:prstGeom prst="rect">
            <a:avLst/>
          </a:prstGeom>
        </p:spPr>
      </p:pic>
      <p:pic>
        <p:nvPicPr>
          <p:cNvPr id="8" name="Grafik 7">
            <a:extLst>
              <a:ext uri="{FF2B5EF4-FFF2-40B4-BE49-F238E27FC236}">
                <a16:creationId xmlns:a16="http://schemas.microsoft.com/office/drawing/2014/main" id="{80E0B317-807B-459D-BFD6-7478C7C6D33B}"/>
              </a:ext>
            </a:extLst>
          </p:cNvPr>
          <p:cNvPicPr>
            <a:picLocks noChangeAspect="1"/>
          </p:cNvPicPr>
          <p:nvPr/>
        </p:nvPicPr>
        <p:blipFill rotWithShape="1">
          <a:blip r:embed="rId3">
            <a:extLst>
              <a:ext uri="{28A0092B-C50C-407E-A947-70E740481C1C}">
                <a14:useLocalDpi xmlns:a14="http://schemas.microsoft.com/office/drawing/2010/main" val="0"/>
              </a:ext>
            </a:extLst>
          </a:blip>
          <a:srcRect l="3340" t="1474" r="3195" b="1"/>
          <a:stretch/>
        </p:blipFill>
        <p:spPr>
          <a:xfrm>
            <a:off x="6263149" y="2051636"/>
            <a:ext cx="5605699" cy="3605224"/>
          </a:xfrm>
          <a:prstGeom prst="rect">
            <a:avLst/>
          </a:prstGeom>
        </p:spPr>
      </p:pic>
      <p:sp>
        <p:nvSpPr>
          <p:cNvPr id="10" name="Pfeil: nach rechts 9">
            <a:extLst>
              <a:ext uri="{FF2B5EF4-FFF2-40B4-BE49-F238E27FC236}">
                <a16:creationId xmlns:a16="http://schemas.microsoft.com/office/drawing/2014/main" id="{7D25AA74-0DA0-4B35-9194-EFEA8AB49AAB}"/>
              </a:ext>
            </a:extLst>
          </p:cNvPr>
          <p:cNvSpPr/>
          <p:nvPr/>
        </p:nvSpPr>
        <p:spPr>
          <a:xfrm>
            <a:off x="6174658" y="3854248"/>
            <a:ext cx="1052051" cy="1120691"/>
          </a:xfrm>
          <a:prstGeom prst="rightArrow">
            <a:avLst>
              <a:gd name="adj1" fmla="val 34577"/>
              <a:gd name="adj2" fmla="val 59587"/>
            </a:avLst>
          </a:prstGeom>
          <a:solidFill>
            <a:srgbClr val="557EFB"/>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3" name="Rechteck: abgerundete Ecken 12">
            <a:hlinkClick r:id="rId4" action="ppaction://hlinksldjump"/>
            <a:extLst>
              <a:ext uri="{FF2B5EF4-FFF2-40B4-BE49-F238E27FC236}">
                <a16:creationId xmlns:a16="http://schemas.microsoft.com/office/drawing/2014/main" id="{5B4D2578-2449-4888-A9BF-F9D9A6D121D1}"/>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4" name="Grafik 13" descr="Kreis mit Pfeil nach links mit einfarbiger Füllung">
            <a:hlinkClick r:id="rId4" action="ppaction://hlinksldjump"/>
            <a:extLst>
              <a:ext uri="{FF2B5EF4-FFF2-40B4-BE49-F238E27FC236}">
                <a16:creationId xmlns:a16="http://schemas.microsoft.com/office/drawing/2014/main" id="{754CD4BF-B9F8-4DE1-BA70-EC3864E835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38635471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68D7F30C-D2BC-4A3B-8CFE-DDB91D69F302}"/>
              </a:ext>
            </a:extLst>
          </p:cNvPr>
          <p:cNvPicPr>
            <a:picLocks noChangeAspect="1"/>
          </p:cNvPicPr>
          <p:nvPr/>
        </p:nvPicPr>
        <p:blipFill rotWithShape="1">
          <a:blip r:embed="rId2">
            <a:extLst>
              <a:ext uri="{28A0092B-C50C-407E-A947-70E740481C1C}">
                <a14:useLocalDpi xmlns:a14="http://schemas.microsoft.com/office/drawing/2010/main" val="0"/>
              </a:ext>
            </a:extLst>
          </a:blip>
          <a:srcRect l="3299"/>
          <a:stretch/>
        </p:blipFill>
        <p:spPr>
          <a:xfrm>
            <a:off x="6081033" y="1341252"/>
            <a:ext cx="5787816" cy="3605223"/>
          </a:xfrm>
          <a:prstGeom prst="rect">
            <a:avLst/>
          </a:prstGeom>
        </p:spPr>
      </p:pic>
      <p:sp>
        <p:nvSpPr>
          <p:cNvPr id="2" name="Titel 1">
            <a:extLst>
              <a:ext uri="{FF2B5EF4-FFF2-40B4-BE49-F238E27FC236}">
                <a16:creationId xmlns:a16="http://schemas.microsoft.com/office/drawing/2014/main" id="{DF656BD7-99BD-40B4-BF98-44E09741B016}"/>
              </a:ext>
            </a:extLst>
          </p:cNvPr>
          <p:cNvSpPr>
            <a:spLocks noGrp="1"/>
          </p:cNvSpPr>
          <p:nvPr>
            <p:ph type="title"/>
          </p:nvPr>
        </p:nvSpPr>
        <p:spPr/>
        <p:txBody>
          <a:bodyPr/>
          <a:lstStyle/>
          <a:p>
            <a:r>
              <a:rPr lang="de-DE"/>
              <a:t>Modellierung</a:t>
            </a:r>
          </a:p>
        </p:txBody>
      </p:sp>
      <p:sp>
        <p:nvSpPr>
          <p:cNvPr id="24" name="Fußzeilenplatzhalter 4">
            <a:extLst>
              <a:ext uri="{FF2B5EF4-FFF2-40B4-BE49-F238E27FC236}">
                <a16:creationId xmlns:a16="http://schemas.microsoft.com/office/drawing/2014/main" id="{6261AB70-EA4F-4953-93E1-EBC000CB0EFB}"/>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6" name="Textplatzhalter 5">
            <a:extLst>
              <a:ext uri="{FF2B5EF4-FFF2-40B4-BE49-F238E27FC236}">
                <a16:creationId xmlns:a16="http://schemas.microsoft.com/office/drawing/2014/main" id="{D5E1C403-D519-4760-BC98-8DFC502C19D7}"/>
              </a:ext>
            </a:extLst>
          </p:cNvPr>
          <p:cNvSpPr>
            <a:spLocks noGrp="1"/>
          </p:cNvSpPr>
          <p:nvPr>
            <p:ph type="body" sz="quarter" idx="10"/>
          </p:nvPr>
        </p:nvSpPr>
        <p:spPr/>
        <p:txBody>
          <a:bodyPr/>
          <a:lstStyle/>
          <a:p>
            <a:r>
              <a:rPr lang="de-DE" err="1"/>
              <a:t>Residuenplots</a:t>
            </a:r>
            <a:r>
              <a:rPr lang="de-DE"/>
              <a:t> Dynamisches Modell</a:t>
            </a:r>
          </a:p>
        </p:txBody>
      </p:sp>
      <p:pic>
        <p:nvPicPr>
          <p:cNvPr id="4" name="Grafik 3">
            <a:extLst>
              <a:ext uri="{FF2B5EF4-FFF2-40B4-BE49-F238E27FC236}">
                <a16:creationId xmlns:a16="http://schemas.microsoft.com/office/drawing/2014/main" id="{F19D13DB-09D8-4F6B-8A2B-E0A4975D8D9C}"/>
              </a:ext>
            </a:extLst>
          </p:cNvPr>
          <p:cNvPicPr>
            <a:picLocks noChangeAspect="1"/>
          </p:cNvPicPr>
          <p:nvPr/>
        </p:nvPicPr>
        <p:blipFill rotWithShape="1">
          <a:blip r:embed="rId3">
            <a:extLst>
              <a:ext uri="{28A0092B-C50C-407E-A947-70E740481C1C}">
                <a14:useLocalDpi xmlns:a14="http://schemas.microsoft.com/office/drawing/2010/main" val="0"/>
              </a:ext>
            </a:extLst>
          </a:blip>
          <a:srcRect l="3153" r="3907"/>
          <a:stretch/>
        </p:blipFill>
        <p:spPr>
          <a:xfrm>
            <a:off x="678426" y="1341253"/>
            <a:ext cx="5417574" cy="3605224"/>
          </a:xfrm>
          <a:prstGeom prst="rect">
            <a:avLst/>
          </a:prstGeom>
        </p:spPr>
      </p:pic>
      <p:pic>
        <p:nvPicPr>
          <p:cNvPr id="9" name="Grafik 8">
            <a:extLst>
              <a:ext uri="{FF2B5EF4-FFF2-40B4-BE49-F238E27FC236}">
                <a16:creationId xmlns:a16="http://schemas.microsoft.com/office/drawing/2014/main" id="{F1433ACB-75CB-4EAB-8575-B0600C614DB9}"/>
              </a:ext>
            </a:extLst>
          </p:cNvPr>
          <p:cNvPicPr>
            <a:picLocks noChangeAspect="1"/>
          </p:cNvPicPr>
          <p:nvPr/>
        </p:nvPicPr>
        <p:blipFill rotWithShape="1">
          <a:blip r:embed="rId4">
            <a:extLst>
              <a:ext uri="{28A0092B-C50C-407E-A947-70E740481C1C}">
                <a14:useLocalDpi xmlns:a14="http://schemas.microsoft.com/office/drawing/2010/main" val="0"/>
              </a:ext>
            </a:extLst>
          </a:blip>
          <a:srcRect l="3105" r="3777"/>
          <a:stretch/>
        </p:blipFill>
        <p:spPr>
          <a:xfrm>
            <a:off x="678426" y="1341254"/>
            <a:ext cx="5436727" cy="3605224"/>
          </a:xfrm>
          <a:prstGeom prst="rect">
            <a:avLst/>
          </a:prstGeom>
        </p:spPr>
      </p:pic>
      <p:sp>
        <p:nvSpPr>
          <p:cNvPr id="10" name="Pfeil: nach rechts 9">
            <a:extLst>
              <a:ext uri="{FF2B5EF4-FFF2-40B4-BE49-F238E27FC236}">
                <a16:creationId xmlns:a16="http://schemas.microsoft.com/office/drawing/2014/main" id="{7D25AA74-0DA0-4B35-9194-EFEA8AB49AAB}"/>
              </a:ext>
            </a:extLst>
          </p:cNvPr>
          <p:cNvSpPr/>
          <p:nvPr/>
        </p:nvSpPr>
        <p:spPr>
          <a:xfrm>
            <a:off x="6007509" y="2074608"/>
            <a:ext cx="816078" cy="1120691"/>
          </a:xfrm>
          <a:prstGeom prst="rightArrow">
            <a:avLst>
              <a:gd name="adj1" fmla="val 34577"/>
              <a:gd name="adj2" fmla="val 59587"/>
            </a:avLst>
          </a:prstGeom>
          <a:solidFill>
            <a:srgbClr val="557EFB"/>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5" name="Rechteck: abgerundete Ecken 14">
            <a:hlinkClick r:id="rId5" action="ppaction://hlinksldjump"/>
            <a:extLst>
              <a:ext uri="{FF2B5EF4-FFF2-40B4-BE49-F238E27FC236}">
                <a16:creationId xmlns:a16="http://schemas.microsoft.com/office/drawing/2014/main" id="{48598AF7-93F8-4D5B-A5E5-5862F035FCC5}"/>
              </a:ext>
            </a:extLst>
          </p:cNvPr>
          <p:cNvSpPr/>
          <p:nvPr/>
        </p:nvSpPr>
        <p:spPr>
          <a:xfrm>
            <a:off x="11212497" y="5890660"/>
            <a:ext cx="463388" cy="299947"/>
          </a:xfrm>
          <a:prstGeom prst="roundRect">
            <a:avLst/>
          </a:prstGeom>
          <a:solidFill>
            <a:schemeClr val="bg1">
              <a:lumMod val="85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r"/>
            <a:endParaRPr lang="de-DE" sz="1200">
              <a:solidFill>
                <a:schemeClr val="bg1"/>
              </a:solidFill>
            </a:endParaRPr>
          </a:p>
        </p:txBody>
      </p:sp>
      <p:pic>
        <p:nvPicPr>
          <p:cNvPr id="16" name="Grafik 15" descr="Kreis mit Pfeil nach links mit einfarbiger Füllung">
            <a:hlinkClick r:id="rId5" action="ppaction://hlinksldjump"/>
            <a:extLst>
              <a:ext uri="{FF2B5EF4-FFF2-40B4-BE49-F238E27FC236}">
                <a16:creationId xmlns:a16="http://schemas.microsoft.com/office/drawing/2014/main" id="{14A85D1B-FB57-46CA-8523-4185AD928FE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1330088" y="5933036"/>
            <a:ext cx="215194" cy="215194"/>
          </a:xfrm>
          <a:prstGeom prst="rect">
            <a:avLst/>
          </a:prstGeom>
        </p:spPr>
      </p:pic>
    </p:spTree>
    <p:extLst>
      <p:ext uri="{BB962C8B-B14F-4D97-AF65-F5344CB8AC3E}">
        <p14:creationId xmlns:p14="http://schemas.microsoft.com/office/powerpoint/2010/main" val="767042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25A64A18-7FCC-4B03-B655-4FCF06C22A75}"/>
              </a:ext>
            </a:extLst>
          </p:cNvPr>
          <p:cNvSpPr/>
          <p:nvPr/>
        </p:nvSpPr>
        <p:spPr>
          <a:xfrm>
            <a:off x="2009738" y="1710658"/>
            <a:ext cx="8172524" cy="3436683"/>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r>
              <a:rPr lang="de-DE" sz="800" b="1" u="sng">
                <a:solidFill>
                  <a:srgbClr val="E0E0E0"/>
                </a:solidFill>
              </a:rPr>
              <a:t>x</a:t>
            </a:r>
            <a:endParaRPr lang="de-DE" sz="1400">
              <a:solidFill>
                <a:schemeClr val="tx1"/>
              </a:solidFill>
            </a:endParaRPr>
          </a:p>
          <a:p>
            <a:endParaRPr lang="de-DE" sz="1400">
              <a:solidFill>
                <a:schemeClr val="tx1"/>
              </a:solidFill>
            </a:endParaRPr>
          </a:p>
        </p:txBody>
      </p:sp>
      <p:sp>
        <p:nvSpPr>
          <p:cNvPr id="2" name="Titel 1">
            <a:extLst>
              <a:ext uri="{FF2B5EF4-FFF2-40B4-BE49-F238E27FC236}">
                <a16:creationId xmlns:a16="http://schemas.microsoft.com/office/drawing/2014/main" id="{5C404AE5-A648-4944-AC2D-C52C26B04543}"/>
              </a:ext>
            </a:extLst>
          </p:cNvPr>
          <p:cNvSpPr>
            <a:spLocks noGrp="1"/>
          </p:cNvSpPr>
          <p:nvPr>
            <p:ph type="title"/>
          </p:nvPr>
        </p:nvSpPr>
        <p:spPr/>
        <p:txBody>
          <a:bodyPr/>
          <a:lstStyle/>
          <a:p>
            <a:r>
              <a:rPr lang="de-DE"/>
              <a:t>Problemidentifikation</a:t>
            </a:r>
          </a:p>
        </p:txBody>
      </p:sp>
      <p:sp>
        <p:nvSpPr>
          <p:cNvPr id="4" name="Fußzeilenplatzhalter 3">
            <a:extLst>
              <a:ext uri="{FF2B5EF4-FFF2-40B4-BE49-F238E27FC236}">
                <a16:creationId xmlns:a16="http://schemas.microsoft.com/office/drawing/2014/main" id="{8B7B9FF0-BECE-4FF8-B3AD-8AD331F7E501}"/>
              </a:ext>
            </a:extLst>
          </p:cNvPr>
          <p:cNvSpPr>
            <a:spLocks noGrp="1"/>
          </p:cNvSpPr>
          <p:nvPr>
            <p:ph type="ftr" sz="quarter" idx="11"/>
          </p:nvPr>
        </p:nvSpPr>
        <p:spPr/>
        <p:txBody>
          <a:bodyPr/>
          <a:lstStyle/>
          <a:p>
            <a:pPr>
              <a:spcBef>
                <a:spcPct val="20000"/>
              </a:spcBef>
            </a:pPr>
            <a:r>
              <a:rPr lang="de-DE"/>
              <a:t>SCA Case Study – 28.07.2021</a:t>
            </a:r>
          </a:p>
        </p:txBody>
      </p:sp>
      <p:grpSp>
        <p:nvGrpSpPr>
          <p:cNvPr id="3" name="Gruppieren 2">
            <a:extLst>
              <a:ext uri="{FF2B5EF4-FFF2-40B4-BE49-F238E27FC236}">
                <a16:creationId xmlns:a16="http://schemas.microsoft.com/office/drawing/2014/main" id="{41853EBB-A203-4C1E-B5AB-FBBD87B10FF9}"/>
              </a:ext>
            </a:extLst>
          </p:cNvPr>
          <p:cNvGrpSpPr/>
          <p:nvPr/>
        </p:nvGrpSpPr>
        <p:grpSpPr>
          <a:xfrm>
            <a:off x="2434442" y="1962992"/>
            <a:ext cx="1953475" cy="1809672"/>
            <a:chOff x="2453492" y="1801813"/>
            <a:chExt cx="1953475" cy="1809672"/>
          </a:xfrm>
        </p:grpSpPr>
        <p:sp>
          <p:nvSpPr>
            <p:cNvPr id="10" name="Ellipse 9">
              <a:extLst>
                <a:ext uri="{FF2B5EF4-FFF2-40B4-BE49-F238E27FC236}">
                  <a16:creationId xmlns:a16="http://schemas.microsoft.com/office/drawing/2014/main" id="{D0213B5D-ECB6-4C27-8CFC-F31857BA8E24}"/>
                </a:ext>
              </a:extLst>
            </p:cNvPr>
            <p:cNvSpPr/>
            <p:nvPr/>
          </p:nvSpPr>
          <p:spPr>
            <a:xfrm>
              <a:off x="2453492" y="2299316"/>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2" name="Grafik 11" descr="Wolke mit Blitz und Regen mit einfarbiger Füllung">
              <a:extLst>
                <a:ext uri="{FF2B5EF4-FFF2-40B4-BE49-F238E27FC236}">
                  <a16:creationId xmlns:a16="http://schemas.microsoft.com/office/drawing/2014/main" id="{D55C636B-23F4-49C5-8AB7-EF3FC5694D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78098" y="2318327"/>
              <a:ext cx="481682" cy="481682"/>
            </a:xfrm>
            <a:prstGeom prst="rect">
              <a:avLst/>
            </a:prstGeom>
          </p:spPr>
        </p:pic>
        <p:sp>
          <p:nvSpPr>
            <p:cNvPr id="14" name="Ellipse 13">
              <a:extLst>
                <a:ext uri="{FF2B5EF4-FFF2-40B4-BE49-F238E27FC236}">
                  <a16:creationId xmlns:a16="http://schemas.microsoft.com/office/drawing/2014/main" id="{94F357B6-D711-405C-959A-0E9DE06BED7F}"/>
                </a:ext>
              </a:extLst>
            </p:cNvPr>
            <p:cNvSpPr/>
            <p:nvPr/>
          </p:nvSpPr>
          <p:spPr>
            <a:xfrm>
              <a:off x="2505048" y="2839567"/>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5" name="Grafik 14" descr="Welle mit einfarbiger Füllung">
              <a:extLst>
                <a:ext uri="{FF2B5EF4-FFF2-40B4-BE49-F238E27FC236}">
                  <a16:creationId xmlns:a16="http://schemas.microsoft.com/office/drawing/2014/main" id="{7FF5C69E-44D4-4CC6-A2B8-16C454BE8C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50434" y="2849245"/>
              <a:ext cx="436602" cy="436602"/>
            </a:xfrm>
            <a:prstGeom prst="rect">
              <a:avLst/>
            </a:prstGeom>
          </p:spPr>
        </p:pic>
        <p:grpSp>
          <p:nvGrpSpPr>
            <p:cNvPr id="16" name="Gruppieren 15">
              <a:extLst>
                <a:ext uri="{FF2B5EF4-FFF2-40B4-BE49-F238E27FC236}">
                  <a16:creationId xmlns:a16="http://schemas.microsoft.com/office/drawing/2014/main" id="{CD99B194-911F-4B92-8125-08F9F8AFB65E}"/>
                </a:ext>
              </a:extLst>
            </p:cNvPr>
            <p:cNvGrpSpPr/>
            <p:nvPr/>
          </p:nvGrpSpPr>
          <p:grpSpPr>
            <a:xfrm>
              <a:off x="2968487" y="1801813"/>
              <a:ext cx="505494" cy="481681"/>
              <a:chOff x="5862900" y="1642576"/>
              <a:chExt cx="505494" cy="481681"/>
            </a:xfrm>
          </p:grpSpPr>
          <p:sp>
            <p:nvSpPr>
              <p:cNvPr id="41" name="Ellipse 40">
                <a:extLst>
                  <a:ext uri="{FF2B5EF4-FFF2-40B4-BE49-F238E27FC236}">
                    <a16:creationId xmlns:a16="http://schemas.microsoft.com/office/drawing/2014/main" id="{0DC22935-7316-48BA-82C6-6EB4F42AE654}"/>
                  </a:ext>
                </a:extLst>
              </p:cNvPr>
              <p:cNvSpPr/>
              <p:nvPr/>
            </p:nvSpPr>
            <p:spPr>
              <a:xfrm>
                <a:off x="5862900" y="1642576"/>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 name="Bildplatzhalter 12" descr="Anker mit einfarbiger Füllung">
                <a:extLst>
                  <a:ext uri="{FF2B5EF4-FFF2-40B4-BE49-F238E27FC236}">
                    <a16:creationId xmlns:a16="http://schemas.microsoft.com/office/drawing/2014/main" id="{A1A3FEEE-CF18-4068-9F90-F408BF7EF108}"/>
                  </a:ext>
                </a:extLst>
              </p:cNvPr>
              <p:cNvSpPr/>
              <p:nvPr/>
            </p:nvSpPr>
            <p:spPr>
              <a:xfrm>
                <a:off x="5978627" y="1712059"/>
                <a:ext cx="268273" cy="307090"/>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chemeClr val="bg1">
                  <a:lumMod val="95000"/>
                </a:schemeClr>
              </a:solidFill>
              <a:ln w="16371" cap="flat">
                <a:noFill/>
                <a:prstDash val="solid"/>
                <a:miter/>
              </a:ln>
            </p:spPr>
            <p:txBody>
              <a:bodyPr rtlCol="0" anchor="ctr"/>
              <a:lstStyle/>
              <a:p>
                <a:endParaRPr lang="de-DE"/>
              </a:p>
            </p:txBody>
          </p:sp>
        </p:grpSp>
        <p:sp>
          <p:nvSpPr>
            <p:cNvPr id="39" name="Ellipse 38">
              <a:extLst>
                <a:ext uri="{FF2B5EF4-FFF2-40B4-BE49-F238E27FC236}">
                  <a16:creationId xmlns:a16="http://schemas.microsoft.com/office/drawing/2014/main" id="{156FFD52-ECEE-4B31-874E-07D089EA9722}"/>
                </a:ext>
              </a:extLst>
            </p:cNvPr>
            <p:cNvSpPr/>
            <p:nvPr/>
          </p:nvSpPr>
          <p:spPr>
            <a:xfrm>
              <a:off x="3901473" y="2318327"/>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0" name="Grafik 39" descr="Wasserkraft mit einfarbiger Füllung">
              <a:extLst>
                <a:ext uri="{FF2B5EF4-FFF2-40B4-BE49-F238E27FC236}">
                  <a16:creationId xmlns:a16="http://schemas.microsoft.com/office/drawing/2014/main" id="{990DAA9A-287C-4488-BC8B-B1B80303846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93683" y="2393934"/>
              <a:ext cx="344407" cy="344407"/>
            </a:xfrm>
            <a:prstGeom prst="rect">
              <a:avLst/>
            </a:prstGeom>
          </p:spPr>
        </p:pic>
        <p:sp>
          <p:nvSpPr>
            <p:cNvPr id="19" name="Ellipse 18">
              <a:extLst>
                <a:ext uri="{FF2B5EF4-FFF2-40B4-BE49-F238E27FC236}">
                  <a16:creationId xmlns:a16="http://schemas.microsoft.com/office/drawing/2014/main" id="{D709B98F-4A4B-4D0E-986F-7CB35E351692}"/>
                </a:ext>
              </a:extLst>
            </p:cNvPr>
            <p:cNvSpPr/>
            <p:nvPr/>
          </p:nvSpPr>
          <p:spPr>
            <a:xfrm>
              <a:off x="3563207" y="3129804"/>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0" name="Gruppieren 19">
              <a:extLst>
                <a:ext uri="{FF2B5EF4-FFF2-40B4-BE49-F238E27FC236}">
                  <a16:creationId xmlns:a16="http://schemas.microsoft.com/office/drawing/2014/main" id="{3E4A31CF-023F-4AC1-9D5F-7E4B05756834}"/>
                </a:ext>
              </a:extLst>
            </p:cNvPr>
            <p:cNvGrpSpPr/>
            <p:nvPr/>
          </p:nvGrpSpPr>
          <p:grpSpPr>
            <a:xfrm>
              <a:off x="3676359" y="3173998"/>
              <a:ext cx="304589" cy="357779"/>
              <a:chOff x="5745080" y="1534870"/>
              <a:chExt cx="744550" cy="874572"/>
            </a:xfrm>
            <a:solidFill>
              <a:schemeClr val="bg1">
                <a:lumMod val="95000"/>
              </a:schemeClr>
            </a:solidFill>
          </p:grpSpPr>
          <p:grpSp>
            <p:nvGrpSpPr>
              <p:cNvPr id="21" name="Gruppieren 20">
                <a:extLst>
                  <a:ext uri="{FF2B5EF4-FFF2-40B4-BE49-F238E27FC236}">
                    <a16:creationId xmlns:a16="http://schemas.microsoft.com/office/drawing/2014/main" id="{1D6E4897-44EB-41A0-BD6D-F9EDD08F4209}"/>
                  </a:ext>
                </a:extLst>
              </p:cNvPr>
              <p:cNvGrpSpPr/>
              <p:nvPr/>
            </p:nvGrpSpPr>
            <p:grpSpPr>
              <a:xfrm>
                <a:off x="5745080" y="1965727"/>
                <a:ext cx="744550" cy="443715"/>
                <a:chOff x="9316970" y="1884825"/>
                <a:chExt cx="1514374" cy="947540"/>
              </a:xfrm>
              <a:grpFill/>
            </p:grpSpPr>
            <p:sp>
              <p:nvSpPr>
                <p:cNvPr id="27" name="Bildplatzhalter 14" descr="Fracht mit einfarbiger Füllung">
                  <a:extLst>
                    <a:ext uri="{FF2B5EF4-FFF2-40B4-BE49-F238E27FC236}">
                      <a16:creationId xmlns:a16="http://schemas.microsoft.com/office/drawing/2014/main" id="{EE2B2950-848B-4996-AEFF-D05A66827CD3}"/>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8" name="Bildplatzhalter 14" descr="Fracht mit einfarbiger Füllung">
                  <a:extLst>
                    <a:ext uri="{FF2B5EF4-FFF2-40B4-BE49-F238E27FC236}">
                      <a16:creationId xmlns:a16="http://schemas.microsoft.com/office/drawing/2014/main" id="{624EBB6D-E948-4139-8E07-E6D2021A8D7F}"/>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9" name="Bildplatzhalter 14" descr="Fracht mit einfarbiger Füllung">
                  <a:extLst>
                    <a:ext uri="{FF2B5EF4-FFF2-40B4-BE49-F238E27FC236}">
                      <a16:creationId xmlns:a16="http://schemas.microsoft.com/office/drawing/2014/main" id="{6B8B1EAE-365A-4731-B789-33B318561476}"/>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0" name="Bildplatzhalter 14" descr="Fracht mit einfarbiger Füllung">
                  <a:extLst>
                    <a:ext uri="{FF2B5EF4-FFF2-40B4-BE49-F238E27FC236}">
                      <a16:creationId xmlns:a16="http://schemas.microsoft.com/office/drawing/2014/main" id="{953C21FF-1F68-466A-8166-9A210810CAFE}"/>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1" name="Bildplatzhalter 14" descr="Fracht mit einfarbiger Füllung">
                  <a:extLst>
                    <a:ext uri="{FF2B5EF4-FFF2-40B4-BE49-F238E27FC236}">
                      <a16:creationId xmlns:a16="http://schemas.microsoft.com/office/drawing/2014/main" id="{83AE40BD-8DD2-4616-BE74-36BE7E5234AF}"/>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2" name="Bildplatzhalter 14" descr="Fracht mit einfarbiger Füllung">
                  <a:extLst>
                    <a:ext uri="{FF2B5EF4-FFF2-40B4-BE49-F238E27FC236}">
                      <a16:creationId xmlns:a16="http://schemas.microsoft.com/office/drawing/2014/main" id="{090CFE6B-48BB-496A-8CC4-C16B94B7117C}"/>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3" name="Bildplatzhalter 14" descr="Fracht mit einfarbiger Füllung">
                  <a:extLst>
                    <a:ext uri="{FF2B5EF4-FFF2-40B4-BE49-F238E27FC236}">
                      <a16:creationId xmlns:a16="http://schemas.microsoft.com/office/drawing/2014/main" id="{B62D510C-4481-4AF3-959C-29AEFE673448}"/>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4" name="Bildplatzhalter 14" descr="Fracht mit einfarbiger Füllung">
                  <a:extLst>
                    <a:ext uri="{FF2B5EF4-FFF2-40B4-BE49-F238E27FC236}">
                      <a16:creationId xmlns:a16="http://schemas.microsoft.com/office/drawing/2014/main" id="{6869A1A2-81F0-4B67-B386-6B409CE2134B}"/>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35" name="Bildplatzhalter 14" descr="Fracht mit einfarbiger Füllung">
                  <a:extLst>
                    <a:ext uri="{FF2B5EF4-FFF2-40B4-BE49-F238E27FC236}">
                      <a16:creationId xmlns:a16="http://schemas.microsoft.com/office/drawing/2014/main" id="{29540BC3-24F6-451F-AD88-7BEC20948629}"/>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36" name="Bildplatzhalter 14" descr="Fracht mit einfarbiger Füllung">
                  <a:extLst>
                    <a:ext uri="{FF2B5EF4-FFF2-40B4-BE49-F238E27FC236}">
                      <a16:creationId xmlns:a16="http://schemas.microsoft.com/office/drawing/2014/main" id="{0EF348A0-296B-49B0-9484-69DD652E5AD8}"/>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22" name="Gruppieren 21">
                <a:extLst>
                  <a:ext uri="{FF2B5EF4-FFF2-40B4-BE49-F238E27FC236}">
                    <a16:creationId xmlns:a16="http://schemas.microsoft.com/office/drawing/2014/main" id="{DC123A24-B83A-407A-8F96-8C7F49884900}"/>
                  </a:ext>
                </a:extLst>
              </p:cNvPr>
              <p:cNvGrpSpPr/>
              <p:nvPr/>
            </p:nvGrpSpPr>
            <p:grpSpPr>
              <a:xfrm>
                <a:off x="5896644" y="1534870"/>
                <a:ext cx="398712" cy="415448"/>
                <a:chOff x="-1463559" y="2802046"/>
                <a:chExt cx="1343912" cy="1321940"/>
              </a:xfrm>
              <a:grpFill/>
            </p:grpSpPr>
            <p:sp>
              <p:nvSpPr>
                <p:cNvPr id="23" name="Bildplatzhalter 10" descr="Schlepper mit einfarbiger Füllung">
                  <a:extLst>
                    <a:ext uri="{FF2B5EF4-FFF2-40B4-BE49-F238E27FC236}">
                      <a16:creationId xmlns:a16="http://schemas.microsoft.com/office/drawing/2014/main" id="{310E7E0A-0102-4048-9CFC-DCF388BF6229}"/>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24" name="Bildplatzhalter 10" descr="Schlepper mit einfarbiger Füllung">
                  <a:extLst>
                    <a:ext uri="{FF2B5EF4-FFF2-40B4-BE49-F238E27FC236}">
                      <a16:creationId xmlns:a16="http://schemas.microsoft.com/office/drawing/2014/main" id="{E48E7638-5AF0-49AE-90B6-8E5B4571FFCE}"/>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25" name="Bildplatzhalter 10" descr="Schlepper mit einfarbiger Füllung">
                  <a:extLst>
                    <a:ext uri="{FF2B5EF4-FFF2-40B4-BE49-F238E27FC236}">
                      <a16:creationId xmlns:a16="http://schemas.microsoft.com/office/drawing/2014/main" id="{3EFD9D3A-9A31-41C1-B8BD-028045F6D32A}"/>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26" name="Bildplatzhalter 10" descr="Schlepper mit einfarbiger Füllung">
                  <a:extLst>
                    <a:ext uri="{FF2B5EF4-FFF2-40B4-BE49-F238E27FC236}">
                      <a16:creationId xmlns:a16="http://schemas.microsoft.com/office/drawing/2014/main" id="{21CC2626-98B2-40F0-A401-06CF268B2475}"/>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grpSp>
          <p:nvGrpSpPr>
            <p:cNvPr id="43" name="Gruppieren 42">
              <a:extLst>
                <a:ext uri="{FF2B5EF4-FFF2-40B4-BE49-F238E27FC236}">
                  <a16:creationId xmlns:a16="http://schemas.microsoft.com/office/drawing/2014/main" id="{807295D7-F5E5-4F6B-BE41-58AAB01CDA70}"/>
                </a:ext>
              </a:extLst>
            </p:cNvPr>
            <p:cNvGrpSpPr/>
            <p:nvPr/>
          </p:nvGrpSpPr>
          <p:grpSpPr>
            <a:xfrm>
              <a:off x="2746331" y="2074544"/>
              <a:ext cx="1320806" cy="1256278"/>
              <a:chOff x="5226389" y="1947088"/>
              <a:chExt cx="1320806" cy="1256278"/>
            </a:xfrm>
          </p:grpSpPr>
          <p:sp>
            <p:nvSpPr>
              <p:cNvPr id="49" name="Ellipse 48">
                <a:extLst>
                  <a:ext uri="{FF2B5EF4-FFF2-40B4-BE49-F238E27FC236}">
                    <a16:creationId xmlns:a16="http://schemas.microsoft.com/office/drawing/2014/main" id="{63A5D235-2DD8-4962-BB1E-44BE3CF1A9E0}"/>
                  </a:ext>
                </a:extLst>
              </p:cNvPr>
              <p:cNvSpPr/>
              <p:nvPr/>
            </p:nvSpPr>
            <p:spPr>
              <a:xfrm>
                <a:off x="5226389" y="1947088"/>
                <a:ext cx="1320806" cy="1256278"/>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0" name="Grafik 49" descr="Uhr mit einfarbiger Füllung">
                <a:extLst>
                  <a:ext uri="{FF2B5EF4-FFF2-40B4-BE49-F238E27FC236}">
                    <a16:creationId xmlns:a16="http://schemas.microsoft.com/office/drawing/2014/main" id="{1678EAB6-D1CE-4553-8B5D-755833D09D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39489" y="2120901"/>
                <a:ext cx="914400" cy="914400"/>
              </a:xfrm>
              <a:prstGeom prst="rect">
                <a:avLst/>
              </a:prstGeom>
            </p:spPr>
          </p:pic>
        </p:grpSp>
      </p:grpSp>
      <p:sp>
        <p:nvSpPr>
          <p:cNvPr id="51" name="Textfeld 50">
            <a:extLst>
              <a:ext uri="{FF2B5EF4-FFF2-40B4-BE49-F238E27FC236}">
                <a16:creationId xmlns:a16="http://schemas.microsoft.com/office/drawing/2014/main" id="{1B7EEBD2-AD82-478D-A1EB-5F827F3EEE93}"/>
              </a:ext>
            </a:extLst>
          </p:cNvPr>
          <p:cNvSpPr txBox="1"/>
          <p:nvPr/>
        </p:nvSpPr>
        <p:spPr bwMode="auto">
          <a:xfrm>
            <a:off x="4600752" y="1959910"/>
            <a:ext cx="4775605" cy="2081672"/>
          </a:xfrm>
          <a:prstGeom prst="rect">
            <a:avLst/>
          </a:prstGeom>
          <a:noFill/>
          <a:ln w="6350">
            <a:noFill/>
            <a:prstDash val="solid"/>
            <a:miter lim="800000"/>
            <a:headEnd/>
            <a:tailEnd/>
          </a:ln>
        </p:spPr>
        <p:txBody>
          <a:bodyPr wrap="square" lIns="72000" rIns="72000" rtlCol="0">
            <a:noAutofit/>
          </a:bodyPr>
          <a:lstStyle/>
          <a:p>
            <a:r>
              <a:rPr lang="de-DE" sz="1400" b="1" u="sng">
                <a:solidFill>
                  <a:schemeClr val="tx1"/>
                </a:solidFill>
              </a:rPr>
              <a:t>SELECT-Projekt</a:t>
            </a:r>
            <a:br>
              <a:rPr lang="de-DE" sz="1400" b="1" u="sng">
                <a:solidFill>
                  <a:schemeClr val="tx1"/>
                </a:solidFill>
              </a:rPr>
            </a:br>
            <a:r>
              <a:rPr lang="de-DE" sz="600" b="1" u="sng">
                <a:solidFill>
                  <a:srgbClr val="E0E0E0"/>
                </a:solidFill>
              </a:rPr>
              <a:t>x</a:t>
            </a:r>
            <a:br>
              <a:rPr lang="de-DE" sz="1400" b="1" u="sng">
                <a:solidFill>
                  <a:schemeClr val="tx1"/>
                </a:solidFill>
              </a:rPr>
            </a:br>
            <a:r>
              <a:rPr lang="de-DE" sz="1400">
                <a:solidFill>
                  <a:schemeClr val="tx1"/>
                </a:solidFill>
              </a:rPr>
              <a:t>Beitrag zu effizienterer &amp; zuverlässiger Realisierung der maritimen Transportkette über die Präzision der ETA:</a:t>
            </a:r>
            <a:br>
              <a:rPr lang="de-DE" sz="1400">
                <a:solidFill>
                  <a:schemeClr val="tx1"/>
                </a:solidFill>
              </a:rPr>
            </a:br>
            <a:r>
              <a:rPr lang="de-DE" sz="800" b="1" u="sng">
                <a:solidFill>
                  <a:srgbClr val="E0E0E0"/>
                </a:solidFill>
              </a:rPr>
              <a:t>x</a:t>
            </a:r>
            <a:br>
              <a:rPr lang="de-DE" sz="1400">
                <a:solidFill>
                  <a:schemeClr val="tx1"/>
                </a:solidFill>
              </a:rPr>
            </a:br>
            <a:r>
              <a:rPr lang="de-DE" sz="800" b="1" u="sng" err="1">
                <a:solidFill>
                  <a:srgbClr val="E0E0E0"/>
                </a:solidFill>
              </a:rPr>
              <a:t>x</a:t>
            </a:r>
            <a:endParaRPr lang="de-DE" sz="1400">
              <a:solidFill>
                <a:schemeClr val="tx1"/>
              </a:solidFill>
            </a:endParaRPr>
          </a:p>
          <a:p>
            <a:pPr marL="742950" lvl="1" indent="-285750">
              <a:buFont typeface="Courier New" panose="02070309020205020404" pitchFamily="49" charset="0"/>
              <a:buChar char="o"/>
            </a:pPr>
            <a:r>
              <a:rPr lang="de-DE" sz="1400">
                <a:solidFill>
                  <a:schemeClr val="tx1"/>
                </a:solidFill>
              </a:rPr>
              <a:t>Verbesserung der Genauigkeit der Vorhersage </a:t>
            </a:r>
            <a:r>
              <a:rPr lang="de-DE" sz="1100">
                <a:solidFill>
                  <a:schemeClr val="tx1"/>
                </a:solidFill>
              </a:rPr>
              <a:t>(z. T. von Tagen auf Stunden)</a:t>
            </a:r>
          </a:p>
          <a:p>
            <a:pPr marL="742950" lvl="1" indent="-285750">
              <a:buFont typeface="Courier New" panose="02070309020205020404" pitchFamily="49" charset="0"/>
              <a:buChar char="o"/>
            </a:pPr>
            <a:r>
              <a:rPr lang="de-DE" sz="1400">
                <a:solidFill>
                  <a:schemeClr val="tx1"/>
                </a:solidFill>
              </a:rPr>
              <a:t>Automatisierte &amp; dynamische Vorhersage</a:t>
            </a:r>
          </a:p>
          <a:p>
            <a:pPr marL="742950" lvl="1" indent="-285750">
              <a:buFont typeface="Courier New" panose="02070309020205020404" pitchFamily="49" charset="0"/>
              <a:buChar char="o"/>
            </a:pPr>
            <a:r>
              <a:rPr lang="de-DE" sz="1400">
                <a:solidFill>
                  <a:schemeClr val="tx1"/>
                </a:solidFill>
              </a:rPr>
              <a:t>Situationsspezifische Handlungsempfehlungen</a:t>
            </a:r>
            <a:endParaRPr lang="de-DE" sz="1400"/>
          </a:p>
        </p:txBody>
      </p:sp>
      <p:grpSp>
        <p:nvGrpSpPr>
          <p:cNvPr id="8" name="Gruppieren 7">
            <a:extLst>
              <a:ext uri="{FF2B5EF4-FFF2-40B4-BE49-F238E27FC236}">
                <a16:creationId xmlns:a16="http://schemas.microsoft.com/office/drawing/2014/main" id="{96FF05FA-5056-442C-9D3D-C3D4D77AA689}"/>
              </a:ext>
            </a:extLst>
          </p:cNvPr>
          <p:cNvGrpSpPr/>
          <p:nvPr/>
        </p:nvGrpSpPr>
        <p:grpSpPr>
          <a:xfrm>
            <a:off x="4319040" y="3721531"/>
            <a:ext cx="6529935" cy="1529991"/>
            <a:chOff x="4319040" y="3721531"/>
            <a:chExt cx="6529935" cy="1529991"/>
          </a:xfrm>
        </p:grpSpPr>
        <p:sp>
          <p:nvSpPr>
            <p:cNvPr id="53" name="Pfeil: nach rechts 52">
              <a:extLst>
                <a:ext uri="{FF2B5EF4-FFF2-40B4-BE49-F238E27FC236}">
                  <a16:creationId xmlns:a16="http://schemas.microsoft.com/office/drawing/2014/main" id="{793D4857-2790-4A4D-84EE-37D11B86BB1A}"/>
                </a:ext>
              </a:extLst>
            </p:cNvPr>
            <p:cNvSpPr/>
            <p:nvPr/>
          </p:nvSpPr>
          <p:spPr>
            <a:xfrm>
              <a:off x="4319040" y="3721531"/>
              <a:ext cx="6529935" cy="1529991"/>
            </a:xfrm>
            <a:prstGeom prst="rightArrow">
              <a:avLst>
                <a:gd name="adj1" fmla="val 50000"/>
                <a:gd name="adj2" fmla="val 30689"/>
              </a:avLst>
            </a:prstGeom>
            <a:solidFill>
              <a:srgbClr val="E0E0E0"/>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37" name="Textfeld 36">
              <a:extLst>
                <a:ext uri="{FF2B5EF4-FFF2-40B4-BE49-F238E27FC236}">
                  <a16:creationId xmlns:a16="http://schemas.microsoft.com/office/drawing/2014/main" id="{3C3D72FA-44B4-4797-B899-4A25C44EE1C5}"/>
                </a:ext>
              </a:extLst>
            </p:cNvPr>
            <p:cNvSpPr txBox="1"/>
            <p:nvPr/>
          </p:nvSpPr>
          <p:spPr bwMode="auto">
            <a:xfrm>
              <a:off x="5183274" y="4167000"/>
              <a:ext cx="2719709" cy="396354"/>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en-US" sz="1400" b="1" err="1">
                  <a:solidFill>
                    <a:srgbClr val="3E8A83"/>
                  </a:solidFill>
                  <a:latin typeface="+mj-lt"/>
                  <a:cs typeface="Helvetica" panose="020B0604020202020204" pitchFamily="34" charset="0"/>
                </a:rPr>
                <a:t>Entscheidungsunterstützung</a:t>
              </a:r>
              <a:r>
                <a:rPr lang="en-US" sz="1400" b="1">
                  <a:solidFill>
                    <a:srgbClr val="3E8A83"/>
                  </a:solidFill>
                  <a:latin typeface="+mj-lt"/>
                  <a:cs typeface="Helvetica" panose="020B0604020202020204" pitchFamily="34" charset="0"/>
                </a:rPr>
                <a:t> und </a:t>
              </a:r>
              <a:r>
                <a:rPr lang="en-US" sz="1400" b="1" err="1">
                  <a:solidFill>
                    <a:srgbClr val="3E8A83"/>
                  </a:solidFill>
                  <a:latin typeface="+mj-lt"/>
                  <a:cs typeface="Helvetica" panose="020B0604020202020204" pitchFamily="34" charset="0"/>
                </a:rPr>
                <a:t>Machbarkeitsprüfung</a:t>
              </a:r>
              <a:r>
                <a:rPr lang="en-US" sz="1400" b="1">
                  <a:solidFill>
                    <a:srgbClr val="3E8A83"/>
                  </a:solidFill>
                  <a:latin typeface="+mj-lt"/>
                  <a:cs typeface="Helvetica" panose="020B0604020202020204" pitchFamily="34" charset="0"/>
                </a:rPr>
                <a:t> </a:t>
              </a:r>
              <a:r>
                <a:rPr lang="en-US" sz="1400" b="1" err="1">
                  <a:solidFill>
                    <a:srgbClr val="3E8A83"/>
                  </a:solidFill>
                  <a:latin typeface="+mj-lt"/>
                  <a:cs typeface="Helvetica" panose="020B0604020202020204" pitchFamily="34" charset="0"/>
                </a:rPr>
                <a:t>erforderlich</a:t>
              </a:r>
              <a:endParaRPr lang="en-US" sz="1400" b="1">
                <a:solidFill>
                  <a:srgbClr val="3E8A83"/>
                </a:solidFill>
                <a:latin typeface="+mj-lt"/>
                <a:cs typeface="Helvetica" panose="020B0604020202020204" pitchFamily="34" charset="0"/>
              </a:endParaRPr>
            </a:p>
            <a:p>
              <a:pPr marL="342900" indent="-342900">
                <a:lnSpc>
                  <a:spcPct val="125000"/>
                </a:lnSpc>
                <a:spcAft>
                  <a:spcPts val="400"/>
                </a:spcAft>
                <a:buClr>
                  <a:schemeClr val="accent1"/>
                </a:buClr>
                <a:buAutoNum type="arabicPeriod"/>
              </a:pPr>
              <a:endParaRPr lang="de-DE" sz="1400"/>
            </a:p>
          </p:txBody>
        </p:sp>
        <p:sp>
          <p:nvSpPr>
            <p:cNvPr id="52" name="Ellipse 51">
              <a:extLst>
                <a:ext uri="{FF2B5EF4-FFF2-40B4-BE49-F238E27FC236}">
                  <a16:creationId xmlns:a16="http://schemas.microsoft.com/office/drawing/2014/main" id="{268708DA-976B-4C56-800F-B8D0CCCC25D5}"/>
                </a:ext>
              </a:extLst>
            </p:cNvPr>
            <p:cNvSpPr/>
            <p:nvPr/>
          </p:nvSpPr>
          <p:spPr>
            <a:xfrm>
              <a:off x="4637792" y="4241359"/>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7" name="Grafik 6" descr="Handschlag mit einfarbiger Füllung">
              <a:extLst>
                <a:ext uri="{FF2B5EF4-FFF2-40B4-BE49-F238E27FC236}">
                  <a16:creationId xmlns:a16="http://schemas.microsoft.com/office/drawing/2014/main" id="{2079DC3F-E46B-4C45-B403-7D584CEE28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92362" y="4297666"/>
              <a:ext cx="396354" cy="396354"/>
            </a:xfrm>
            <a:prstGeom prst="rect">
              <a:avLst/>
            </a:prstGeom>
          </p:spPr>
        </p:pic>
      </p:grpSp>
      <p:pic>
        <p:nvPicPr>
          <p:cNvPr id="54" name="Grafik 53">
            <a:extLst>
              <a:ext uri="{FF2B5EF4-FFF2-40B4-BE49-F238E27FC236}">
                <a16:creationId xmlns:a16="http://schemas.microsoft.com/office/drawing/2014/main" id="{67035EA6-851A-4159-92B4-E234367C735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30822" y="1985092"/>
            <a:ext cx="330356" cy="245619"/>
          </a:xfrm>
          <a:prstGeom prst="rect">
            <a:avLst/>
          </a:prstGeom>
        </p:spPr>
      </p:pic>
      <p:sp>
        <p:nvSpPr>
          <p:cNvPr id="55" name="Pfeil: nach rechts 54">
            <a:extLst>
              <a:ext uri="{FF2B5EF4-FFF2-40B4-BE49-F238E27FC236}">
                <a16:creationId xmlns:a16="http://schemas.microsoft.com/office/drawing/2014/main" id="{84E5A0D9-11AA-4CCF-8237-6242B1EEA485}"/>
              </a:ext>
            </a:extLst>
          </p:cNvPr>
          <p:cNvSpPr/>
          <p:nvPr/>
        </p:nvSpPr>
        <p:spPr>
          <a:xfrm>
            <a:off x="-4368564" y="1574569"/>
            <a:ext cx="6529935" cy="1529991"/>
          </a:xfrm>
          <a:prstGeom prst="rightArrow">
            <a:avLst>
              <a:gd name="adj1" fmla="val 50000"/>
              <a:gd name="adj2" fmla="val 30689"/>
            </a:avLst>
          </a:prstGeom>
          <a:solidFill>
            <a:srgbClr val="E0E0E0"/>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Tree>
    <p:extLst>
      <p:ext uri="{BB962C8B-B14F-4D97-AF65-F5344CB8AC3E}">
        <p14:creationId xmlns:p14="http://schemas.microsoft.com/office/powerpoint/2010/main" val="4093100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1" name="Gruppieren 420">
            <a:extLst>
              <a:ext uri="{FF2B5EF4-FFF2-40B4-BE49-F238E27FC236}">
                <a16:creationId xmlns:a16="http://schemas.microsoft.com/office/drawing/2014/main" id="{9941C6E3-43FA-40D2-9EB9-727648D1C11A}"/>
              </a:ext>
            </a:extLst>
          </p:cNvPr>
          <p:cNvGrpSpPr/>
          <p:nvPr/>
        </p:nvGrpSpPr>
        <p:grpSpPr>
          <a:xfrm>
            <a:off x="12762268" y="3013913"/>
            <a:ext cx="3483435" cy="1828661"/>
            <a:chOff x="7470327" y="4338309"/>
            <a:chExt cx="3483435" cy="1828661"/>
          </a:xfrm>
        </p:grpSpPr>
        <p:grpSp>
          <p:nvGrpSpPr>
            <p:cNvPr id="419" name="Gruppieren 418">
              <a:extLst>
                <a:ext uri="{FF2B5EF4-FFF2-40B4-BE49-F238E27FC236}">
                  <a16:creationId xmlns:a16="http://schemas.microsoft.com/office/drawing/2014/main" id="{B2D04071-08CD-4563-AEFB-9ECCC3C05EAB}"/>
                </a:ext>
              </a:extLst>
            </p:cNvPr>
            <p:cNvGrpSpPr/>
            <p:nvPr/>
          </p:nvGrpSpPr>
          <p:grpSpPr>
            <a:xfrm>
              <a:off x="7470327" y="4610810"/>
              <a:ext cx="3242606" cy="1556160"/>
              <a:chOff x="5523502" y="4958189"/>
              <a:chExt cx="3242606" cy="1556160"/>
            </a:xfrm>
          </p:grpSpPr>
          <p:pic>
            <p:nvPicPr>
              <p:cNvPr id="417" name="Grafik 416">
                <a:extLst>
                  <a:ext uri="{FF2B5EF4-FFF2-40B4-BE49-F238E27FC236}">
                    <a16:creationId xmlns:a16="http://schemas.microsoft.com/office/drawing/2014/main" id="{B5750E33-4D44-4CD7-AF17-5FE78938E48A}"/>
                  </a:ext>
                </a:extLst>
              </p:cNvPr>
              <p:cNvPicPr>
                <a:picLocks noChangeAspect="1"/>
              </p:cNvPicPr>
              <p:nvPr/>
            </p:nvPicPr>
            <p:blipFill>
              <a:blip r:embed="rId3">
                <a:duotone>
                  <a:schemeClr val="accent4">
                    <a:shade val="45000"/>
                    <a:satMod val="135000"/>
                  </a:schemeClr>
                  <a:prstClr val="white"/>
                </a:duotone>
              </a:blip>
              <a:stretch>
                <a:fillRect/>
              </a:stretch>
            </p:blipFill>
            <p:spPr>
              <a:xfrm>
                <a:off x="5882175" y="4958189"/>
                <a:ext cx="2871465" cy="1530229"/>
              </a:xfrm>
              <a:prstGeom prst="rect">
                <a:avLst/>
              </a:prstGeom>
            </p:spPr>
          </p:pic>
          <p:sp>
            <p:nvSpPr>
              <p:cNvPr id="418" name="Rechteck 417">
                <a:extLst>
                  <a:ext uri="{FF2B5EF4-FFF2-40B4-BE49-F238E27FC236}">
                    <a16:creationId xmlns:a16="http://schemas.microsoft.com/office/drawing/2014/main" id="{B19FA483-FB58-4721-9B5C-4F39D5081CD5}"/>
                  </a:ext>
                </a:extLst>
              </p:cNvPr>
              <p:cNvSpPr/>
              <p:nvPr/>
            </p:nvSpPr>
            <p:spPr>
              <a:xfrm>
                <a:off x="5523502" y="6154309"/>
                <a:ext cx="3242606"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420" name="Rechteck 419">
              <a:extLst>
                <a:ext uri="{FF2B5EF4-FFF2-40B4-BE49-F238E27FC236}">
                  <a16:creationId xmlns:a16="http://schemas.microsoft.com/office/drawing/2014/main" id="{B95A1830-3DE9-4FAF-BB96-8BCD027AB2E0}"/>
                </a:ext>
              </a:extLst>
            </p:cNvPr>
            <p:cNvSpPr/>
            <p:nvPr/>
          </p:nvSpPr>
          <p:spPr>
            <a:xfrm rot="5400000">
              <a:off x="10008627" y="4923404"/>
              <a:ext cx="1530229"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5" name="Rechteck: abgerundete Ecken 4">
            <a:extLst>
              <a:ext uri="{FF2B5EF4-FFF2-40B4-BE49-F238E27FC236}">
                <a16:creationId xmlns:a16="http://schemas.microsoft.com/office/drawing/2014/main" id="{25A64A18-7FCC-4B03-B655-4FCF06C22A75}"/>
              </a:ext>
            </a:extLst>
          </p:cNvPr>
          <p:cNvSpPr/>
          <p:nvPr/>
        </p:nvSpPr>
        <p:spPr>
          <a:xfrm>
            <a:off x="1304430" y="1117601"/>
            <a:ext cx="3840037" cy="4677702"/>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r>
              <a:rPr lang="de-DE" sz="800" b="1" u="sng">
                <a:solidFill>
                  <a:srgbClr val="E0E0E0"/>
                </a:solidFill>
              </a:rPr>
              <a:t>x</a:t>
            </a:r>
            <a:endParaRPr lang="de-DE" sz="1400">
              <a:solidFill>
                <a:schemeClr val="tx1"/>
              </a:solidFill>
            </a:endParaRPr>
          </a:p>
          <a:p>
            <a:endParaRPr lang="de-DE" sz="1400">
              <a:solidFill>
                <a:schemeClr val="tx1"/>
              </a:solidFill>
            </a:endParaRPr>
          </a:p>
        </p:txBody>
      </p:sp>
      <p:sp>
        <p:nvSpPr>
          <p:cNvPr id="116" name="Rechteck: abgerundete Ecken 115">
            <a:extLst>
              <a:ext uri="{FF2B5EF4-FFF2-40B4-BE49-F238E27FC236}">
                <a16:creationId xmlns:a16="http://schemas.microsoft.com/office/drawing/2014/main" id="{121510AB-EC4F-43B7-8193-13808FAB3BA7}"/>
              </a:ext>
            </a:extLst>
          </p:cNvPr>
          <p:cNvSpPr/>
          <p:nvPr/>
        </p:nvSpPr>
        <p:spPr>
          <a:xfrm>
            <a:off x="3257982" y="2818772"/>
            <a:ext cx="1805727" cy="2627277"/>
          </a:xfrm>
          <a:prstGeom prst="roundRect">
            <a:avLst>
              <a:gd name="adj" fmla="val 7337"/>
            </a:avLst>
          </a:prstGeom>
          <a:solidFill>
            <a:schemeClr val="bg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endParaRPr lang="de-DE" sz="1400">
              <a:solidFill>
                <a:schemeClr val="tx1"/>
              </a:solidFill>
            </a:endParaRPr>
          </a:p>
          <a:p>
            <a:endParaRPr lang="de-DE" sz="1400">
              <a:solidFill>
                <a:schemeClr val="tx1"/>
              </a:solidFill>
            </a:endParaRPr>
          </a:p>
        </p:txBody>
      </p:sp>
      <p:sp>
        <p:nvSpPr>
          <p:cNvPr id="115" name="Rechteck: abgerundete Ecken 114">
            <a:extLst>
              <a:ext uri="{FF2B5EF4-FFF2-40B4-BE49-F238E27FC236}">
                <a16:creationId xmlns:a16="http://schemas.microsoft.com/office/drawing/2014/main" id="{A037AF45-8688-4D28-B9F6-EB8FE4A74669}"/>
              </a:ext>
            </a:extLst>
          </p:cNvPr>
          <p:cNvSpPr/>
          <p:nvPr/>
        </p:nvSpPr>
        <p:spPr>
          <a:xfrm>
            <a:off x="1427517" y="2810950"/>
            <a:ext cx="1805727" cy="2627277"/>
          </a:xfrm>
          <a:prstGeom prst="roundRect">
            <a:avLst>
              <a:gd name="adj" fmla="val 7337"/>
            </a:avLst>
          </a:prstGeom>
          <a:solidFill>
            <a:schemeClr val="bg1"/>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endParaRPr lang="de-DE" sz="1400">
              <a:solidFill>
                <a:schemeClr val="tx1"/>
              </a:solidFill>
            </a:endParaRPr>
          </a:p>
          <a:p>
            <a:endParaRPr lang="de-DE" sz="1400">
              <a:solidFill>
                <a:schemeClr val="tx1"/>
              </a:solidFill>
            </a:endParaRPr>
          </a:p>
        </p:txBody>
      </p:sp>
      <p:sp>
        <p:nvSpPr>
          <p:cNvPr id="119" name="Ellipse 118">
            <a:extLst>
              <a:ext uri="{FF2B5EF4-FFF2-40B4-BE49-F238E27FC236}">
                <a16:creationId xmlns:a16="http://schemas.microsoft.com/office/drawing/2014/main" id="{EEA65E50-2F28-474B-82AF-14DE66E7A36A}"/>
              </a:ext>
            </a:extLst>
          </p:cNvPr>
          <p:cNvSpPr/>
          <p:nvPr/>
        </p:nvSpPr>
        <p:spPr>
          <a:xfrm>
            <a:off x="1791996" y="2865472"/>
            <a:ext cx="278817" cy="270397"/>
          </a:xfrm>
          <a:prstGeom prst="ellipse">
            <a:avLst/>
          </a:prstGeom>
          <a:solidFill>
            <a:srgbClr val="F2F2F2"/>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accent3"/>
              </a:solidFill>
            </a:endParaRPr>
          </a:p>
        </p:txBody>
      </p:sp>
      <p:sp>
        <p:nvSpPr>
          <p:cNvPr id="120" name="Ellipse 119">
            <a:extLst>
              <a:ext uri="{FF2B5EF4-FFF2-40B4-BE49-F238E27FC236}">
                <a16:creationId xmlns:a16="http://schemas.microsoft.com/office/drawing/2014/main" id="{600F6338-AF76-47C5-A27A-5DC9B3F5F2DA}"/>
              </a:ext>
            </a:extLst>
          </p:cNvPr>
          <p:cNvSpPr/>
          <p:nvPr/>
        </p:nvSpPr>
        <p:spPr>
          <a:xfrm>
            <a:off x="3503448" y="2865472"/>
            <a:ext cx="278817" cy="270397"/>
          </a:xfrm>
          <a:prstGeom prst="ellipse">
            <a:avLst/>
          </a:prstGeom>
          <a:solidFill>
            <a:srgbClr val="F2F2F2"/>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accent3"/>
              </a:solidFill>
            </a:endParaRPr>
          </a:p>
        </p:txBody>
      </p:sp>
      <p:sp>
        <p:nvSpPr>
          <p:cNvPr id="2" name="Titel 1">
            <a:extLst>
              <a:ext uri="{FF2B5EF4-FFF2-40B4-BE49-F238E27FC236}">
                <a16:creationId xmlns:a16="http://schemas.microsoft.com/office/drawing/2014/main" id="{5C404AE5-A648-4944-AC2D-C52C26B04543}"/>
              </a:ext>
            </a:extLst>
          </p:cNvPr>
          <p:cNvSpPr>
            <a:spLocks noGrp="1"/>
          </p:cNvSpPr>
          <p:nvPr>
            <p:ph type="title"/>
          </p:nvPr>
        </p:nvSpPr>
        <p:spPr/>
        <p:txBody>
          <a:bodyPr/>
          <a:lstStyle/>
          <a:p>
            <a:r>
              <a:rPr lang="de-DE"/>
              <a:t>Zielsetzung</a:t>
            </a:r>
          </a:p>
        </p:txBody>
      </p:sp>
      <p:sp>
        <p:nvSpPr>
          <p:cNvPr id="4" name="Fußzeilenplatzhalter 3">
            <a:extLst>
              <a:ext uri="{FF2B5EF4-FFF2-40B4-BE49-F238E27FC236}">
                <a16:creationId xmlns:a16="http://schemas.microsoft.com/office/drawing/2014/main" id="{8B7B9FF0-BECE-4FF8-B3AD-8AD331F7E501}"/>
              </a:ext>
            </a:extLst>
          </p:cNvPr>
          <p:cNvSpPr>
            <a:spLocks noGrp="1"/>
          </p:cNvSpPr>
          <p:nvPr>
            <p:ph type="ftr" sz="quarter" idx="11"/>
          </p:nvPr>
        </p:nvSpPr>
        <p:spPr/>
        <p:txBody>
          <a:bodyPr/>
          <a:lstStyle/>
          <a:p>
            <a:pPr>
              <a:spcBef>
                <a:spcPct val="20000"/>
              </a:spcBef>
            </a:pPr>
            <a:r>
              <a:rPr lang="de-DE"/>
              <a:t>SCA Case Study – 28.07.2021</a:t>
            </a:r>
          </a:p>
        </p:txBody>
      </p:sp>
      <p:sp>
        <p:nvSpPr>
          <p:cNvPr id="10" name="Ellipse 9">
            <a:extLst>
              <a:ext uri="{FF2B5EF4-FFF2-40B4-BE49-F238E27FC236}">
                <a16:creationId xmlns:a16="http://schemas.microsoft.com/office/drawing/2014/main" id="{D0213B5D-ECB6-4C27-8CFC-F31857BA8E24}"/>
              </a:ext>
            </a:extLst>
          </p:cNvPr>
          <p:cNvSpPr/>
          <p:nvPr/>
        </p:nvSpPr>
        <p:spPr>
          <a:xfrm>
            <a:off x="1512319" y="1534223"/>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2" name="Grafik 11" descr="Wolke mit Blitz und Regen mit einfarbiger Füllung">
            <a:extLst>
              <a:ext uri="{FF2B5EF4-FFF2-40B4-BE49-F238E27FC236}">
                <a16:creationId xmlns:a16="http://schemas.microsoft.com/office/drawing/2014/main" id="{D55C636B-23F4-49C5-8AB7-EF3FC5694D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25891" y="1544895"/>
            <a:ext cx="265683" cy="270397"/>
          </a:xfrm>
          <a:prstGeom prst="rect">
            <a:avLst/>
          </a:prstGeom>
        </p:spPr>
      </p:pic>
      <p:sp>
        <p:nvSpPr>
          <p:cNvPr id="14" name="Ellipse 13">
            <a:extLst>
              <a:ext uri="{FF2B5EF4-FFF2-40B4-BE49-F238E27FC236}">
                <a16:creationId xmlns:a16="http://schemas.microsoft.com/office/drawing/2014/main" id="{94F357B6-D711-405C-959A-0E9DE06BED7F}"/>
              </a:ext>
            </a:extLst>
          </p:cNvPr>
          <p:cNvSpPr/>
          <p:nvPr/>
        </p:nvSpPr>
        <p:spPr>
          <a:xfrm>
            <a:off x="1540756" y="1837499"/>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5" name="Grafik 14" descr="Welle mit einfarbiger Füllung">
            <a:extLst>
              <a:ext uri="{FF2B5EF4-FFF2-40B4-BE49-F238E27FC236}">
                <a16:creationId xmlns:a16="http://schemas.microsoft.com/office/drawing/2014/main" id="{7FF5C69E-44D4-4CC6-A2B8-16C454BE8C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65790" y="1842932"/>
            <a:ext cx="240818" cy="245091"/>
          </a:xfrm>
          <a:prstGeom prst="rect">
            <a:avLst/>
          </a:prstGeom>
        </p:spPr>
      </p:pic>
      <p:grpSp>
        <p:nvGrpSpPr>
          <p:cNvPr id="16" name="Gruppieren 15">
            <a:extLst>
              <a:ext uri="{FF2B5EF4-FFF2-40B4-BE49-F238E27FC236}">
                <a16:creationId xmlns:a16="http://schemas.microsoft.com/office/drawing/2014/main" id="{CD99B194-911F-4B92-8125-08F9F8AFB65E}"/>
              </a:ext>
            </a:extLst>
          </p:cNvPr>
          <p:cNvGrpSpPr/>
          <p:nvPr/>
        </p:nvGrpSpPr>
        <p:grpSpPr>
          <a:xfrm>
            <a:off x="1796377" y="1254945"/>
            <a:ext cx="278817" cy="270397"/>
            <a:chOff x="5862900" y="1642576"/>
            <a:chExt cx="505494" cy="481681"/>
          </a:xfrm>
        </p:grpSpPr>
        <p:sp>
          <p:nvSpPr>
            <p:cNvPr id="41" name="Ellipse 40">
              <a:extLst>
                <a:ext uri="{FF2B5EF4-FFF2-40B4-BE49-F238E27FC236}">
                  <a16:creationId xmlns:a16="http://schemas.microsoft.com/office/drawing/2014/main" id="{0DC22935-7316-48BA-82C6-6EB4F42AE654}"/>
                </a:ext>
              </a:extLst>
            </p:cNvPr>
            <p:cNvSpPr/>
            <p:nvPr/>
          </p:nvSpPr>
          <p:spPr>
            <a:xfrm>
              <a:off x="5862900" y="1642576"/>
              <a:ext cx="505494" cy="481681"/>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 name="Bildplatzhalter 12" descr="Anker mit einfarbiger Füllung">
              <a:extLst>
                <a:ext uri="{FF2B5EF4-FFF2-40B4-BE49-F238E27FC236}">
                  <a16:creationId xmlns:a16="http://schemas.microsoft.com/office/drawing/2014/main" id="{A1A3FEEE-CF18-4068-9F90-F408BF7EF108}"/>
                </a:ext>
              </a:extLst>
            </p:cNvPr>
            <p:cNvSpPr/>
            <p:nvPr/>
          </p:nvSpPr>
          <p:spPr>
            <a:xfrm>
              <a:off x="5978627" y="1712059"/>
              <a:ext cx="268273" cy="307090"/>
            </a:xfrm>
            <a:custGeom>
              <a:avLst/>
              <a:gdLst>
                <a:gd name="connsiteX0" fmla="*/ 581438 w 1161230"/>
                <a:gd name="connsiteY0" fmla="*/ 98775 h 1304241"/>
                <a:gd name="connsiteX1" fmla="*/ 647288 w 1161230"/>
                <a:gd name="connsiteY1" fmla="*/ 164625 h 1304241"/>
                <a:gd name="connsiteX2" fmla="*/ 581438 w 1161230"/>
                <a:gd name="connsiteY2" fmla="*/ 230475 h 1304241"/>
                <a:gd name="connsiteX3" fmla="*/ 515588 w 1161230"/>
                <a:gd name="connsiteY3" fmla="*/ 164625 h 1304241"/>
                <a:gd name="connsiteX4" fmla="*/ 581438 w 1161230"/>
                <a:gd name="connsiteY4" fmla="*/ 98775 h 1304241"/>
                <a:gd name="connsiteX5" fmla="*/ 1132932 w 1161230"/>
                <a:gd name="connsiteY5" fmla="*/ 635453 h 1304241"/>
                <a:gd name="connsiteX6" fmla="*/ 1113177 w 1161230"/>
                <a:gd name="connsiteY6" fmla="*/ 609113 h 1304241"/>
                <a:gd name="connsiteX7" fmla="*/ 1080252 w 1161230"/>
                <a:gd name="connsiteY7" fmla="*/ 614051 h 1304241"/>
                <a:gd name="connsiteX8" fmla="*/ 894226 w 1161230"/>
                <a:gd name="connsiteY8" fmla="*/ 757275 h 1304241"/>
                <a:gd name="connsiteX9" fmla="*/ 881056 w 1161230"/>
                <a:gd name="connsiteY9" fmla="*/ 788554 h 1304241"/>
                <a:gd name="connsiteX10" fmla="*/ 900811 w 1161230"/>
                <a:gd name="connsiteY10" fmla="*/ 814894 h 1304241"/>
                <a:gd name="connsiteX11" fmla="*/ 971599 w 1161230"/>
                <a:gd name="connsiteY11" fmla="*/ 844526 h 1304241"/>
                <a:gd name="connsiteX12" fmla="*/ 630826 w 1161230"/>
                <a:gd name="connsiteY12" fmla="*/ 1149083 h 1304241"/>
                <a:gd name="connsiteX13" fmla="*/ 630826 w 1161230"/>
                <a:gd name="connsiteY13" fmla="*/ 477413 h 1304241"/>
                <a:gd name="connsiteX14" fmla="*/ 1042388 w 1161230"/>
                <a:gd name="connsiteY14" fmla="*/ 477413 h 1304241"/>
                <a:gd name="connsiteX15" fmla="*/ 1042388 w 1161230"/>
                <a:gd name="connsiteY15" fmla="*/ 378638 h 1304241"/>
                <a:gd name="connsiteX16" fmla="*/ 630826 w 1161230"/>
                <a:gd name="connsiteY16" fmla="*/ 378638 h 1304241"/>
                <a:gd name="connsiteX17" fmla="*/ 630826 w 1161230"/>
                <a:gd name="connsiteY17" fmla="*/ 321019 h 1304241"/>
                <a:gd name="connsiteX18" fmla="*/ 744417 w 1161230"/>
                <a:gd name="connsiteY18" fmla="*/ 138285 h 1304241"/>
                <a:gd name="connsiteX19" fmla="*/ 581438 w 1161230"/>
                <a:gd name="connsiteY19" fmla="*/ 0 h 1304241"/>
                <a:gd name="connsiteX20" fmla="*/ 418459 w 1161230"/>
                <a:gd name="connsiteY20" fmla="*/ 139931 h 1304241"/>
                <a:gd name="connsiteX21" fmla="*/ 532051 w 1161230"/>
                <a:gd name="connsiteY21" fmla="*/ 322665 h 1304241"/>
                <a:gd name="connsiteX22" fmla="*/ 532051 w 1161230"/>
                <a:gd name="connsiteY22" fmla="*/ 378638 h 1304241"/>
                <a:gd name="connsiteX23" fmla="*/ 120488 w 1161230"/>
                <a:gd name="connsiteY23" fmla="*/ 378638 h 1304241"/>
                <a:gd name="connsiteX24" fmla="*/ 120488 w 1161230"/>
                <a:gd name="connsiteY24" fmla="*/ 477413 h 1304241"/>
                <a:gd name="connsiteX25" fmla="*/ 532051 w 1161230"/>
                <a:gd name="connsiteY25" fmla="*/ 477413 h 1304241"/>
                <a:gd name="connsiteX26" fmla="*/ 532051 w 1161230"/>
                <a:gd name="connsiteY26" fmla="*/ 1149083 h 1304241"/>
                <a:gd name="connsiteX27" fmla="*/ 191277 w 1161230"/>
                <a:gd name="connsiteY27" fmla="*/ 842880 h 1304241"/>
                <a:gd name="connsiteX28" fmla="*/ 262066 w 1161230"/>
                <a:gd name="connsiteY28" fmla="*/ 813248 h 1304241"/>
                <a:gd name="connsiteX29" fmla="*/ 281821 w 1161230"/>
                <a:gd name="connsiteY29" fmla="*/ 786908 h 1304241"/>
                <a:gd name="connsiteX30" fmla="*/ 268651 w 1161230"/>
                <a:gd name="connsiteY30" fmla="*/ 757275 h 1304241"/>
                <a:gd name="connsiteX31" fmla="*/ 82624 w 1161230"/>
                <a:gd name="connsiteY31" fmla="*/ 614051 h 1304241"/>
                <a:gd name="connsiteX32" fmla="*/ 49699 w 1161230"/>
                <a:gd name="connsiteY32" fmla="*/ 609113 h 1304241"/>
                <a:gd name="connsiteX33" fmla="*/ 29944 w 1161230"/>
                <a:gd name="connsiteY33" fmla="*/ 635453 h 1304241"/>
                <a:gd name="connsiteX34" fmla="*/ 312 w 1161230"/>
                <a:gd name="connsiteY34" fmla="*/ 869220 h 1304241"/>
                <a:gd name="connsiteX35" fmla="*/ 13482 w 1161230"/>
                <a:gd name="connsiteY35" fmla="*/ 898853 h 1304241"/>
                <a:gd name="connsiteX36" fmla="*/ 46407 w 1161230"/>
                <a:gd name="connsiteY36" fmla="*/ 903791 h 1304241"/>
                <a:gd name="connsiteX37" fmla="*/ 99087 w 1161230"/>
                <a:gd name="connsiteY37" fmla="*/ 882390 h 1304241"/>
                <a:gd name="connsiteX38" fmla="*/ 433276 w 1161230"/>
                <a:gd name="connsiteY38" fmla="*/ 1229749 h 1304241"/>
                <a:gd name="connsiteX39" fmla="*/ 564976 w 1161230"/>
                <a:gd name="connsiteY39" fmla="*/ 1300538 h 1304241"/>
                <a:gd name="connsiteX40" fmla="*/ 596255 w 1161230"/>
                <a:gd name="connsiteY40" fmla="*/ 1300538 h 1304241"/>
                <a:gd name="connsiteX41" fmla="*/ 729601 w 1161230"/>
                <a:gd name="connsiteY41" fmla="*/ 1228103 h 1304241"/>
                <a:gd name="connsiteX42" fmla="*/ 1062143 w 1161230"/>
                <a:gd name="connsiteY42" fmla="*/ 880744 h 1304241"/>
                <a:gd name="connsiteX43" fmla="*/ 1114823 w 1161230"/>
                <a:gd name="connsiteY43" fmla="*/ 903791 h 1304241"/>
                <a:gd name="connsiteX44" fmla="*/ 1147748 w 1161230"/>
                <a:gd name="connsiteY44" fmla="*/ 898853 h 1304241"/>
                <a:gd name="connsiteX45" fmla="*/ 1160918 w 1161230"/>
                <a:gd name="connsiteY45" fmla="*/ 869220 h 1304241"/>
                <a:gd name="connsiteX46" fmla="*/ 1132932 w 1161230"/>
                <a:gd name="connsiteY46" fmla="*/ 635453 h 13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61230" h="1304241">
                  <a:moveTo>
                    <a:pt x="581438" y="98775"/>
                  </a:moveTo>
                  <a:cubicBezTo>
                    <a:pt x="617656" y="98775"/>
                    <a:pt x="647288" y="128408"/>
                    <a:pt x="647288" y="164625"/>
                  </a:cubicBezTo>
                  <a:cubicBezTo>
                    <a:pt x="647288" y="200843"/>
                    <a:pt x="617656" y="230475"/>
                    <a:pt x="581438" y="230475"/>
                  </a:cubicBezTo>
                  <a:cubicBezTo>
                    <a:pt x="545221" y="230475"/>
                    <a:pt x="515588" y="200843"/>
                    <a:pt x="515588" y="164625"/>
                  </a:cubicBezTo>
                  <a:cubicBezTo>
                    <a:pt x="515588" y="128408"/>
                    <a:pt x="545221" y="98775"/>
                    <a:pt x="581438" y="98775"/>
                  </a:cubicBezTo>
                  <a:close/>
                  <a:moveTo>
                    <a:pt x="1132932" y="635453"/>
                  </a:moveTo>
                  <a:cubicBezTo>
                    <a:pt x="1131286" y="623929"/>
                    <a:pt x="1123055" y="614051"/>
                    <a:pt x="1113177" y="609113"/>
                  </a:cubicBezTo>
                  <a:cubicBezTo>
                    <a:pt x="1103299" y="604174"/>
                    <a:pt x="1090130" y="605820"/>
                    <a:pt x="1080252" y="614051"/>
                  </a:cubicBezTo>
                  <a:lnTo>
                    <a:pt x="894226" y="757275"/>
                  </a:lnTo>
                  <a:cubicBezTo>
                    <a:pt x="884348" y="763860"/>
                    <a:pt x="879409" y="775384"/>
                    <a:pt x="881056" y="788554"/>
                  </a:cubicBezTo>
                  <a:cubicBezTo>
                    <a:pt x="882702" y="800078"/>
                    <a:pt x="890933" y="809955"/>
                    <a:pt x="900811" y="814894"/>
                  </a:cubicBezTo>
                  <a:lnTo>
                    <a:pt x="971599" y="844526"/>
                  </a:lnTo>
                  <a:cubicBezTo>
                    <a:pt x="933736" y="1007505"/>
                    <a:pt x="797097" y="1129328"/>
                    <a:pt x="630826" y="1149083"/>
                  </a:cubicBezTo>
                  <a:lnTo>
                    <a:pt x="630826" y="477413"/>
                  </a:lnTo>
                  <a:lnTo>
                    <a:pt x="1042388" y="477413"/>
                  </a:lnTo>
                  <a:lnTo>
                    <a:pt x="1042388" y="378638"/>
                  </a:lnTo>
                  <a:lnTo>
                    <a:pt x="630826" y="378638"/>
                  </a:lnTo>
                  <a:lnTo>
                    <a:pt x="630826" y="321019"/>
                  </a:lnTo>
                  <a:cubicBezTo>
                    <a:pt x="708200" y="296325"/>
                    <a:pt x="755941" y="218951"/>
                    <a:pt x="744417" y="138285"/>
                  </a:cubicBezTo>
                  <a:cubicBezTo>
                    <a:pt x="731247" y="59265"/>
                    <a:pt x="662105" y="0"/>
                    <a:pt x="581438" y="0"/>
                  </a:cubicBezTo>
                  <a:cubicBezTo>
                    <a:pt x="500772" y="0"/>
                    <a:pt x="431630" y="59265"/>
                    <a:pt x="418459" y="139931"/>
                  </a:cubicBezTo>
                  <a:cubicBezTo>
                    <a:pt x="406936" y="220598"/>
                    <a:pt x="454677" y="297971"/>
                    <a:pt x="532051" y="322665"/>
                  </a:cubicBezTo>
                  <a:lnTo>
                    <a:pt x="532051" y="378638"/>
                  </a:lnTo>
                  <a:lnTo>
                    <a:pt x="120488" y="378638"/>
                  </a:lnTo>
                  <a:lnTo>
                    <a:pt x="120488" y="477413"/>
                  </a:lnTo>
                  <a:lnTo>
                    <a:pt x="532051" y="477413"/>
                  </a:lnTo>
                  <a:lnTo>
                    <a:pt x="532051" y="1149083"/>
                  </a:lnTo>
                  <a:cubicBezTo>
                    <a:pt x="365780" y="1127681"/>
                    <a:pt x="229141" y="1005859"/>
                    <a:pt x="191277" y="842880"/>
                  </a:cubicBezTo>
                  <a:lnTo>
                    <a:pt x="262066" y="813248"/>
                  </a:lnTo>
                  <a:cubicBezTo>
                    <a:pt x="271943" y="808309"/>
                    <a:pt x="280174" y="798431"/>
                    <a:pt x="281821" y="786908"/>
                  </a:cubicBezTo>
                  <a:cubicBezTo>
                    <a:pt x="283467" y="775384"/>
                    <a:pt x="278528" y="763860"/>
                    <a:pt x="268651" y="757275"/>
                  </a:cubicBezTo>
                  <a:lnTo>
                    <a:pt x="82624" y="614051"/>
                  </a:lnTo>
                  <a:cubicBezTo>
                    <a:pt x="72747" y="607466"/>
                    <a:pt x="61223" y="605820"/>
                    <a:pt x="49699" y="609113"/>
                  </a:cubicBezTo>
                  <a:cubicBezTo>
                    <a:pt x="38176" y="614051"/>
                    <a:pt x="31591" y="623929"/>
                    <a:pt x="29944" y="635453"/>
                  </a:cubicBezTo>
                  <a:lnTo>
                    <a:pt x="312" y="869220"/>
                  </a:lnTo>
                  <a:cubicBezTo>
                    <a:pt x="-1334" y="880744"/>
                    <a:pt x="3604" y="892268"/>
                    <a:pt x="13482" y="898853"/>
                  </a:cubicBezTo>
                  <a:cubicBezTo>
                    <a:pt x="23359" y="905438"/>
                    <a:pt x="34883" y="907084"/>
                    <a:pt x="46407" y="903791"/>
                  </a:cubicBezTo>
                  <a:lnTo>
                    <a:pt x="99087" y="882390"/>
                  </a:lnTo>
                  <a:cubicBezTo>
                    <a:pt x="143536" y="1047015"/>
                    <a:pt x="270297" y="1178715"/>
                    <a:pt x="433276" y="1229749"/>
                  </a:cubicBezTo>
                  <a:lnTo>
                    <a:pt x="564976" y="1300538"/>
                  </a:lnTo>
                  <a:cubicBezTo>
                    <a:pt x="574853" y="1305476"/>
                    <a:pt x="586377" y="1305476"/>
                    <a:pt x="596255" y="1300538"/>
                  </a:cubicBezTo>
                  <a:lnTo>
                    <a:pt x="729601" y="1228103"/>
                  </a:lnTo>
                  <a:cubicBezTo>
                    <a:pt x="892580" y="1177069"/>
                    <a:pt x="1017694" y="1045369"/>
                    <a:pt x="1062143" y="880744"/>
                  </a:cubicBezTo>
                  <a:lnTo>
                    <a:pt x="1114823" y="903791"/>
                  </a:lnTo>
                  <a:cubicBezTo>
                    <a:pt x="1126347" y="908730"/>
                    <a:pt x="1137871" y="907084"/>
                    <a:pt x="1147748" y="898853"/>
                  </a:cubicBezTo>
                  <a:cubicBezTo>
                    <a:pt x="1157626" y="892268"/>
                    <a:pt x="1162565" y="880744"/>
                    <a:pt x="1160918" y="869220"/>
                  </a:cubicBezTo>
                  <a:lnTo>
                    <a:pt x="1132932" y="635453"/>
                  </a:lnTo>
                  <a:close/>
                </a:path>
              </a:pathLst>
            </a:custGeom>
            <a:solidFill>
              <a:schemeClr val="bg1">
                <a:lumMod val="95000"/>
              </a:schemeClr>
            </a:solidFill>
            <a:ln w="16371" cap="flat">
              <a:noFill/>
              <a:prstDash val="solid"/>
              <a:miter/>
            </a:ln>
          </p:spPr>
          <p:txBody>
            <a:bodyPr rtlCol="0" anchor="ctr"/>
            <a:lstStyle/>
            <a:p>
              <a:endParaRPr lang="de-DE"/>
            </a:p>
          </p:txBody>
        </p:sp>
      </p:grpSp>
      <p:sp>
        <p:nvSpPr>
          <p:cNvPr id="39" name="Ellipse 38">
            <a:extLst>
              <a:ext uri="{FF2B5EF4-FFF2-40B4-BE49-F238E27FC236}">
                <a16:creationId xmlns:a16="http://schemas.microsoft.com/office/drawing/2014/main" id="{156FFD52-ECEE-4B31-874E-07D089EA9722}"/>
              </a:ext>
            </a:extLst>
          </p:cNvPr>
          <p:cNvSpPr/>
          <p:nvPr/>
        </p:nvSpPr>
        <p:spPr>
          <a:xfrm>
            <a:off x="2310988" y="1544895"/>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40" name="Grafik 39" descr="Wasserkraft mit einfarbiger Füllung">
            <a:extLst>
              <a:ext uri="{FF2B5EF4-FFF2-40B4-BE49-F238E27FC236}">
                <a16:creationId xmlns:a16="http://schemas.microsoft.com/office/drawing/2014/main" id="{990DAA9A-287C-4488-BC8B-B1B80303846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1849" y="1587338"/>
            <a:ext cx="189966" cy="193336"/>
          </a:xfrm>
          <a:prstGeom prst="rect">
            <a:avLst/>
          </a:prstGeom>
        </p:spPr>
      </p:pic>
      <p:sp>
        <p:nvSpPr>
          <p:cNvPr id="19" name="Ellipse 18">
            <a:extLst>
              <a:ext uri="{FF2B5EF4-FFF2-40B4-BE49-F238E27FC236}">
                <a16:creationId xmlns:a16="http://schemas.microsoft.com/office/drawing/2014/main" id="{D709B98F-4A4B-4D0E-986F-7CB35E351692}"/>
              </a:ext>
            </a:extLst>
          </p:cNvPr>
          <p:cNvSpPr/>
          <p:nvPr/>
        </p:nvSpPr>
        <p:spPr>
          <a:xfrm>
            <a:off x="2124409" y="2000426"/>
            <a:ext cx="278817" cy="270397"/>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0" name="Gruppieren 19">
            <a:extLst>
              <a:ext uri="{FF2B5EF4-FFF2-40B4-BE49-F238E27FC236}">
                <a16:creationId xmlns:a16="http://schemas.microsoft.com/office/drawing/2014/main" id="{3E4A31CF-023F-4AC1-9D5F-7E4B05756834}"/>
              </a:ext>
            </a:extLst>
          </p:cNvPr>
          <p:cNvGrpSpPr/>
          <p:nvPr/>
        </p:nvGrpSpPr>
        <p:grpSpPr>
          <a:xfrm>
            <a:off x="2186821" y="2025235"/>
            <a:ext cx="168003" cy="200843"/>
            <a:chOff x="5745080" y="1534870"/>
            <a:chExt cx="744550" cy="874572"/>
          </a:xfrm>
          <a:solidFill>
            <a:schemeClr val="bg1">
              <a:lumMod val="95000"/>
            </a:schemeClr>
          </a:solidFill>
        </p:grpSpPr>
        <p:grpSp>
          <p:nvGrpSpPr>
            <p:cNvPr id="21" name="Gruppieren 20">
              <a:extLst>
                <a:ext uri="{FF2B5EF4-FFF2-40B4-BE49-F238E27FC236}">
                  <a16:creationId xmlns:a16="http://schemas.microsoft.com/office/drawing/2014/main" id="{1D6E4897-44EB-41A0-BD6D-F9EDD08F4209}"/>
                </a:ext>
              </a:extLst>
            </p:cNvPr>
            <p:cNvGrpSpPr/>
            <p:nvPr/>
          </p:nvGrpSpPr>
          <p:grpSpPr>
            <a:xfrm>
              <a:off x="5745080" y="1965727"/>
              <a:ext cx="744550" cy="443715"/>
              <a:chOff x="9316970" y="1884825"/>
              <a:chExt cx="1514374" cy="947540"/>
            </a:xfrm>
            <a:grpFill/>
          </p:grpSpPr>
          <p:sp>
            <p:nvSpPr>
              <p:cNvPr id="27" name="Bildplatzhalter 14" descr="Fracht mit einfarbiger Füllung">
                <a:extLst>
                  <a:ext uri="{FF2B5EF4-FFF2-40B4-BE49-F238E27FC236}">
                    <a16:creationId xmlns:a16="http://schemas.microsoft.com/office/drawing/2014/main" id="{EE2B2950-848B-4996-AEFF-D05A66827CD3}"/>
                  </a:ext>
                </a:extLst>
              </p:cNvPr>
              <p:cNvSpPr/>
              <p:nvPr/>
            </p:nvSpPr>
            <p:spPr>
              <a:xfrm>
                <a:off x="969556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8" name="Bildplatzhalter 14" descr="Fracht mit einfarbiger Füllung">
                <a:extLst>
                  <a:ext uri="{FF2B5EF4-FFF2-40B4-BE49-F238E27FC236}">
                    <a16:creationId xmlns:a16="http://schemas.microsoft.com/office/drawing/2014/main" id="{624EBB6D-E948-4139-8E07-E6D2021A8D7F}"/>
                  </a:ext>
                </a:extLst>
              </p:cNvPr>
              <p:cNvSpPr/>
              <p:nvPr/>
            </p:nvSpPr>
            <p:spPr>
              <a:xfrm>
                <a:off x="9926037" y="2354476"/>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29" name="Bildplatzhalter 14" descr="Fracht mit einfarbiger Füllung">
                <a:extLst>
                  <a:ext uri="{FF2B5EF4-FFF2-40B4-BE49-F238E27FC236}">
                    <a16:creationId xmlns:a16="http://schemas.microsoft.com/office/drawing/2014/main" id="{6B8B1EAE-365A-4731-B789-33B318561476}"/>
                  </a:ext>
                </a:extLst>
              </p:cNvPr>
              <p:cNvSpPr/>
              <p:nvPr/>
            </p:nvSpPr>
            <p:spPr>
              <a:xfrm>
                <a:off x="10156512" y="2354476"/>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0" name="Bildplatzhalter 14" descr="Fracht mit einfarbiger Füllung">
                <a:extLst>
                  <a:ext uri="{FF2B5EF4-FFF2-40B4-BE49-F238E27FC236}">
                    <a16:creationId xmlns:a16="http://schemas.microsoft.com/office/drawing/2014/main" id="{953C21FF-1F68-466A-8166-9A210810CAFE}"/>
                  </a:ext>
                </a:extLst>
              </p:cNvPr>
              <p:cNvSpPr/>
              <p:nvPr/>
            </p:nvSpPr>
            <p:spPr>
              <a:xfrm>
                <a:off x="992603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1" name="Bildplatzhalter 14" descr="Fracht mit einfarbiger Füllung">
                <a:extLst>
                  <a:ext uri="{FF2B5EF4-FFF2-40B4-BE49-F238E27FC236}">
                    <a16:creationId xmlns:a16="http://schemas.microsoft.com/office/drawing/2014/main" id="{83AE40BD-8DD2-4616-BE74-36BE7E5234AF}"/>
                  </a:ext>
                </a:extLst>
              </p:cNvPr>
              <p:cNvSpPr/>
              <p:nvPr/>
            </p:nvSpPr>
            <p:spPr>
              <a:xfrm>
                <a:off x="10156512" y="2222644"/>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2" name="Bildplatzhalter 14" descr="Fracht mit einfarbiger Füllung">
                <a:extLst>
                  <a:ext uri="{FF2B5EF4-FFF2-40B4-BE49-F238E27FC236}">
                    <a16:creationId xmlns:a16="http://schemas.microsoft.com/office/drawing/2014/main" id="{090CFE6B-48BB-496A-8CC4-C16B94B7117C}"/>
                  </a:ext>
                </a:extLst>
              </p:cNvPr>
              <p:cNvSpPr/>
              <p:nvPr/>
            </p:nvSpPr>
            <p:spPr>
              <a:xfrm>
                <a:off x="10156512" y="2090812"/>
                <a:ext cx="197549" cy="98873"/>
              </a:xfrm>
              <a:custGeom>
                <a:avLst/>
                <a:gdLst>
                  <a:gd name="connsiteX0" fmla="*/ 0 w 197549"/>
                  <a:gd name="connsiteY0" fmla="*/ 0 h 98873"/>
                  <a:gd name="connsiteX1" fmla="*/ 197550 w 197549"/>
                  <a:gd name="connsiteY1" fmla="*/ 0 h 98873"/>
                  <a:gd name="connsiteX2" fmla="*/ 197550 w 197549"/>
                  <a:gd name="connsiteY2" fmla="*/ 98874 h 98873"/>
                  <a:gd name="connsiteX3" fmla="*/ 0 w 197549"/>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49"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3" name="Bildplatzhalter 14" descr="Fracht mit einfarbiger Füllung">
                <a:extLst>
                  <a:ext uri="{FF2B5EF4-FFF2-40B4-BE49-F238E27FC236}">
                    <a16:creationId xmlns:a16="http://schemas.microsoft.com/office/drawing/2014/main" id="{B62D510C-4481-4AF3-959C-29AEFE673448}"/>
                  </a:ext>
                </a:extLst>
              </p:cNvPr>
              <p:cNvSpPr/>
              <p:nvPr/>
            </p:nvSpPr>
            <p:spPr>
              <a:xfrm>
                <a:off x="10386987" y="2222644"/>
                <a:ext cx="197550" cy="98873"/>
              </a:xfrm>
              <a:custGeom>
                <a:avLst/>
                <a:gdLst>
                  <a:gd name="connsiteX0" fmla="*/ 0 w 197550"/>
                  <a:gd name="connsiteY0" fmla="*/ 0 h 98873"/>
                  <a:gd name="connsiteX1" fmla="*/ 197550 w 197550"/>
                  <a:gd name="connsiteY1" fmla="*/ 0 h 98873"/>
                  <a:gd name="connsiteX2" fmla="*/ 197550 w 197550"/>
                  <a:gd name="connsiteY2" fmla="*/ 98874 h 98873"/>
                  <a:gd name="connsiteX3" fmla="*/ 0 w 197550"/>
                  <a:gd name="connsiteY3" fmla="*/ 98874 h 98873"/>
                </a:gdLst>
                <a:ahLst/>
                <a:cxnLst>
                  <a:cxn ang="0">
                    <a:pos x="connsiteX0" y="connsiteY0"/>
                  </a:cxn>
                  <a:cxn ang="0">
                    <a:pos x="connsiteX1" y="connsiteY1"/>
                  </a:cxn>
                  <a:cxn ang="0">
                    <a:pos x="connsiteX2" y="connsiteY2"/>
                  </a:cxn>
                  <a:cxn ang="0">
                    <a:pos x="connsiteX3" y="connsiteY3"/>
                  </a:cxn>
                </a:cxnLst>
                <a:rect l="l" t="t" r="r" b="b"/>
                <a:pathLst>
                  <a:path w="197550" h="98873">
                    <a:moveTo>
                      <a:pt x="0" y="0"/>
                    </a:moveTo>
                    <a:lnTo>
                      <a:pt x="197550" y="0"/>
                    </a:lnTo>
                    <a:lnTo>
                      <a:pt x="197550" y="98874"/>
                    </a:lnTo>
                    <a:lnTo>
                      <a:pt x="0" y="98874"/>
                    </a:lnTo>
                    <a:close/>
                  </a:path>
                </a:pathLst>
              </a:custGeom>
              <a:grpFill/>
              <a:ln w="16371" cap="flat">
                <a:noFill/>
                <a:prstDash val="solid"/>
                <a:miter/>
              </a:ln>
            </p:spPr>
            <p:txBody>
              <a:bodyPr rtlCol="0" anchor="ctr"/>
              <a:lstStyle/>
              <a:p>
                <a:endParaRPr lang="de-DE"/>
              </a:p>
            </p:txBody>
          </p:sp>
          <p:sp>
            <p:nvSpPr>
              <p:cNvPr id="34" name="Bildplatzhalter 14" descr="Fracht mit einfarbiger Füllung">
                <a:extLst>
                  <a:ext uri="{FF2B5EF4-FFF2-40B4-BE49-F238E27FC236}">
                    <a16:creationId xmlns:a16="http://schemas.microsoft.com/office/drawing/2014/main" id="{6869A1A2-81F0-4B67-B386-6B409CE2134B}"/>
                  </a:ext>
                </a:extLst>
              </p:cNvPr>
              <p:cNvSpPr/>
              <p:nvPr/>
            </p:nvSpPr>
            <p:spPr>
              <a:xfrm>
                <a:off x="9366328" y="1884825"/>
                <a:ext cx="317473" cy="568524"/>
              </a:xfrm>
              <a:custGeom>
                <a:avLst/>
                <a:gdLst>
                  <a:gd name="connsiteX0" fmla="*/ 24694 w 317473"/>
                  <a:gd name="connsiteY0" fmla="*/ 304861 h 568524"/>
                  <a:gd name="connsiteX1" fmla="*/ 49388 w 317473"/>
                  <a:gd name="connsiteY1" fmla="*/ 304861 h 568524"/>
                  <a:gd name="connsiteX2" fmla="*/ 49388 w 317473"/>
                  <a:gd name="connsiteY2" fmla="*/ 568525 h 568524"/>
                  <a:gd name="connsiteX3" fmla="*/ 230475 w 317473"/>
                  <a:gd name="connsiteY3" fmla="*/ 568525 h 568524"/>
                  <a:gd name="connsiteX4" fmla="*/ 230475 w 317473"/>
                  <a:gd name="connsiteY4" fmla="*/ 304861 h 568524"/>
                  <a:gd name="connsiteX5" fmla="*/ 246674 w 317473"/>
                  <a:gd name="connsiteY5" fmla="*/ 304861 h 568524"/>
                  <a:gd name="connsiteX6" fmla="*/ 269606 w 317473"/>
                  <a:gd name="connsiteY6" fmla="*/ 289321 h 568524"/>
                  <a:gd name="connsiteX7" fmla="*/ 315701 w 317473"/>
                  <a:gd name="connsiteY7" fmla="*/ 173969 h 568524"/>
                  <a:gd name="connsiteX8" fmla="*/ 301944 w 317473"/>
                  <a:gd name="connsiteY8" fmla="*/ 141840 h 568524"/>
                  <a:gd name="connsiteX9" fmla="*/ 292753 w 317473"/>
                  <a:gd name="connsiteY9" fmla="*/ 140071 h 568524"/>
                  <a:gd name="connsiteX10" fmla="*/ 107006 w 317473"/>
                  <a:gd name="connsiteY10" fmla="*/ 140071 h 568524"/>
                  <a:gd name="connsiteX11" fmla="*/ 107006 w 317473"/>
                  <a:gd name="connsiteY11" fmla="*/ 24718 h 568524"/>
                  <a:gd name="connsiteX12" fmla="*/ 82313 w 317473"/>
                  <a:gd name="connsiteY12" fmla="*/ 0 h 568524"/>
                  <a:gd name="connsiteX13" fmla="*/ 57619 w 317473"/>
                  <a:gd name="connsiteY13" fmla="*/ 24718 h 568524"/>
                  <a:gd name="connsiteX14" fmla="*/ 57619 w 317473"/>
                  <a:gd name="connsiteY14" fmla="*/ 140071 h 568524"/>
                  <a:gd name="connsiteX15" fmla="*/ 24694 w 317473"/>
                  <a:gd name="connsiteY15" fmla="*/ 140071 h 568524"/>
                  <a:gd name="connsiteX16" fmla="*/ 0 w 317473"/>
                  <a:gd name="connsiteY16" fmla="*/ 164790 h 568524"/>
                  <a:gd name="connsiteX17" fmla="*/ 0 w 317473"/>
                  <a:gd name="connsiteY17" fmla="*/ 280143 h 568524"/>
                  <a:gd name="connsiteX18" fmla="*/ 24694 w 317473"/>
                  <a:gd name="connsiteY18" fmla="*/ 304861 h 56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7473" h="568524">
                    <a:moveTo>
                      <a:pt x="24694" y="304861"/>
                    </a:moveTo>
                    <a:lnTo>
                      <a:pt x="49388" y="304861"/>
                    </a:lnTo>
                    <a:lnTo>
                      <a:pt x="49388" y="568525"/>
                    </a:lnTo>
                    <a:lnTo>
                      <a:pt x="230475" y="568525"/>
                    </a:lnTo>
                    <a:lnTo>
                      <a:pt x="230475" y="304861"/>
                    </a:lnTo>
                    <a:lnTo>
                      <a:pt x="246674" y="304861"/>
                    </a:lnTo>
                    <a:cubicBezTo>
                      <a:pt x="256774" y="304863"/>
                      <a:pt x="265856" y="298708"/>
                      <a:pt x="269606" y="289321"/>
                    </a:cubicBezTo>
                    <a:lnTo>
                      <a:pt x="315701" y="173969"/>
                    </a:lnTo>
                    <a:cubicBezTo>
                      <a:pt x="320765" y="161293"/>
                      <a:pt x="314605" y="146908"/>
                      <a:pt x="301944" y="141840"/>
                    </a:cubicBezTo>
                    <a:cubicBezTo>
                      <a:pt x="299020" y="140668"/>
                      <a:pt x="295900" y="140068"/>
                      <a:pt x="292753" y="140071"/>
                    </a:cubicBezTo>
                    <a:lnTo>
                      <a:pt x="107006" y="140071"/>
                    </a:lnTo>
                    <a:lnTo>
                      <a:pt x="107006" y="24718"/>
                    </a:lnTo>
                    <a:cubicBezTo>
                      <a:pt x="107006" y="11067"/>
                      <a:pt x="95950" y="0"/>
                      <a:pt x="82313" y="0"/>
                    </a:cubicBezTo>
                    <a:cubicBezTo>
                      <a:pt x="68674" y="0"/>
                      <a:pt x="57619" y="11067"/>
                      <a:pt x="57619" y="24718"/>
                    </a:cubicBezTo>
                    <a:lnTo>
                      <a:pt x="57619" y="140071"/>
                    </a:lnTo>
                    <a:lnTo>
                      <a:pt x="24694" y="140071"/>
                    </a:lnTo>
                    <a:cubicBezTo>
                      <a:pt x="11056" y="140071"/>
                      <a:pt x="0" y="151139"/>
                      <a:pt x="0" y="164790"/>
                    </a:cubicBezTo>
                    <a:lnTo>
                      <a:pt x="0" y="280143"/>
                    </a:lnTo>
                    <a:cubicBezTo>
                      <a:pt x="0" y="293794"/>
                      <a:pt x="11056" y="304861"/>
                      <a:pt x="24694" y="304861"/>
                    </a:cubicBezTo>
                    <a:close/>
                  </a:path>
                </a:pathLst>
              </a:custGeom>
              <a:grpFill/>
              <a:ln w="16371" cap="flat">
                <a:noFill/>
                <a:prstDash val="solid"/>
                <a:miter/>
              </a:ln>
            </p:spPr>
            <p:txBody>
              <a:bodyPr rtlCol="0" anchor="ctr"/>
              <a:lstStyle/>
              <a:p>
                <a:endParaRPr lang="de-DE"/>
              </a:p>
            </p:txBody>
          </p:sp>
          <p:sp>
            <p:nvSpPr>
              <p:cNvPr id="35" name="Bildplatzhalter 14" descr="Fracht mit einfarbiger Füllung">
                <a:extLst>
                  <a:ext uri="{FF2B5EF4-FFF2-40B4-BE49-F238E27FC236}">
                    <a16:creationId xmlns:a16="http://schemas.microsoft.com/office/drawing/2014/main" id="{29540BC3-24F6-451F-AD88-7BEC20948629}"/>
                  </a:ext>
                </a:extLst>
              </p:cNvPr>
              <p:cNvSpPr/>
              <p:nvPr/>
            </p:nvSpPr>
            <p:spPr>
              <a:xfrm>
                <a:off x="10386987" y="2354476"/>
                <a:ext cx="197550" cy="98873"/>
              </a:xfrm>
              <a:custGeom>
                <a:avLst/>
                <a:gdLst>
                  <a:gd name="connsiteX0" fmla="*/ 197550 w 197550"/>
                  <a:gd name="connsiteY0" fmla="*/ 12557 h 98873"/>
                  <a:gd name="connsiteX1" fmla="*/ 197550 w 197550"/>
                  <a:gd name="connsiteY1" fmla="*/ 0 h 98873"/>
                  <a:gd name="connsiteX2" fmla="*/ 0 w 197550"/>
                  <a:gd name="connsiteY2" fmla="*/ 0 h 98873"/>
                  <a:gd name="connsiteX3" fmla="*/ 0 w 197550"/>
                  <a:gd name="connsiteY3" fmla="*/ 98874 h 98873"/>
                  <a:gd name="connsiteX4" fmla="*/ 111237 w 197550"/>
                  <a:gd name="connsiteY4" fmla="*/ 98874 h 98873"/>
                  <a:gd name="connsiteX5" fmla="*/ 197550 w 197550"/>
                  <a:gd name="connsiteY5" fmla="*/ 12557 h 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550" h="98873">
                    <a:moveTo>
                      <a:pt x="197550" y="12557"/>
                    </a:moveTo>
                    <a:lnTo>
                      <a:pt x="197550" y="0"/>
                    </a:lnTo>
                    <a:lnTo>
                      <a:pt x="0" y="0"/>
                    </a:lnTo>
                    <a:lnTo>
                      <a:pt x="0" y="98874"/>
                    </a:lnTo>
                    <a:lnTo>
                      <a:pt x="111237" y="98874"/>
                    </a:lnTo>
                    <a:lnTo>
                      <a:pt x="197550" y="12557"/>
                    </a:lnTo>
                    <a:close/>
                  </a:path>
                </a:pathLst>
              </a:custGeom>
              <a:grpFill/>
              <a:ln w="16371" cap="flat">
                <a:noFill/>
                <a:prstDash val="solid"/>
                <a:miter/>
              </a:ln>
            </p:spPr>
            <p:txBody>
              <a:bodyPr rtlCol="0" anchor="ctr"/>
              <a:lstStyle/>
              <a:p>
                <a:endParaRPr lang="de-DE"/>
              </a:p>
            </p:txBody>
          </p:sp>
          <p:sp>
            <p:nvSpPr>
              <p:cNvPr id="36" name="Bildplatzhalter 14" descr="Fracht mit einfarbiger Füllung">
                <a:extLst>
                  <a:ext uri="{FF2B5EF4-FFF2-40B4-BE49-F238E27FC236}">
                    <a16:creationId xmlns:a16="http://schemas.microsoft.com/office/drawing/2014/main" id="{0EF348A0-296B-49B0-9484-69DD652E5AD8}"/>
                  </a:ext>
                </a:extLst>
              </p:cNvPr>
              <p:cNvSpPr/>
              <p:nvPr/>
            </p:nvSpPr>
            <p:spPr>
              <a:xfrm>
                <a:off x="9316970" y="2403912"/>
                <a:ext cx="1514374" cy="428453"/>
              </a:xfrm>
              <a:custGeom>
                <a:avLst/>
                <a:gdLst>
                  <a:gd name="connsiteX0" fmla="*/ 1485596 w 1514374"/>
                  <a:gd name="connsiteY0" fmla="*/ 0 h 428453"/>
                  <a:gd name="connsiteX1" fmla="*/ 1312410 w 1514374"/>
                  <a:gd name="connsiteY1" fmla="*/ 0 h 428453"/>
                  <a:gd name="connsiteX2" fmla="*/ 1292046 w 1514374"/>
                  <a:gd name="connsiteY2" fmla="*/ 8454 h 428453"/>
                  <a:gd name="connsiteX3" fmla="*/ 1210145 w 1514374"/>
                  <a:gd name="connsiteY3" fmla="*/ 90420 h 428453"/>
                  <a:gd name="connsiteX4" fmla="*/ 1189781 w 1514374"/>
                  <a:gd name="connsiteY4" fmla="*/ 98874 h 428453"/>
                  <a:gd name="connsiteX5" fmla="*/ 28813 w 1514374"/>
                  <a:gd name="connsiteY5" fmla="*/ 98874 h 428453"/>
                  <a:gd name="connsiteX6" fmla="*/ 0 w 1514374"/>
                  <a:gd name="connsiteY6" fmla="*/ 127709 h 428453"/>
                  <a:gd name="connsiteX7" fmla="*/ 2061 w 1514374"/>
                  <a:gd name="connsiteY7" fmla="*/ 138423 h 428453"/>
                  <a:gd name="connsiteX8" fmla="*/ 110713 w 1514374"/>
                  <a:gd name="connsiteY8" fmla="*/ 410327 h 428453"/>
                  <a:gd name="connsiteX9" fmla="*/ 137465 w 1514374"/>
                  <a:gd name="connsiteY9" fmla="*/ 428453 h 428453"/>
                  <a:gd name="connsiteX10" fmla="*/ 1115173 w 1514374"/>
                  <a:gd name="connsiteY10" fmla="*/ 428453 h 428453"/>
                  <a:gd name="connsiteX11" fmla="*/ 1135537 w 1514374"/>
                  <a:gd name="connsiteY11" fmla="*/ 420000 h 428453"/>
                  <a:gd name="connsiteX12" fmla="*/ 1505943 w 1514374"/>
                  <a:gd name="connsiteY12" fmla="*/ 49223 h 428453"/>
                  <a:gd name="connsiteX13" fmla="*/ 1505929 w 1514374"/>
                  <a:gd name="connsiteY13" fmla="*/ 8439 h 428453"/>
                  <a:gd name="connsiteX14" fmla="*/ 1485596 w 1514374"/>
                  <a:gd name="connsiteY14" fmla="*/ 0 h 42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4374" h="428453">
                    <a:moveTo>
                      <a:pt x="1485596" y="0"/>
                    </a:moveTo>
                    <a:lnTo>
                      <a:pt x="1312410" y="0"/>
                    </a:lnTo>
                    <a:cubicBezTo>
                      <a:pt x="1304770" y="-3"/>
                      <a:pt x="1297442" y="3039"/>
                      <a:pt x="1292046" y="8454"/>
                    </a:cubicBezTo>
                    <a:lnTo>
                      <a:pt x="1210145" y="90420"/>
                    </a:lnTo>
                    <a:cubicBezTo>
                      <a:pt x="1204749" y="95835"/>
                      <a:pt x="1197421" y="98877"/>
                      <a:pt x="1189781" y="98874"/>
                    </a:cubicBezTo>
                    <a:lnTo>
                      <a:pt x="28813" y="98874"/>
                    </a:lnTo>
                    <a:cubicBezTo>
                      <a:pt x="12901" y="98872"/>
                      <a:pt x="2" y="111782"/>
                      <a:pt x="0" y="127709"/>
                    </a:cubicBezTo>
                    <a:cubicBezTo>
                      <a:pt x="0" y="131379"/>
                      <a:pt x="699" y="135016"/>
                      <a:pt x="2061" y="138423"/>
                    </a:cubicBezTo>
                    <a:lnTo>
                      <a:pt x="110713" y="410327"/>
                    </a:lnTo>
                    <a:cubicBezTo>
                      <a:pt x="115093" y="421274"/>
                      <a:pt x="125685" y="428450"/>
                      <a:pt x="137465" y="428453"/>
                    </a:cubicBezTo>
                    <a:lnTo>
                      <a:pt x="1115173" y="428453"/>
                    </a:lnTo>
                    <a:cubicBezTo>
                      <a:pt x="1122813" y="428457"/>
                      <a:pt x="1130141" y="425415"/>
                      <a:pt x="1135537" y="420000"/>
                    </a:cubicBezTo>
                    <a:lnTo>
                      <a:pt x="1505943" y="49223"/>
                    </a:lnTo>
                    <a:cubicBezTo>
                      <a:pt x="1517190" y="37956"/>
                      <a:pt x="1517184" y="19697"/>
                      <a:pt x="1505929" y="8439"/>
                    </a:cubicBezTo>
                    <a:cubicBezTo>
                      <a:pt x="1500534" y="3044"/>
                      <a:pt x="1493223" y="8"/>
                      <a:pt x="1485596" y="0"/>
                    </a:cubicBezTo>
                    <a:close/>
                  </a:path>
                </a:pathLst>
              </a:custGeom>
              <a:grpFill/>
              <a:ln w="16371" cap="flat">
                <a:noFill/>
                <a:prstDash val="solid"/>
                <a:miter/>
              </a:ln>
            </p:spPr>
            <p:txBody>
              <a:bodyPr rtlCol="0" anchor="ctr"/>
              <a:lstStyle/>
              <a:p>
                <a:endParaRPr lang="de-DE"/>
              </a:p>
            </p:txBody>
          </p:sp>
        </p:grpSp>
        <p:grpSp>
          <p:nvGrpSpPr>
            <p:cNvPr id="22" name="Gruppieren 21">
              <a:extLst>
                <a:ext uri="{FF2B5EF4-FFF2-40B4-BE49-F238E27FC236}">
                  <a16:creationId xmlns:a16="http://schemas.microsoft.com/office/drawing/2014/main" id="{DC123A24-B83A-407A-8F96-8C7F49884900}"/>
                </a:ext>
              </a:extLst>
            </p:cNvPr>
            <p:cNvGrpSpPr/>
            <p:nvPr/>
          </p:nvGrpSpPr>
          <p:grpSpPr>
            <a:xfrm>
              <a:off x="5896644" y="1534870"/>
              <a:ext cx="398712" cy="415448"/>
              <a:chOff x="-1463559" y="2802046"/>
              <a:chExt cx="1343912" cy="1321940"/>
            </a:xfrm>
            <a:grpFill/>
          </p:grpSpPr>
          <p:sp>
            <p:nvSpPr>
              <p:cNvPr id="23" name="Bildplatzhalter 10" descr="Schlepper mit einfarbiger Füllung">
                <a:extLst>
                  <a:ext uri="{FF2B5EF4-FFF2-40B4-BE49-F238E27FC236}">
                    <a16:creationId xmlns:a16="http://schemas.microsoft.com/office/drawing/2014/main" id="{310E7E0A-0102-4048-9CFC-DCF388BF6229}"/>
                  </a:ext>
                </a:extLst>
              </p:cNvPr>
              <p:cNvSpPr/>
              <p:nvPr/>
            </p:nvSpPr>
            <p:spPr>
              <a:xfrm>
                <a:off x="-916344" y="2992539"/>
                <a:ext cx="16462" cy="16478"/>
              </a:xfrm>
              <a:custGeom>
                <a:avLst/>
                <a:gdLst>
                  <a:gd name="connsiteX0" fmla="*/ 0 w 16462"/>
                  <a:gd name="connsiteY0" fmla="*/ 0 h 16478"/>
                  <a:gd name="connsiteX1" fmla="*/ 0 w 16462"/>
                  <a:gd name="connsiteY1" fmla="*/ 0 h 16478"/>
                  <a:gd name="connsiteX2" fmla="*/ 0 w 16462"/>
                  <a:gd name="connsiteY2" fmla="*/ 0 h 16478"/>
                  <a:gd name="connsiteX3" fmla="*/ 0 w 16462"/>
                  <a:gd name="connsiteY3" fmla="*/ 0 h 16478"/>
                </a:gdLst>
                <a:ahLst/>
                <a:cxnLst>
                  <a:cxn ang="0">
                    <a:pos x="connsiteX0" y="connsiteY0"/>
                  </a:cxn>
                  <a:cxn ang="0">
                    <a:pos x="connsiteX1" y="connsiteY1"/>
                  </a:cxn>
                  <a:cxn ang="0">
                    <a:pos x="connsiteX2" y="connsiteY2"/>
                  </a:cxn>
                  <a:cxn ang="0">
                    <a:pos x="connsiteX3" y="connsiteY3"/>
                  </a:cxn>
                </a:cxnLst>
                <a:rect l="l" t="t" r="r" b="b"/>
                <a:pathLst>
                  <a:path w="16462" h="16478">
                    <a:moveTo>
                      <a:pt x="0" y="0"/>
                    </a:moveTo>
                    <a:lnTo>
                      <a:pt x="0" y="0"/>
                    </a:lnTo>
                    <a:lnTo>
                      <a:pt x="0" y="0"/>
                    </a:lnTo>
                    <a:lnTo>
                      <a:pt x="0" y="0"/>
                    </a:lnTo>
                    <a:close/>
                  </a:path>
                </a:pathLst>
              </a:custGeom>
              <a:grpFill/>
              <a:ln w="16371" cap="flat">
                <a:noFill/>
                <a:prstDash val="solid"/>
                <a:miter/>
              </a:ln>
            </p:spPr>
            <p:txBody>
              <a:bodyPr rtlCol="0" anchor="ctr"/>
              <a:lstStyle/>
              <a:p>
                <a:endParaRPr lang="de-DE"/>
              </a:p>
            </p:txBody>
          </p:sp>
          <p:sp>
            <p:nvSpPr>
              <p:cNvPr id="24" name="Bildplatzhalter 10" descr="Schlepper mit einfarbiger Füllung">
                <a:extLst>
                  <a:ext uri="{FF2B5EF4-FFF2-40B4-BE49-F238E27FC236}">
                    <a16:creationId xmlns:a16="http://schemas.microsoft.com/office/drawing/2014/main" id="{E48E7638-5AF0-49AE-90B6-8E5B4571FFCE}"/>
                  </a:ext>
                </a:extLst>
              </p:cNvPr>
              <p:cNvSpPr/>
              <p:nvPr/>
            </p:nvSpPr>
            <p:spPr>
              <a:xfrm>
                <a:off x="-1173076" y="2802046"/>
                <a:ext cx="430576" cy="351327"/>
              </a:xfrm>
              <a:custGeom>
                <a:avLst/>
                <a:gdLst>
                  <a:gd name="connsiteX0" fmla="*/ 45683 w 430576"/>
                  <a:gd name="connsiteY0" fmla="*/ 167093 h 351327"/>
                  <a:gd name="connsiteX1" fmla="*/ 43708 w 430576"/>
                  <a:gd name="connsiteY1" fmla="*/ 183572 h 351327"/>
                  <a:gd name="connsiteX2" fmla="*/ 111008 w 430576"/>
                  <a:gd name="connsiteY2" fmla="*/ 253937 h 351327"/>
                  <a:gd name="connsiteX3" fmla="*/ 111039 w 430576"/>
                  <a:gd name="connsiteY3" fmla="*/ 253937 h 351327"/>
                  <a:gd name="connsiteX4" fmla="*/ 152854 w 430576"/>
                  <a:gd name="connsiteY4" fmla="*/ 238776 h 351327"/>
                  <a:gd name="connsiteX5" fmla="*/ 213930 w 430576"/>
                  <a:gd name="connsiteY5" fmla="*/ 268933 h 351327"/>
                  <a:gd name="connsiteX6" fmla="*/ 249489 w 430576"/>
                  <a:gd name="connsiteY6" fmla="*/ 268933 h 351327"/>
                  <a:gd name="connsiteX7" fmla="*/ 249489 w 430576"/>
                  <a:gd name="connsiteY7" fmla="*/ 351328 h 351327"/>
                  <a:gd name="connsiteX8" fmla="*/ 430576 w 430576"/>
                  <a:gd name="connsiteY8" fmla="*/ 351328 h 351327"/>
                  <a:gd name="connsiteX9" fmla="*/ 430576 w 430576"/>
                  <a:gd name="connsiteY9" fmla="*/ 235975 h 351327"/>
                  <a:gd name="connsiteX10" fmla="*/ 340033 w 430576"/>
                  <a:gd name="connsiteY10" fmla="*/ 235975 h 351327"/>
                  <a:gd name="connsiteX11" fmla="*/ 278134 w 430576"/>
                  <a:gd name="connsiteY11" fmla="*/ 211916 h 351327"/>
                  <a:gd name="connsiteX12" fmla="*/ 256732 w 430576"/>
                  <a:gd name="connsiteY12" fmla="*/ 190493 h 351327"/>
                  <a:gd name="connsiteX13" fmla="*/ 256732 w 430576"/>
                  <a:gd name="connsiteY13" fmla="*/ 190493 h 351327"/>
                  <a:gd name="connsiteX14" fmla="*/ 256732 w 430576"/>
                  <a:gd name="connsiteY14" fmla="*/ 183242 h 351327"/>
                  <a:gd name="connsiteX15" fmla="*/ 185944 w 430576"/>
                  <a:gd name="connsiteY15" fmla="*/ 112053 h 351327"/>
                  <a:gd name="connsiteX16" fmla="*/ 185614 w 430576"/>
                  <a:gd name="connsiteY16" fmla="*/ 112053 h 351327"/>
                  <a:gd name="connsiteX17" fmla="*/ 164213 w 430576"/>
                  <a:gd name="connsiteY17" fmla="*/ 90630 h 351327"/>
                  <a:gd name="connsiteX18" fmla="*/ 90533 w 430576"/>
                  <a:gd name="connsiteY18" fmla="*/ 418 h 351327"/>
                  <a:gd name="connsiteX19" fmla="*/ 411 w 430576"/>
                  <a:gd name="connsiteY19" fmla="*/ 74172 h 351327"/>
                  <a:gd name="connsiteX20" fmla="*/ 411 w 430576"/>
                  <a:gd name="connsiteY20" fmla="*/ 90630 h 351327"/>
                  <a:gd name="connsiteX21" fmla="*/ 45683 w 430576"/>
                  <a:gd name="connsiteY21" fmla="*/ 167093 h 3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0576" h="351327">
                    <a:moveTo>
                      <a:pt x="45683" y="167093"/>
                    </a:moveTo>
                    <a:cubicBezTo>
                      <a:pt x="44399" y="172493"/>
                      <a:pt x="43737" y="178022"/>
                      <a:pt x="43708" y="183572"/>
                    </a:cubicBezTo>
                    <a:cubicBezTo>
                      <a:pt x="42881" y="221605"/>
                      <a:pt x="73012" y="253108"/>
                      <a:pt x="111008" y="253937"/>
                    </a:cubicBezTo>
                    <a:cubicBezTo>
                      <a:pt x="111018" y="253937"/>
                      <a:pt x="111029" y="253937"/>
                      <a:pt x="111039" y="253937"/>
                    </a:cubicBezTo>
                    <a:cubicBezTo>
                      <a:pt x="126311" y="253891"/>
                      <a:pt x="141093" y="248530"/>
                      <a:pt x="152854" y="238776"/>
                    </a:cubicBezTo>
                    <a:cubicBezTo>
                      <a:pt x="167525" y="257660"/>
                      <a:pt x="190033" y="268773"/>
                      <a:pt x="213930" y="268933"/>
                    </a:cubicBezTo>
                    <a:lnTo>
                      <a:pt x="249489" y="268933"/>
                    </a:lnTo>
                    <a:lnTo>
                      <a:pt x="249489" y="351328"/>
                    </a:lnTo>
                    <a:lnTo>
                      <a:pt x="430576" y="351328"/>
                    </a:lnTo>
                    <a:lnTo>
                      <a:pt x="430576" y="235975"/>
                    </a:lnTo>
                    <a:lnTo>
                      <a:pt x="340033" y="235975"/>
                    </a:lnTo>
                    <a:cubicBezTo>
                      <a:pt x="323101" y="220537"/>
                      <a:pt x="301036" y="211960"/>
                      <a:pt x="278134" y="211916"/>
                    </a:cubicBezTo>
                    <a:cubicBezTo>
                      <a:pt x="266313" y="211916"/>
                      <a:pt x="256732" y="202325"/>
                      <a:pt x="256732" y="190493"/>
                    </a:cubicBezTo>
                    <a:lnTo>
                      <a:pt x="256732" y="190493"/>
                    </a:lnTo>
                    <a:lnTo>
                      <a:pt x="256732" y="183242"/>
                    </a:lnTo>
                    <a:cubicBezTo>
                      <a:pt x="256823" y="144017"/>
                      <a:pt x="225131" y="112144"/>
                      <a:pt x="185944" y="112053"/>
                    </a:cubicBezTo>
                    <a:cubicBezTo>
                      <a:pt x="185833" y="112053"/>
                      <a:pt x="185725" y="112053"/>
                      <a:pt x="185614" y="112053"/>
                    </a:cubicBezTo>
                    <a:cubicBezTo>
                      <a:pt x="173794" y="112053"/>
                      <a:pt x="164213" y="102462"/>
                      <a:pt x="164213" y="90630"/>
                    </a:cubicBezTo>
                    <a:cubicBezTo>
                      <a:pt x="168753" y="45352"/>
                      <a:pt x="135766" y="4963"/>
                      <a:pt x="90533" y="418"/>
                    </a:cubicBezTo>
                    <a:cubicBezTo>
                      <a:pt x="45301" y="-4127"/>
                      <a:pt x="4951" y="28894"/>
                      <a:pt x="411" y="74172"/>
                    </a:cubicBezTo>
                    <a:cubicBezTo>
                      <a:pt x="-137" y="79644"/>
                      <a:pt x="-137" y="85158"/>
                      <a:pt x="411" y="90630"/>
                    </a:cubicBezTo>
                    <a:cubicBezTo>
                      <a:pt x="121" y="122562"/>
                      <a:pt x="17562" y="152016"/>
                      <a:pt x="45683" y="167093"/>
                    </a:cubicBezTo>
                    <a:close/>
                  </a:path>
                </a:pathLst>
              </a:custGeom>
              <a:grpFill/>
              <a:ln w="16371" cap="flat">
                <a:noFill/>
                <a:prstDash val="solid"/>
                <a:miter/>
              </a:ln>
            </p:spPr>
            <p:txBody>
              <a:bodyPr rtlCol="0" anchor="ctr"/>
              <a:lstStyle/>
              <a:p>
                <a:endParaRPr lang="de-DE"/>
              </a:p>
            </p:txBody>
          </p:sp>
          <p:sp>
            <p:nvSpPr>
              <p:cNvPr id="25" name="Bildplatzhalter 10" descr="Schlepper mit einfarbiger Füllung">
                <a:extLst>
                  <a:ext uri="{FF2B5EF4-FFF2-40B4-BE49-F238E27FC236}">
                    <a16:creationId xmlns:a16="http://schemas.microsoft.com/office/drawing/2014/main" id="{3EFD9D3A-9A31-41C1-B8BD-028045F6D32A}"/>
                  </a:ext>
                </a:extLst>
              </p:cNvPr>
              <p:cNvSpPr/>
              <p:nvPr/>
            </p:nvSpPr>
            <p:spPr>
              <a:xfrm>
                <a:off x="-1463559" y="3599954"/>
                <a:ext cx="1343912" cy="524032"/>
              </a:xfrm>
              <a:custGeom>
                <a:avLst/>
                <a:gdLst>
                  <a:gd name="connsiteX0" fmla="*/ 1335605 w 1343912"/>
                  <a:gd name="connsiteY0" fmla="*/ 1813 h 524032"/>
                  <a:gd name="connsiteX1" fmla="*/ 1324740 w 1343912"/>
                  <a:gd name="connsiteY1" fmla="*/ 1813 h 524032"/>
                  <a:gd name="connsiteX2" fmla="*/ 1066772 w 1343912"/>
                  <a:gd name="connsiteY2" fmla="*/ 98215 h 524032"/>
                  <a:gd name="connsiteX3" fmla="*/ 441197 w 1343912"/>
                  <a:gd name="connsiteY3" fmla="*/ 199396 h 524032"/>
                  <a:gd name="connsiteX4" fmla="*/ 15312 w 1343912"/>
                  <a:gd name="connsiteY4" fmla="*/ 212579 h 524032"/>
                  <a:gd name="connsiteX5" fmla="*/ 15312 w 1343912"/>
                  <a:gd name="connsiteY5" fmla="*/ 212579 h 524032"/>
                  <a:gd name="connsiteX6" fmla="*/ 661 w 1343912"/>
                  <a:gd name="connsiteY6" fmla="*/ 230377 h 524032"/>
                  <a:gd name="connsiteX7" fmla="*/ 51201 w 1343912"/>
                  <a:gd name="connsiteY7" fmla="*/ 513321 h 524032"/>
                  <a:gd name="connsiteX8" fmla="*/ 64535 w 1343912"/>
                  <a:gd name="connsiteY8" fmla="*/ 524032 h 524032"/>
                  <a:gd name="connsiteX9" fmla="*/ 1116160 w 1343912"/>
                  <a:gd name="connsiteY9" fmla="*/ 524032 h 524032"/>
                  <a:gd name="connsiteX10" fmla="*/ 1124885 w 1343912"/>
                  <a:gd name="connsiteY10" fmla="*/ 520407 h 524032"/>
                  <a:gd name="connsiteX11" fmla="*/ 1343342 w 1343912"/>
                  <a:gd name="connsiteY11" fmla="*/ 26037 h 524032"/>
                  <a:gd name="connsiteX12" fmla="*/ 1335605 w 1343912"/>
                  <a:gd name="connsiteY12" fmla="*/ 1813 h 52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3912" h="524032">
                    <a:moveTo>
                      <a:pt x="1335605" y="1813"/>
                    </a:moveTo>
                    <a:cubicBezTo>
                      <a:pt x="1332385" y="-604"/>
                      <a:pt x="1327960" y="-604"/>
                      <a:pt x="1324740" y="1813"/>
                    </a:cubicBezTo>
                    <a:cubicBezTo>
                      <a:pt x="1241996" y="42056"/>
                      <a:pt x="1155619" y="74335"/>
                      <a:pt x="1066772" y="98215"/>
                    </a:cubicBezTo>
                    <a:cubicBezTo>
                      <a:pt x="861814" y="155727"/>
                      <a:pt x="632985" y="184895"/>
                      <a:pt x="441197" y="199396"/>
                    </a:cubicBezTo>
                    <a:cubicBezTo>
                      <a:pt x="208911" y="216864"/>
                      <a:pt x="30952" y="212579"/>
                      <a:pt x="15312" y="212579"/>
                    </a:cubicBezTo>
                    <a:lnTo>
                      <a:pt x="15312" y="212579"/>
                    </a:lnTo>
                    <a:cubicBezTo>
                      <a:pt x="6404" y="213533"/>
                      <a:pt x="-107" y="221442"/>
                      <a:pt x="661" y="230377"/>
                    </a:cubicBezTo>
                    <a:cubicBezTo>
                      <a:pt x="-5430" y="330404"/>
                      <a:pt x="32104" y="464213"/>
                      <a:pt x="51201" y="513321"/>
                    </a:cubicBezTo>
                    <a:cubicBezTo>
                      <a:pt x="53054" y="519274"/>
                      <a:pt x="58327" y="523510"/>
                      <a:pt x="64535" y="524032"/>
                    </a:cubicBezTo>
                    <a:lnTo>
                      <a:pt x="1116160" y="524032"/>
                    </a:lnTo>
                    <a:cubicBezTo>
                      <a:pt x="1119437" y="524047"/>
                      <a:pt x="1122582" y="522740"/>
                      <a:pt x="1124885" y="520407"/>
                    </a:cubicBezTo>
                    <a:cubicBezTo>
                      <a:pt x="1248024" y="397309"/>
                      <a:pt x="1322435" y="143532"/>
                      <a:pt x="1343342" y="26037"/>
                    </a:cubicBezTo>
                    <a:cubicBezTo>
                      <a:pt x="1345249" y="17160"/>
                      <a:pt x="1342302" y="7937"/>
                      <a:pt x="1335605" y="1813"/>
                    </a:cubicBezTo>
                    <a:close/>
                  </a:path>
                </a:pathLst>
              </a:custGeom>
              <a:grpFill/>
              <a:ln w="16371" cap="flat">
                <a:noFill/>
                <a:prstDash val="solid"/>
                <a:miter/>
              </a:ln>
            </p:spPr>
            <p:txBody>
              <a:bodyPr rtlCol="0" anchor="ctr"/>
              <a:lstStyle/>
              <a:p>
                <a:endParaRPr lang="de-DE"/>
              </a:p>
            </p:txBody>
          </p:sp>
          <p:sp>
            <p:nvSpPr>
              <p:cNvPr id="26" name="Bildplatzhalter 10" descr="Schlepper mit einfarbiger Füllung">
                <a:extLst>
                  <a:ext uri="{FF2B5EF4-FFF2-40B4-BE49-F238E27FC236}">
                    <a16:creationId xmlns:a16="http://schemas.microsoft.com/office/drawing/2014/main" id="{21CC2626-98B2-40F0-A401-06CF268B2475}"/>
                  </a:ext>
                </a:extLst>
              </p:cNvPr>
              <p:cNvSpPr/>
              <p:nvPr/>
            </p:nvSpPr>
            <p:spPr>
              <a:xfrm>
                <a:off x="-1071750" y="3202811"/>
                <a:ext cx="724350" cy="547102"/>
              </a:xfrm>
              <a:custGeom>
                <a:avLst/>
                <a:gdLst>
                  <a:gd name="connsiteX0" fmla="*/ 699327 w 724350"/>
                  <a:gd name="connsiteY0" fmla="*/ 131832 h 547102"/>
                  <a:gd name="connsiteX1" fmla="*/ 592650 w 724350"/>
                  <a:gd name="connsiteY1" fmla="*/ 131832 h 547102"/>
                  <a:gd name="connsiteX2" fmla="*/ 592650 w 724350"/>
                  <a:gd name="connsiteY2" fmla="*/ 16479 h 547102"/>
                  <a:gd name="connsiteX3" fmla="*/ 411563 w 724350"/>
                  <a:gd name="connsiteY3" fmla="*/ 16479 h 547102"/>
                  <a:gd name="connsiteX4" fmla="*/ 411563 w 724350"/>
                  <a:gd name="connsiteY4" fmla="*/ 131832 h 547102"/>
                  <a:gd name="connsiteX5" fmla="*/ 329250 w 724350"/>
                  <a:gd name="connsiteY5" fmla="*/ 131832 h 547102"/>
                  <a:gd name="connsiteX6" fmla="*/ 329250 w 724350"/>
                  <a:gd name="connsiteY6" fmla="*/ 0 h 547102"/>
                  <a:gd name="connsiteX7" fmla="*/ 148163 w 724350"/>
                  <a:gd name="connsiteY7" fmla="*/ 0 h 547102"/>
                  <a:gd name="connsiteX8" fmla="*/ 148163 w 724350"/>
                  <a:gd name="connsiteY8" fmla="*/ 131832 h 547102"/>
                  <a:gd name="connsiteX9" fmla="*/ 25023 w 724350"/>
                  <a:gd name="connsiteY9" fmla="*/ 131832 h 547102"/>
                  <a:gd name="connsiteX10" fmla="*/ 0 w 724350"/>
                  <a:gd name="connsiteY10" fmla="*/ 156880 h 547102"/>
                  <a:gd name="connsiteX11" fmla="*/ 0 w 724350"/>
                  <a:gd name="connsiteY11" fmla="*/ 173359 h 547102"/>
                  <a:gd name="connsiteX12" fmla="*/ 25023 w 724350"/>
                  <a:gd name="connsiteY12" fmla="*/ 197748 h 547102"/>
                  <a:gd name="connsiteX13" fmla="*/ 49388 w 724350"/>
                  <a:gd name="connsiteY13" fmla="*/ 197748 h 547102"/>
                  <a:gd name="connsiteX14" fmla="*/ 49388 w 724350"/>
                  <a:gd name="connsiteY14" fmla="*/ 547102 h 547102"/>
                  <a:gd name="connsiteX15" fmla="*/ 674963 w 724350"/>
                  <a:gd name="connsiteY15" fmla="*/ 444109 h 547102"/>
                  <a:gd name="connsiteX16" fmla="*/ 674963 w 724350"/>
                  <a:gd name="connsiteY16" fmla="*/ 197748 h 547102"/>
                  <a:gd name="connsiteX17" fmla="*/ 699327 w 724350"/>
                  <a:gd name="connsiteY17" fmla="*/ 197748 h 547102"/>
                  <a:gd name="connsiteX18" fmla="*/ 724350 w 724350"/>
                  <a:gd name="connsiteY18" fmla="*/ 172700 h 547102"/>
                  <a:gd name="connsiteX19" fmla="*/ 724350 w 724350"/>
                  <a:gd name="connsiteY19" fmla="*/ 157045 h 547102"/>
                  <a:gd name="connsiteX20" fmla="*/ 699492 w 724350"/>
                  <a:gd name="connsiteY20" fmla="*/ 131832 h 547102"/>
                  <a:gd name="connsiteX21" fmla="*/ 699327 w 724350"/>
                  <a:gd name="connsiteY21" fmla="*/ 131832 h 547102"/>
                  <a:gd name="connsiteX22" fmla="*/ 181088 w 724350"/>
                  <a:gd name="connsiteY22" fmla="*/ 329580 h 547102"/>
                  <a:gd name="connsiteX23" fmla="*/ 131700 w 724350"/>
                  <a:gd name="connsiteY23" fmla="*/ 280143 h 547102"/>
                  <a:gd name="connsiteX24" fmla="*/ 181088 w 724350"/>
                  <a:gd name="connsiteY24" fmla="*/ 230706 h 547102"/>
                  <a:gd name="connsiteX25" fmla="*/ 230475 w 724350"/>
                  <a:gd name="connsiteY25" fmla="*/ 280143 h 547102"/>
                  <a:gd name="connsiteX26" fmla="*/ 181088 w 724350"/>
                  <a:gd name="connsiteY26" fmla="*/ 329580 h 547102"/>
                  <a:gd name="connsiteX27" fmla="*/ 362175 w 724350"/>
                  <a:gd name="connsiteY27" fmla="*/ 329580 h 547102"/>
                  <a:gd name="connsiteX28" fmla="*/ 312788 w 724350"/>
                  <a:gd name="connsiteY28" fmla="*/ 280143 h 547102"/>
                  <a:gd name="connsiteX29" fmla="*/ 362175 w 724350"/>
                  <a:gd name="connsiteY29" fmla="*/ 230706 h 547102"/>
                  <a:gd name="connsiteX30" fmla="*/ 411563 w 724350"/>
                  <a:gd name="connsiteY30" fmla="*/ 280143 h 547102"/>
                  <a:gd name="connsiteX31" fmla="*/ 362175 w 724350"/>
                  <a:gd name="connsiteY31" fmla="*/ 329580 h 547102"/>
                  <a:gd name="connsiteX32" fmla="*/ 543263 w 724350"/>
                  <a:gd name="connsiteY32" fmla="*/ 329580 h 547102"/>
                  <a:gd name="connsiteX33" fmla="*/ 493875 w 724350"/>
                  <a:gd name="connsiteY33" fmla="*/ 280143 h 547102"/>
                  <a:gd name="connsiteX34" fmla="*/ 543263 w 724350"/>
                  <a:gd name="connsiteY34" fmla="*/ 230706 h 547102"/>
                  <a:gd name="connsiteX35" fmla="*/ 592650 w 724350"/>
                  <a:gd name="connsiteY35" fmla="*/ 280143 h 547102"/>
                  <a:gd name="connsiteX36" fmla="*/ 543263 w 724350"/>
                  <a:gd name="connsiteY36" fmla="*/ 329580 h 54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24350" h="547102">
                    <a:moveTo>
                      <a:pt x="699327" y="131832"/>
                    </a:moveTo>
                    <a:lnTo>
                      <a:pt x="592650" y="131832"/>
                    </a:lnTo>
                    <a:lnTo>
                      <a:pt x="592650" y="16479"/>
                    </a:lnTo>
                    <a:lnTo>
                      <a:pt x="411563" y="16479"/>
                    </a:lnTo>
                    <a:lnTo>
                      <a:pt x="411563" y="131832"/>
                    </a:lnTo>
                    <a:lnTo>
                      <a:pt x="329250" y="131832"/>
                    </a:lnTo>
                    <a:lnTo>
                      <a:pt x="329250" y="0"/>
                    </a:lnTo>
                    <a:lnTo>
                      <a:pt x="148163" y="0"/>
                    </a:lnTo>
                    <a:lnTo>
                      <a:pt x="148163" y="131832"/>
                    </a:lnTo>
                    <a:lnTo>
                      <a:pt x="25023" y="131832"/>
                    </a:lnTo>
                    <a:cubicBezTo>
                      <a:pt x="11241" y="131922"/>
                      <a:pt x="91" y="143084"/>
                      <a:pt x="0" y="156880"/>
                    </a:cubicBezTo>
                    <a:lnTo>
                      <a:pt x="0" y="173359"/>
                    </a:lnTo>
                    <a:cubicBezTo>
                      <a:pt x="441" y="186896"/>
                      <a:pt x="11491" y="197667"/>
                      <a:pt x="25023" y="197748"/>
                    </a:cubicBezTo>
                    <a:lnTo>
                      <a:pt x="49388" y="197748"/>
                    </a:lnTo>
                    <a:lnTo>
                      <a:pt x="49388" y="547102"/>
                    </a:lnTo>
                    <a:cubicBezTo>
                      <a:pt x="242163" y="532436"/>
                      <a:pt x="471815" y="502938"/>
                      <a:pt x="674963" y="444109"/>
                    </a:cubicBezTo>
                    <a:lnTo>
                      <a:pt x="674963" y="197748"/>
                    </a:lnTo>
                    <a:lnTo>
                      <a:pt x="699327" y="197748"/>
                    </a:lnTo>
                    <a:cubicBezTo>
                      <a:pt x="713109" y="197657"/>
                      <a:pt x="724261" y="186496"/>
                      <a:pt x="724350" y="172700"/>
                    </a:cubicBezTo>
                    <a:lnTo>
                      <a:pt x="724350" y="157045"/>
                    </a:lnTo>
                    <a:cubicBezTo>
                      <a:pt x="724441" y="143211"/>
                      <a:pt x="713312" y="131924"/>
                      <a:pt x="699492" y="131832"/>
                    </a:cubicBezTo>
                    <a:cubicBezTo>
                      <a:pt x="699437" y="131832"/>
                      <a:pt x="699381" y="131832"/>
                      <a:pt x="699327" y="131832"/>
                    </a:cubicBezTo>
                    <a:close/>
                    <a:moveTo>
                      <a:pt x="181088" y="329580"/>
                    </a:moveTo>
                    <a:cubicBezTo>
                      <a:pt x="153811" y="329580"/>
                      <a:pt x="131700" y="307447"/>
                      <a:pt x="131700" y="280143"/>
                    </a:cubicBezTo>
                    <a:cubicBezTo>
                      <a:pt x="131700" y="252839"/>
                      <a:pt x="153811" y="230706"/>
                      <a:pt x="181088" y="230706"/>
                    </a:cubicBezTo>
                    <a:cubicBezTo>
                      <a:pt x="208364" y="230706"/>
                      <a:pt x="230475" y="252839"/>
                      <a:pt x="230475" y="280143"/>
                    </a:cubicBezTo>
                    <a:cubicBezTo>
                      <a:pt x="230475" y="307447"/>
                      <a:pt x="208364" y="329580"/>
                      <a:pt x="181088" y="329580"/>
                    </a:cubicBezTo>
                    <a:close/>
                    <a:moveTo>
                      <a:pt x="362175" y="329580"/>
                    </a:moveTo>
                    <a:cubicBezTo>
                      <a:pt x="334898" y="329580"/>
                      <a:pt x="312788" y="307447"/>
                      <a:pt x="312788" y="280143"/>
                    </a:cubicBezTo>
                    <a:cubicBezTo>
                      <a:pt x="312788" y="252839"/>
                      <a:pt x="334898" y="230706"/>
                      <a:pt x="362175" y="230706"/>
                    </a:cubicBezTo>
                    <a:cubicBezTo>
                      <a:pt x="389452" y="230706"/>
                      <a:pt x="411563" y="252839"/>
                      <a:pt x="411563" y="280143"/>
                    </a:cubicBezTo>
                    <a:cubicBezTo>
                      <a:pt x="411563" y="307447"/>
                      <a:pt x="389452" y="329580"/>
                      <a:pt x="362175" y="329580"/>
                    </a:cubicBezTo>
                    <a:close/>
                    <a:moveTo>
                      <a:pt x="543263" y="329580"/>
                    </a:moveTo>
                    <a:cubicBezTo>
                      <a:pt x="515986" y="329580"/>
                      <a:pt x="493875" y="307447"/>
                      <a:pt x="493875" y="280143"/>
                    </a:cubicBezTo>
                    <a:cubicBezTo>
                      <a:pt x="493875" y="252839"/>
                      <a:pt x="515986" y="230706"/>
                      <a:pt x="543263" y="230706"/>
                    </a:cubicBezTo>
                    <a:cubicBezTo>
                      <a:pt x="570539" y="230706"/>
                      <a:pt x="592650" y="252839"/>
                      <a:pt x="592650" y="280143"/>
                    </a:cubicBezTo>
                    <a:cubicBezTo>
                      <a:pt x="592650" y="307447"/>
                      <a:pt x="570539" y="329580"/>
                      <a:pt x="543263" y="329580"/>
                    </a:cubicBezTo>
                    <a:close/>
                  </a:path>
                </a:pathLst>
              </a:custGeom>
              <a:grpFill/>
              <a:ln w="16371" cap="flat">
                <a:noFill/>
                <a:prstDash val="solid"/>
                <a:miter/>
              </a:ln>
            </p:spPr>
            <p:txBody>
              <a:bodyPr rtlCol="0" anchor="ctr"/>
              <a:lstStyle/>
              <a:p>
                <a:endParaRPr lang="de-DE"/>
              </a:p>
            </p:txBody>
          </p:sp>
        </p:grpSp>
      </p:grpSp>
      <p:sp>
        <p:nvSpPr>
          <p:cNvPr id="49" name="Ellipse 48">
            <a:extLst>
              <a:ext uri="{FF2B5EF4-FFF2-40B4-BE49-F238E27FC236}">
                <a16:creationId xmlns:a16="http://schemas.microsoft.com/office/drawing/2014/main" id="{63A5D235-2DD8-4962-BB1E-44BE3CF1A9E0}"/>
              </a:ext>
            </a:extLst>
          </p:cNvPr>
          <p:cNvSpPr/>
          <p:nvPr/>
        </p:nvSpPr>
        <p:spPr>
          <a:xfrm>
            <a:off x="1673841" y="1408045"/>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9" name="Grafik 8" descr="Streudiagramm mit einfarbiger Füllung">
            <a:extLst>
              <a:ext uri="{FF2B5EF4-FFF2-40B4-BE49-F238E27FC236}">
                <a16:creationId xmlns:a16="http://schemas.microsoft.com/office/drawing/2014/main" id="{4356A0BB-A1A5-4768-8D2D-D583A0DFF0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13357" y="1619110"/>
            <a:ext cx="400391" cy="400391"/>
          </a:xfrm>
          <a:prstGeom prst="rect">
            <a:avLst/>
          </a:prstGeom>
        </p:spPr>
      </p:pic>
      <p:sp>
        <p:nvSpPr>
          <p:cNvPr id="47" name="Ellipse 46">
            <a:extLst>
              <a:ext uri="{FF2B5EF4-FFF2-40B4-BE49-F238E27FC236}">
                <a16:creationId xmlns:a16="http://schemas.microsoft.com/office/drawing/2014/main" id="{DE3F2474-319D-4861-8CF0-2DB2CBC0DFED}"/>
              </a:ext>
            </a:extLst>
          </p:cNvPr>
          <p:cNvSpPr/>
          <p:nvPr/>
        </p:nvSpPr>
        <p:spPr>
          <a:xfrm>
            <a:off x="2001560" y="1538536"/>
            <a:ext cx="278817" cy="270397"/>
          </a:xfrm>
          <a:prstGeom prst="ellipse">
            <a:avLst/>
          </a:prstGeom>
          <a:solidFill>
            <a:srgbClr val="2B2D38"/>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50" name="Grafik 49" descr="Uhr mit einfarbiger Füllung">
            <a:extLst>
              <a:ext uri="{FF2B5EF4-FFF2-40B4-BE49-F238E27FC236}">
                <a16:creationId xmlns:a16="http://schemas.microsoft.com/office/drawing/2014/main" id="{1678EAB6-D1CE-4553-8B5D-755833D09D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97423" y="1531568"/>
            <a:ext cx="283736" cy="288770"/>
          </a:xfrm>
          <a:prstGeom prst="rect">
            <a:avLst/>
          </a:prstGeom>
        </p:spPr>
      </p:pic>
      <p:sp>
        <p:nvSpPr>
          <p:cNvPr id="95" name="Textfeld 94">
            <a:extLst>
              <a:ext uri="{FF2B5EF4-FFF2-40B4-BE49-F238E27FC236}">
                <a16:creationId xmlns:a16="http://schemas.microsoft.com/office/drawing/2014/main" id="{9286ABFB-1E27-4354-B4A5-EF4485B57741}"/>
              </a:ext>
            </a:extLst>
          </p:cNvPr>
          <p:cNvSpPr txBox="1"/>
          <p:nvPr/>
        </p:nvSpPr>
        <p:spPr bwMode="auto">
          <a:xfrm>
            <a:off x="2753409" y="1318776"/>
            <a:ext cx="2263335" cy="787370"/>
          </a:xfrm>
          <a:prstGeom prst="rect">
            <a:avLst/>
          </a:prstGeom>
          <a:noFill/>
          <a:ln w="6350">
            <a:noFill/>
            <a:prstDash val="solid"/>
            <a:miter lim="800000"/>
            <a:headEnd/>
            <a:tailEnd/>
          </a:ln>
        </p:spPr>
        <p:txBody>
          <a:bodyPr wrap="square" lIns="72000" rIns="72000" rtlCol="0">
            <a:noAutofit/>
          </a:bodyPr>
          <a:lstStyle/>
          <a:p>
            <a:r>
              <a:rPr lang="en-US" sz="1200" b="1">
                <a:solidFill>
                  <a:schemeClr val="bg1">
                    <a:lumMod val="65000"/>
                  </a:schemeClr>
                </a:solidFill>
                <a:latin typeface="+mj-lt"/>
                <a:cs typeface="Helvetica" panose="020B0604020202020204" pitchFamily="34" charset="0"/>
              </a:rPr>
              <a:t>ZIEL 1</a:t>
            </a:r>
          </a:p>
          <a:p>
            <a:r>
              <a:rPr lang="en-US" sz="1400" b="1" err="1">
                <a:solidFill>
                  <a:schemeClr val="tx1"/>
                </a:solidFill>
                <a:latin typeface="+mj-lt"/>
                <a:cs typeface="Helvetica" panose="020B0604020202020204" pitchFamily="34" charset="0"/>
              </a:rPr>
              <a:t>Erstellung</a:t>
            </a:r>
            <a:r>
              <a:rPr lang="en-US" sz="1400" b="1">
                <a:solidFill>
                  <a:schemeClr val="tx1"/>
                </a:solidFill>
                <a:latin typeface="+mj-lt"/>
                <a:cs typeface="Helvetica" panose="020B0604020202020204" pitchFamily="34" charset="0"/>
              </a:rPr>
              <a:t> von </a:t>
            </a:r>
            <a:r>
              <a:rPr lang="en-US" sz="1400" b="1" err="1">
                <a:solidFill>
                  <a:schemeClr val="tx1"/>
                </a:solidFill>
                <a:latin typeface="+mj-lt"/>
                <a:cs typeface="Helvetica" panose="020B0604020202020204" pitchFamily="34" charset="0"/>
              </a:rPr>
              <a:t>zwei</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Prognosemodellen</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für</a:t>
            </a:r>
            <a:r>
              <a:rPr lang="en-US" sz="1400" b="1">
                <a:solidFill>
                  <a:schemeClr val="tx1"/>
                </a:solidFill>
                <a:latin typeface="+mj-lt"/>
                <a:cs typeface="Helvetica" panose="020B0604020202020204" pitchFamily="34" charset="0"/>
              </a:rPr>
              <a:t> die ETA von </a:t>
            </a:r>
            <a:r>
              <a:rPr lang="en-US" sz="1400" b="1" err="1">
                <a:solidFill>
                  <a:schemeClr val="tx1"/>
                </a:solidFill>
                <a:latin typeface="+mj-lt"/>
                <a:cs typeface="Helvetica" panose="020B0604020202020204" pitchFamily="34" charset="0"/>
              </a:rPr>
              <a:t>Binnenschiffen</a:t>
            </a:r>
            <a:r>
              <a:rPr lang="en-US" sz="1400" b="1">
                <a:solidFill>
                  <a:schemeClr val="tx1"/>
                </a:solidFill>
                <a:latin typeface="+mj-lt"/>
                <a:cs typeface="Helvetica" panose="020B0604020202020204" pitchFamily="34" charset="0"/>
              </a:rPr>
              <a:t> </a:t>
            </a:r>
            <a:br>
              <a:rPr lang="en-US" sz="1400" b="1">
                <a:solidFill>
                  <a:schemeClr val="tx1"/>
                </a:solidFill>
                <a:latin typeface="+mj-lt"/>
                <a:cs typeface="Helvetica" panose="020B0604020202020204" pitchFamily="34" charset="0"/>
              </a:rPr>
            </a:br>
            <a:endParaRPr lang="en-US" sz="1400" b="1">
              <a:solidFill>
                <a:schemeClr val="tx1"/>
              </a:solidFill>
              <a:latin typeface="+mj-lt"/>
            </a:endParaRPr>
          </a:p>
          <a:p>
            <a:pPr>
              <a:lnSpc>
                <a:spcPct val="125000"/>
              </a:lnSpc>
              <a:spcAft>
                <a:spcPts val="400"/>
              </a:spcAft>
              <a:buClr>
                <a:schemeClr val="accent1"/>
              </a:buClr>
            </a:pPr>
            <a:endParaRPr lang="de-DE" sz="1400"/>
          </a:p>
        </p:txBody>
      </p:sp>
      <p:sp>
        <p:nvSpPr>
          <p:cNvPr id="11" name="Rechteck: abgerundete Ecken 10">
            <a:extLst>
              <a:ext uri="{FF2B5EF4-FFF2-40B4-BE49-F238E27FC236}">
                <a16:creationId xmlns:a16="http://schemas.microsoft.com/office/drawing/2014/main" id="{A0C3DBE3-BF42-4419-9D3E-F296CF97AA09}"/>
              </a:ext>
            </a:extLst>
          </p:cNvPr>
          <p:cNvSpPr/>
          <p:nvPr/>
        </p:nvSpPr>
        <p:spPr>
          <a:xfrm>
            <a:off x="1471144" y="3277016"/>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8" name="Rechteck: abgerundete Ecken 97">
            <a:extLst>
              <a:ext uri="{FF2B5EF4-FFF2-40B4-BE49-F238E27FC236}">
                <a16:creationId xmlns:a16="http://schemas.microsoft.com/office/drawing/2014/main" id="{6A1BF9D2-89F4-42D0-B522-7FA034537054}"/>
              </a:ext>
            </a:extLst>
          </p:cNvPr>
          <p:cNvSpPr/>
          <p:nvPr/>
        </p:nvSpPr>
        <p:spPr>
          <a:xfrm>
            <a:off x="1462660" y="3707850"/>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9" name="Rechteck: abgerundete Ecken 98">
            <a:extLst>
              <a:ext uri="{FF2B5EF4-FFF2-40B4-BE49-F238E27FC236}">
                <a16:creationId xmlns:a16="http://schemas.microsoft.com/office/drawing/2014/main" id="{0BAA16D2-2738-4AA3-BB52-3F18E05EDC6E}"/>
              </a:ext>
            </a:extLst>
          </p:cNvPr>
          <p:cNvSpPr/>
          <p:nvPr/>
        </p:nvSpPr>
        <p:spPr>
          <a:xfrm>
            <a:off x="3258005" y="3707850"/>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0" name="Rechteck: abgerundete Ecken 99">
            <a:extLst>
              <a:ext uri="{FF2B5EF4-FFF2-40B4-BE49-F238E27FC236}">
                <a16:creationId xmlns:a16="http://schemas.microsoft.com/office/drawing/2014/main" id="{F317DDB9-0058-431D-A950-64BE95CFBCE1}"/>
              </a:ext>
            </a:extLst>
          </p:cNvPr>
          <p:cNvSpPr/>
          <p:nvPr/>
        </p:nvSpPr>
        <p:spPr>
          <a:xfrm>
            <a:off x="1474615" y="4579401"/>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1" name="Rechteck: abgerundete Ecken 100">
            <a:extLst>
              <a:ext uri="{FF2B5EF4-FFF2-40B4-BE49-F238E27FC236}">
                <a16:creationId xmlns:a16="http://schemas.microsoft.com/office/drawing/2014/main" id="{9E0D3E1B-9F41-4E1A-9FE6-DC293E170858}"/>
              </a:ext>
            </a:extLst>
          </p:cNvPr>
          <p:cNvSpPr/>
          <p:nvPr/>
        </p:nvSpPr>
        <p:spPr>
          <a:xfrm>
            <a:off x="1475795" y="4146938"/>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2" name="Rechteck: abgerundete Ecken 101">
            <a:extLst>
              <a:ext uri="{FF2B5EF4-FFF2-40B4-BE49-F238E27FC236}">
                <a16:creationId xmlns:a16="http://schemas.microsoft.com/office/drawing/2014/main" id="{9FEB5CDC-3322-4F86-8D30-C207D760B644}"/>
              </a:ext>
            </a:extLst>
          </p:cNvPr>
          <p:cNvSpPr/>
          <p:nvPr/>
        </p:nvSpPr>
        <p:spPr>
          <a:xfrm>
            <a:off x="3261713" y="4149852"/>
            <a:ext cx="1740910"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96" name="Textfeld 95">
            <a:extLst>
              <a:ext uri="{FF2B5EF4-FFF2-40B4-BE49-F238E27FC236}">
                <a16:creationId xmlns:a16="http://schemas.microsoft.com/office/drawing/2014/main" id="{2F7D7740-D78D-4265-9D66-8B6C00B9FCFE}"/>
              </a:ext>
            </a:extLst>
          </p:cNvPr>
          <p:cNvSpPr txBox="1"/>
          <p:nvPr/>
        </p:nvSpPr>
        <p:spPr bwMode="auto">
          <a:xfrm>
            <a:off x="1878374" y="3248735"/>
            <a:ext cx="2708117" cy="36004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Datenexploration</a:t>
            </a:r>
            <a:r>
              <a:rPr lang="en-US" sz="1300">
                <a:solidFill>
                  <a:srgbClr val="F2F2F2"/>
                </a:solidFill>
                <a:latin typeface="+mj-lt"/>
                <a:cs typeface="Helvetica" panose="020B0604020202020204" pitchFamily="34" charset="0"/>
              </a:rPr>
              <a:t> &amp; -</a:t>
            </a:r>
            <a:r>
              <a:rPr lang="en-US" sz="1300" err="1">
                <a:solidFill>
                  <a:srgbClr val="F2F2F2"/>
                </a:solidFill>
                <a:latin typeface="+mj-lt"/>
                <a:cs typeface="Helvetica" panose="020B0604020202020204" pitchFamily="34" charset="0"/>
              </a:rPr>
              <a:t>aufbereitung</a:t>
            </a:r>
            <a:endParaRPr lang="en-US" sz="1300">
              <a:solidFill>
                <a:srgbClr val="F2F2F2"/>
              </a:solidFill>
              <a:latin typeface="+mj-lt"/>
              <a:cs typeface="Helvetica" panose="020B0604020202020204" pitchFamily="34" charset="0"/>
            </a:endParaRPr>
          </a:p>
        </p:txBody>
      </p:sp>
      <p:sp>
        <p:nvSpPr>
          <p:cNvPr id="106" name="Textfeld 105">
            <a:extLst>
              <a:ext uri="{FF2B5EF4-FFF2-40B4-BE49-F238E27FC236}">
                <a16:creationId xmlns:a16="http://schemas.microsoft.com/office/drawing/2014/main" id="{3B0C6AA4-2D06-471A-AEAA-A9B50013E51F}"/>
              </a:ext>
            </a:extLst>
          </p:cNvPr>
          <p:cNvSpPr txBox="1"/>
          <p:nvPr/>
        </p:nvSpPr>
        <p:spPr bwMode="auto">
          <a:xfrm>
            <a:off x="1486327" y="37239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a:solidFill>
                  <a:srgbClr val="F2F2F2"/>
                </a:solidFill>
                <a:latin typeface="+mj-lt"/>
                <a:cs typeface="Helvetica" panose="020B0604020202020204" pitchFamily="34" charset="0"/>
              </a:rPr>
              <a:t>Feature Engineering</a:t>
            </a:r>
            <a:endParaRPr lang="de-DE" sz="1400">
              <a:solidFill>
                <a:srgbClr val="F2F2F2"/>
              </a:solidFill>
            </a:endParaRPr>
          </a:p>
        </p:txBody>
      </p:sp>
      <p:sp>
        <p:nvSpPr>
          <p:cNvPr id="107" name="Textfeld 106">
            <a:extLst>
              <a:ext uri="{FF2B5EF4-FFF2-40B4-BE49-F238E27FC236}">
                <a16:creationId xmlns:a16="http://schemas.microsoft.com/office/drawing/2014/main" id="{45675425-33F0-43BE-8E4C-1192A4C697F4}"/>
              </a:ext>
            </a:extLst>
          </p:cNvPr>
          <p:cNvSpPr txBox="1"/>
          <p:nvPr/>
        </p:nvSpPr>
        <p:spPr bwMode="auto">
          <a:xfrm>
            <a:off x="1455797" y="4151687"/>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Modellierung</a:t>
            </a:r>
            <a:endParaRPr lang="de-DE" sz="1400">
              <a:solidFill>
                <a:srgbClr val="F2F2F2"/>
              </a:solidFill>
            </a:endParaRPr>
          </a:p>
        </p:txBody>
      </p:sp>
      <p:sp>
        <p:nvSpPr>
          <p:cNvPr id="108" name="Textfeld 107">
            <a:extLst>
              <a:ext uri="{FF2B5EF4-FFF2-40B4-BE49-F238E27FC236}">
                <a16:creationId xmlns:a16="http://schemas.microsoft.com/office/drawing/2014/main" id="{930B83E5-8821-4408-8C64-66F2B0C7BBF3}"/>
              </a:ext>
            </a:extLst>
          </p:cNvPr>
          <p:cNvSpPr txBox="1"/>
          <p:nvPr/>
        </p:nvSpPr>
        <p:spPr bwMode="auto">
          <a:xfrm>
            <a:off x="2340705" y="4587998"/>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Ergebnisbewertung</a:t>
            </a:r>
            <a:endParaRPr lang="de-DE" sz="1400">
              <a:solidFill>
                <a:srgbClr val="F2F2F2"/>
              </a:solidFill>
            </a:endParaRPr>
          </a:p>
        </p:txBody>
      </p:sp>
      <p:sp>
        <p:nvSpPr>
          <p:cNvPr id="110" name="Textfeld 109">
            <a:extLst>
              <a:ext uri="{FF2B5EF4-FFF2-40B4-BE49-F238E27FC236}">
                <a16:creationId xmlns:a16="http://schemas.microsoft.com/office/drawing/2014/main" id="{21E235D4-7002-40AA-9405-C8C54011B5C1}"/>
              </a:ext>
            </a:extLst>
          </p:cNvPr>
          <p:cNvSpPr txBox="1"/>
          <p:nvPr/>
        </p:nvSpPr>
        <p:spPr bwMode="auto">
          <a:xfrm>
            <a:off x="3281672" y="37239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a:solidFill>
                  <a:srgbClr val="F2F2F2"/>
                </a:solidFill>
                <a:latin typeface="+mj-lt"/>
                <a:cs typeface="Helvetica" panose="020B0604020202020204" pitchFamily="34" charset="0"/>
              </a:rPr>
              <a:t>Feature Engineering</a:t>
            </a:r>
            <a:endParaRPr lang="de-DE" sz="1400">
              <a:solidFill>
                <a:srgbClr val="F2F2F2"/>
              </a:solidFill>
            </a:endParaRPr>
          </a:p>
        </p:txBody>
      </p:sp>
      <p:sp>
        <p:nvSpPr>
          <p:cNvPr id="112" name="Textfeld 111">
            <a:extLst>
              <a:ext uri="{FF2B5EF4-FFF2-40B4-BE49-F238E27FC236}">
                <a16:creationId xmlns:a16="http://schemas.microsoft.com/office/drawing/2014/main" id="{5EA148D8-A995-4AB5-9AAF-7D709E166F1B}"/>
              </a:ext>
            </a:extLst>
          </p:cNvPr>
          <p:cNvSpPr txBox="1"/>
          <p:nvPr/>
        </p:nvSpPr>
        <p:spPr bwMode="auto">
          <a:xfrm>
            <a:off x="3278893" y="4151687"/>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err="1">
                <a:solidFill>
                  <a:srgbClr val="F2F2F2"/>
                </a:solidFill>
                <a:latin typeface="+mj-lt"/>
                <a:cs typeface="Helvetica" panose="020B0604020202020204" pitchFamily="34" charset="0"/>
              </a:rPr>
              <a:t>Modellierung</a:t>
            </a:r>
            <a:endParaRPr lang="de-DE" sz="1400">
              <a:solidFill>
                <a:srgbClr val="F2F2F2"/>
              </a:solidFill>
            </a:endParaRPr>
          </a:p>
        </p:txBody>
      </p:sp>
      <p:sp>
        <p:nvSpPr>
          <p:cNvPr id="113" name="Textfeld 112">
            <a:extLst>
              <a:ext uri="{FF2B5EF4-FFF2-40B4-BE49-F238E27FC236}">
                <a16:creationId xmlns:a16="http://schemas.microsoft.com/office/drawing/2014/main" id="{55AF3892-0A2B-496B-B3C1-64459A0F01BE}"/>
              </a:ext>
            </a:extLst>
          </p:cNvPr>
          <p:cNvSpPr txBox="1"/>
          <p:nvPr/>
        </p:nvSpPr>
        <p:spPr bwMode="auto">
          <a:xfrm>
            <a:off x="1517291" y="28367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a:solidFill>
                  <a:schemeClr val="accent3"/>
                </a:solidFill>
                <a:latin typeface="+mj-lt"/>
                <a:cs typeface="Helvetica" panose="020B0604020202020204" pitchFamily="34" charset="0"/>
              </a:rPr>
              <a:t>1.   STATISCH</a:t>
            </a:r>
            <a:endParaRPr lang="de-DE" sz="1400">
              <a:solidFill>
                <a:schemeClr val="accent3"/>
              </a:solidFill>
            </a:endParaRPr>
          </a:p>
        </p:txBody>
      </p:sp>
      <p:sp>
        <p:nvSpPr>
          <p:cNvPr id="114" name="Textfeld 113">
            <a:extLst>
              <a:ext uri="{FF2B5EF4-FFF2-40B4-BE49-F238E27FC236}">
                <a16:creationId xmlns:a16="http://schemas.microsoft.com/office/drawing/2014/main" id="{A6F26BBC-1A87-411B-A9A9-2B02C58A0BE9}"/>
              </a:ext>
            </a:extLst>
          </p:cNvPr>
          <p:cNvSpPr txBox="1"/>
          <p:nvPr/>
        </p:nvSpPr>
        <p:spPr bwMode="auto">
          <a:xfrm>
            <a:off x="3341478" y="2836779"/>
            <a:ext cx="1693576" cy="327782"/>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a:solidFill>
                  <a:schemeClr val="accent3"/>
                </a:solidFill>
                <a:latin typeface="+mj-lt"/>
                <a:cs typeface="Helvetica" panose="020B0604020202020204" pitchFamily="34" charset="0"/>
              </a:rPr>
              <a:t>2.   DYNAMISCH</a:t>
            </a:r>
            <a:endParaRPr lang="de-DE" sz="1400">
              <a:solidFill>
                <a:schemeClr val="accent3"/>
              </a:solidFill>
            </a:endParaRPr>
          </a:p>
        </p:txBody>
      </p:sp>
      <p:grpSp>
        <p:nvGrpSpPr>
          <p:cNvPr id="448" name="Gruppieren 447">
            <a:extLst>
              <a:ext uri="{FF2B5EF4-FFF2-40B4-BE49-F238E27FC236}">
                <a16:creationId xmlns:a16="http://schemas.microsoft.com/office/drawing/2014/main" id="{F1B23281-4112-47BB-9F7B-A9EDF767267C}"/>
              </a:ext>
            </a:extLst>
          </p:cNvPr>
          <p:cNvGrpSpPr/>
          <p:nvPr/>
        </p:nvGrpSpPr>
        <p:grpSpPr>
          <a:xfrm>
            <a:off x="4916140" y="1123476"/>
            <a:ext cx="6035972" cy="4671826"/>
            <a:chOff x="4916140" y="1123476"/>
            <a:chExt cx="6035972" cy="4671826"/>
          </a:xfrm>
        </p:grpSpPr>
        <p:sp>
          <p:nvSpPr>
            <p:cNvPr id="121" name="Rechteck: abgerundete Ecken 120">
              <a:extLst>
                <a:ext uri="{FF2B5EF4-FFF2-40B4-BE49-F238E27FC236}">
                  <a16:creationId xmlns:a16="http://schemas.microsoft.com/office/drawing/2014/main" id="{E6FB5AA4-2465-409E-98E1-FB9B2B004BD5}"/>
                </a:ext>
              </a:extLst>
            </p:cNvPr>
            <p:cNvSpPr/>
            <p:nvPr/>
          </p:nvSpPr>
          <p:spPr>
            <a:xfrm>
              <a:off x="6765937" y="1123476"/>
              <a:ext cx="3840037" cy="4671826"/>
            </a:xfrm>
            <a:prstGeom prst="roundRect">
              <a:avLst>
                <a:gd name="adj" fmla="val 7337"/>
              </a:avLst>
            </a:pr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br>
                <a:rPr lang="de-DE" sz="1400">
                  <a:solidFill>
                    <a:schemeClr val="tx1"/>
                  </a:solidFill>
                </a:rPr>
              </a:br>
              <a:r>
                <a:rPr lang="de-DE" sz="800" b="1" u="sng">
                  <a:solidFill>
                    <a:srgbClr val="E0E0E0"/>
                  </a:solidFill>
                </a:rPr>
                <a:t>x</a:t>
              </a:r>
              <a:endParaRPr lang="de-DE" sz="1400">
                <a:solidFill>
                  <a:schemeClr val="tx1"/>
                </a:solidFill>
              </a:endParaRPr>
            </a:p>
            <a:p>
              <a:endParaRPr lang="de-DE" sz="1400">
                <a:solidFill>
                  <a:schemeClr val="tx1"/>
                </a:solidFill>
              </a:endParaRPr>
            </a:p>
          </p:txBody>
        </p:sp>
        <p:sp>
          <p:nvSpPr>
            <p:cNvPr id="157" name="Textfeld 156">
              <a:extLst>
                <a:ext uri="{FF2B5EF4-FFF2-40B4-BE49-F238E27FC236}">
                  <a16:creationId xmlns:a16="http://schemas.microsoft.com/office/drawing/2014/main" id="{AB7D0F5E-2796-43C9-8F08-D23362B62802}"/>
                </a:ext>
              </a:extLst>
            </p:cNvPr>
            <p:cNvSpPr txBox="1"/>
            <p:nvPr/>
          </p:nvSpPr>
          <p:spPr bwMode="auto">
            <a:xfrm>
              <a:off x="7939609" y="4816931"/>
              <a:ext cx="2263335" cy="787370"/>
            </a:xfrm>
            <a:prstGeom prst="rect">
              <a:avLst/>
            </a:prstGeom>
            <a:noFill/>
            <a:ln w="6350">
              <a:noFill/>
              <a:prstDash val="solid"/>
              <a:miter lim="800000"/>
              <a:headEnd/>
              <a:tailEnd/>
            </a:ln>
          </p:spPr>
          <p:txBody>
            <a:bodyPr wrap="square" lIns="72000" rIns="72000" rtlCol="0">
              <a:noAutofit/>
            </a:bodyPr>
            <a:lstStyle/>
            <a:p>
              <a:r>
                <a:rPr lang="en-US" sz="1200" b="1">
                  <a:solidFill>
                    <a:schemeClr val="bg1">
                      <a:lumMod val="65000"/>
                    </a:schemeClr>
                  </a:solidFill>
                  <a:latin typeface="+mj-lt"/>
                  <a:cs typeface="Helvetica" panose="020B0604020202020204" pitchFamily="34" charset="0"/>
                </a:rPr>
                <a:t>ZIEL 2</a:t>
              </a:r>
            </a:p>
            <a:p>
              <a:r>
                <a:rPr lang="en-US" sz="1400" b="1" err="1">
                  <a:solidFill>
                    <a:schemeClr val="tx1"/>
                  </a:solidFill>
                  <a:latin typeface="+mj-lt"/>
                  <a:cs typeface="Helvetica" panose="020B0604020202020204" pitchFamily="34" charset="0"/>
                </a:rPr>
                <a:t>Erstellung</a:t>
              </a:r>
              <a:r>
                <a:rPr lang="en-US" sz="1400" b="1">
                  <a:solidFill>
                    <a:schemeClr val="tx1"/>
                  </a:solidFill>
                  <a:latin typeface="+mj-lt"/>
                  <a:cs typeface="Helvetica" panose="020B0604020202020204" pitchFamily="34" charset="0"/>
                </a:rPr>
                <a:t> </a:t>
              </a:r>
              <a:r>
                <a:rPr lang="en-US" sz="1400" b="1" err="1">
                  <a:solidFill>
                    <a:schemeClr val="tx1"/>
                  </a:solidFill>
                  <a:latin typeface="+mj-lt"/>
                  <a:cs typeface="Helvetica" panose="020B0604020202020204" pitchFamily="34" charset="0"/>
                </a:rPr>
                <a:t>eines</a:t>
              </a:r>
              <a:r>
                <a:rPr lang="en-US" sz="1400" b="1">
                  <a:solidFill>
                    <a:schemeClr val="tx1"/>
                  </a:solidFill>
                  <a:latin typeface="+mj-lt"/>
                  <a:cs typeface="Helvetica" panose="020B0604020202020204" pitchFamily="34" charset="0"/>
                </a:rPr>
                <a:t> Mock-</a:t>
              </a:r>
              <a:r>
                <a:rPr lang="en-US" sz="1400" b="1">
                  <a:latin typeface="+mj-lt"/>
                  <a:cs typeface="Helvetica" panose="020B0604020202020204" pitchFamily="34" charset="0"/>
                </a:rPr>
                <a:t>Ups </a:t>
              </a:r>
              <a:r>
                <a:rPr lang="en-US" sz="1400" b="1" err="1">
                  <a:latin typeface="+mj-lt"/>
                  <a:cs typeface="Helvetica" panose="020B0604020202020204" pitchFamily="34" charset="0"/>
                </a:rPr>
                <a:t>eines</a:t>
              </a:r>
              <a:r>
                <a:rPr lang="en-US" sz="1400" b="1">
                  <a:latin typeface="+mj-lt"/>
                  <a:cs typeface="Helvetica" panose="020B0604020202020204" pitchFamily="34" charset="0"/>
                </a:rPr>
                <a:t> </a:t>
              </a:r>
              <a:r>
                <a:rPr lang="en-US" sz="1400" b="1">
                  <a:solidFill>
                    <a:schemeClr val="tx1"/>
                  </a:solidFill>
                  <a:latin typeface="+mj-lt"/>
                  <a:cs typeface="Helvetica" panose="020B0604020202020204" pitchFamily="34" charset="0"/>
                </a:rPr>
                <a:t>Dashboards</a:t>
              </a:r>
              <a:br>
                <a:rPr lang="en-US" sz="1400" b="1">
                  <a:solidFill>
                    <a:schemeClr val="tx1"/>
                  </a:solidFill>
                  <a:latin typeface="+mj-lt"/>
                  <a:cs typeface="Helvetica" panose="020B0604020202020204" pitchFamily="34" charset="0"/>
                </a:rPr>
              </a:br>
              <a:endParaRPr lang="en-US" sz="1400" b="1">
                <a:solidFill>
                  <a:schemeClr val="tx1"/>
                </a:solidFill>
                <a:latin typeface="+mj-lt"/>
              </a:endParaRPr>
            </a:p>
            <a:p>
              <a:pPr>
                <a:lnSpc>
                  <a:spcPct val="125000"/>
                </a:lnSpc>
                <a:spcAft>
                  <a:spcPts val="400"/>
                </a:spcAft>
                <a:buClr>
                  <a:schemeClr val="accent1"/>
                </a:buClr>
              </a:pPr>
              <a:endParaRPr lang="de-DE" sz="1400"/>
            </a:p>
          </p:txBody>
        </p:sp>
        <p:sp>
          <p:nvSpPr>
            <p:cNvPr id="257" name="Ellipse 256">
              <a:extLst>
                <a:ext uri="{FF2B5EF4-FFF2-40B4-BE49-F238E27FC236}">
                  <a16:creationId xmlns:a16="http://schemas.microsoft.com/office/drawing/2014/main" id="{59415F2A-99A9-4351-854A-B5E42F5211DC}"/>
                </a:ext>
              </a:extLst>
            </p:cNvPr>
            <p:cNvSpPr/>
            <p:nvPr/>
          </p:nvSpPr>
          <p:spPr>
            <a:xfrm>
              <a:off x="7143188" y="4842574"/>
              <a:ext cx="728523" cy="705225"/>
            </a:xfrm>
            <a:prstGeom prst="ellipse">
              <a:avLst/>
            </a:prstGeom>
            <a:solidFill>
              <a:srgbClr val="2B2D38"/>
            </a:solid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nvGrpSpPr>
            <p:cNvPr id="258" name="Gruppieren 257">
              <a:extLst>
                <a:ext uri="{FF2B5EF4-FFF2-40B4-BE49-F238E27FC236}">
                  <a16:creationId xmlns:a16="http://schemas.microsoft.com/office/drawing/2014/main" id="{7EF78689-4125-4B85-8E97-46BB0EE3A858}"/>
                </a:ext>
              </a:extLst>
            </p:cNvPr>
            <p:cNvGrpSpPr/>
            <p:nvPr/>
          </p:nvGrpSpPr>
          <p:grpSpPr>
            <a:xfrm>
              <a:off x="7248380" y="4910846"/>
              <a:ext cx="565716" cy="573401"/>
              <a:chOff x="5005741" y="4020009"/>
              <a:chExt cx="914400" cy="914400"/>
            </a:xfrm>
            <a:solidFill>
              <a:schemeClr val="accent3"/>
            </a:solidFill>
          </p:grpSpPr>
          <p:pic>
            <p:nvPicPr>
              <p:cNvPr id="175" name="Grafik 174" descr="Liniendiagramm mit einfarbiger Füllung">
                <a:extLst>
                  <a:ext uri="{FF2B5EF4-FFF2-40B4-BE49-F238E27FC236}">
                    <a16:creationId xmlns:a16="http://schemas.microsoft.com/office/drawing/2014/main" id="{E83061F0-7FF1-4F87-B999-AE8C61DBE74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05741" y="4020009"/>
                <a:ext cx="914400" cy="914400"/>
              </a:xfrm>
              <a:prstGeom prst="rect">
                <a:avLst/>
              </a:prstGeom>
            </p:spPr>
          </p:pic>
          <p:pic>
            <p:nvPicPr>
              <p:cNvPr id="177" name="Grafik 176" descr="Zahnräder mit einfarbiger Füllung">
                <a:extLst>
                  <a:ext uri="{FF2B5EF4-FFF2-40B4-BE49-F238E27FC236}">
                    <a16:creationId xmlns:a16="http://schemas.microsoft.com/office/drawing/2014/main" id="{7DECBE55-DAF7-4B0C-9DFB-7799A778FE8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6271056">
                <a:off x="5145071" y="4239380"/>
                <a:ext cx="534076" cy="534076"/>
              </a:xfrm>
              <a:prstGeom prst="rect">
                <a:avLst/>
              </a:prstGeom>
            </p:spPr>
          </p:pic>
        </p:grpSp>
        <p:sp>
          <p:nvSpPr>
            <p:cNvPr id="422" name="Textfeld 421">
              <a:extLst>
                <a:ext uri="{FF2B5EF4-FFF2-40B4-BE49-F238E27FC236}">
                  <a16:creationId xmlns:a16="http://schemas.microsoft.com/office/drawing/2014/main" id="{D8D1D3A0-F7FD-440E-96A3-8944EAFEF199}"/>
                </a:ext>
              </a:extLst>
            </p:cNvPr>
            <p:cNvSpPr txBox="1"/>
            <p:nvPr/>
          </p:nvSpPr>
          <p:spPr bwMode="auto">
            <a:xfrm>
              <a:off x="7555994" y="1293619"/>
              <a:ext cx="2871466" cy="1258578"/>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en-US" sz="1300" u="sng" err="1">
                  <a:latin typeface="+mj-lt"/>
                  <a:cs typeface="Helvetica" panose="020B0604020202020204" pitchFamily="34" charset="0"/>
                </a:rPr>
                <a:t>Anforderungen</a:t>
              </a:r>
              <a:endParaRPr lang="en-US" sz="1300" u="sng">
                <a:latin typeface="+mj-lt"/>
                <a:cs typeface="Helvetica" panose="020B0604020202020204" pitchFamily="34" charset="0"/>
              </a:endParaRPr>
            </a:p>
            <a:p>
              <a:pPr>
                <a:lnSpc>
                  <a:spcPct val="125000"/>
                </a:lnSpc>
                <a:spcAft>
                  <a:spcPts val="400"/>
                </a:spcAft>
                <a:buClr>
                  <a:schemeClr val="accent1"/>
                </a:buClr>
              </a:pPr>
              <a:r>
                <a:rPr lang="en-US" sz="1300">
                  <a:latin typeface="+mj-lt"/>
                  <a:cs typeface="Helvetica" panose="020B0604020202020204" pitchFamily="34" charset="0"/>
                </a:rPr>
                <a:t>Intuitive </a:t>
              </a:r>
              <a:r>
                <a:rPr lang="en-US" sz="1300" err="1">
                  <a:latin typeface="+mj-lt"/>
                  <a:cs typeface="Helvetica" panose="020B0604020202020204" pitchFamily="34" charset="0"/>
                </a:rPr>
                <a:t>Anwendung</a:t>
              </a:r>
              <a:r>
                <a:rPr lang="en-US" sz="1300">
                  <a:latin typeface="+mj-lt"/>
                  <a:cs typeface="Helvetica" panose="020B0604020202020204" pitchFamily="34" charset="0"/>
                </a:rPr>
                <a:t> </a:t>
              </a:r>
            </a:p>
            <a:p>
              <a:pPr>
                <a:lnSpc>
                  <a:spcPct val="125000"/>
                </a:lnSpc>
                <a:spcAft>
                  <a:spcPts val="400"/>
                </a:spcAft>
                <a:buClr>
                  <a:schemeClr val="accent1"/>
                </a:buClr>
              </a:pPr>
              <a:r>
                <a:rPr lang="en-US" sz="1300" err="1">
                  <a:latin typeface="+mj-lt"/>
                  <a:cs typeface="Helvetica" panose="020B0604020202020204" pitchFamily="34" charset="0"/>
                </a:rPr>
                <a:t>Übersichtliche</a:t>
              </a:r>
              <a:r>
                <a:rPr lang="en-US" sz="1300">
                  <a:latin typeface="+mj-lt"/>
                  <a:cs typeface="Helvetica" panose="020B0604020202020204" pitchFamily="34" charset="0"/>
                </a:rPr>
                <a:t> </a:t>
              </a:r>
              <a:r>
                <a:rPr lang="en-US" sz="1300" err="1">
                  <a:latin typeface="+mj-lt"/>
                  <a:cs typeface="Helvetica" panose="020B0604020202020204" pitchFamily="34" charset="0"/>
                </a:rPr>
                <a:t>Darstellung</a:t>
              </a:r>
              <a:r>
                <a:rPr lang="en-US" sz="1300">
                  <a:latin typeface="+mj-lt"/>
                  <a:cs typeface="Helvetica" panose="020B0604020202020204" pitchFamily="34" charset="0"/>
                </a:rPr>
                <a:t> der </a:t>
              </a:r>
              <a:r>
                <a:rPr lang="en-US" sz="1300" err="1">
                  <a:latin typeface="+mj-lt"/>
                  <a:cs typeface="Helvetica" panose="020B0604020202020204" pitchFamily="34" charset="0"/>
                </a:rPr>
                <a:t>Ergebnisse</a:t>
              </a:r>
              <a:r>
                <a:rPr lang="en-US" sz="1300">
                  <a:latin typeface="+mj-lt"/>
                  <a:cs typeface="Helvetica" panose="020B0604020202020204" pitchFamily="34" charset="0"/>
                </a:rPr>
                <a:t> der Prognosemodelle</a:t>
              </a:r>
            </a:p>
            <a:p>
              <a:pPr>
                <a:lnSpc>
                  <a:spcPct val="125000"/>
                </a:lnSpc>
                <a:spcAft>
                  <a:spcPts val="400"/>
                </a:spcAft>
                <a:buClr>
                  <a:schemeClr val="accent1"/>
                </a:buClr>
              </a:pPr>
              <a:r>
                <a:rPr lang="en-US" sz="1300" err="1">
                  <a:latin typeface="+mj-lt"/>
                  <a:cs typeface="Helvetica" panose="020B0604020202020204" pitchFamily="34" charset="0"/>
                </a:rPr>
                <a:t>Aufbereitung</a:t>
              </a:r>
              <a:r>
                <a:rPr lang="en-US" sz="1300">
                  <a:latin typeface="+mj-lt"/>
                  <a:cs typeface="Helvetica" panose="020B0604020202020204" pitchFamily="34" charset="0"/>
                </a:rPr>
                <a:t> </a:t>
              </a:r>
              <a:r>
                <a:rPr lang="en-US" sz="1300" err="1">
                  <a:latin typeface="+mj-lt"/>
                  <a:cs typeface="Helvetica" panose="020B0604020202020204" pitchFamily="34" charset="0"/>
                </a:rPr>
                <a:t>weiterer</a:t>
              </a:r>
              <a:r>
                <a:rPr lang="en-US" sz="1300">
                  <a:latin typeface="+mj-lt"/>
                  <a:cs typeface="Helvetica" panose="020B0604020202020204" pitchFamily="34" charset="0"/>
                </a:rPr>
                <a:t> </a:t>
              </a:r>
              <a:r>
                <a:rPr lang="en-US" sz="1300" err="1">
                  <a:latin typeface="+mj-lt"/>
                  <a:cs typeface="Helvetica" panose="020B0604020202020204" pitchFamily="34" charset="0"/>
                </a:rPr>
                <a:t>Daten</a:t>
              </a:r>
              <a:r>
                <a:rPr lang="en-US" sz="1300">
                  <a:latin typeface="+mj-lt"/>
                  <a:cs typeface="Helvetica" panose="020B0604020202020204" pitchFamily="34" charset="0"/>
                </a:rPr>
                <a:t> &amp; </a:t>
              </a:r>
              <a:r>
                <a:rPr lang="en-US" sz="1300" err="1">
                  <a:latin typeface="+mj-lt"/>
                  <a:cs typeface="Helvetica" panose="020B0604020202020204" pitchFamily="34" charset="0"/>
                </a:rPr>
                <a:t>Informationen</a:t>
              </a:r>
              <a:r>
                <a:rPr lang="en-US" sz="1300">
                  <a:latin typeface="+mj-lt"/>
                  <a:cs typeface="Helvetica" panose="020B0604020202020204" pitchFamily="34" charset="0"/>
                </a:rPr>
                <a:t> </a:t>
              </a:r>
              <a:r>
                <a:rPr lang="en-US" sz="1300" err="1">
                  <a:latin typeface="+mj-lt"/>
                  <a:cs typeface="Helvetica" panose="020B0604020202020204" pitchFamily="34" charset="0"/>
                </a:rPr>
                <a:t>für</a:t>
              </a:r>
              <a:r>
                <a:rPr lang="en-US" sz="1300">
                  <a:latin typeface="+mj-lt"/>
                  <a:cs typeface="Helvetica" panose="020B0604020202020204" pitchFamily="34" charset="0"/>
                </a:rPr>
                <a:t> </a:t>
              </a:r>
              <a:r>
                <a:rPr lang="en-US" sz="1300" err="1">
                  <a:latin typeface="+mj-lt"/>
                  <a:cs typeface="Helvetica" panose="020B0604020202020204" pitchFamily="34" charset="0"/>
                </a:rPr>
                <a:t>Hafenbetreiber</a:t>
              </a:r>
              <a:endParaRPr lang="en-US" sz="1300">
                <a:latin typeface="+mj-lt"/>
                <a:cs typeface="Helvetica" panose="020B0604020202020204" pitchFamily="34" charset="0"/>
              </a:endParaRPr>
            </a:p>
            <a:p>
              <a:pPr>
                <a:lnSpc>
                  <a:spcPct val="125000"/>
                </a:lnSpc>
                <a:spcAft>
                  <a:spcPts val="400"/>
                </a:spcAft>
                <a:buClr>
                  <a:schemeClr val="accent1"/>
                </a:buClr>
              </a:pPr>
              <a:r>
                <a:rPr lang="en-US" sz="1300" err="1">
                  <a:solidFill>
                    <a:schemeClr val="tx1"/>
                  </a:solidFill>
                  <a:latin typeface="+mj-lt"/>
                  <a:cs typeface="Helvetica" panose="020B0604020202020204" pitchFamily="34" charset="0"/>
                </a:rPr>
                <a:t>Einbindung</a:t>
              </a:r>
              <a:r>
                <a:rPr lang="en-US" sz="1300">
                  <a:solidFill>
                    <a:schemeClr val="tx1"/>
                  </a:solidFill>
                  <a:latin typeface="+mj-lt"/>
                  <a:cs typeface="Helvetica" panose="020B0604020202020204" pitchFamily="34" charset="0"/>
                </a:rPr>
                <a:t> von Alerts &amp; </a:t>
              </a:r>
              <a:r>
                <a:rPr lang="en-US" sz="1300" err="1">
                  <a:solidFill>
                    <a:schemeClr val="tx1"/>
                  </a:solidFill>
                  <a:latin typeface="+mj-lt"/>
                  <a:cs typeface="Helvetica" panose="020B0604020202020204" pitchFamily="34" charset="0"/>
                </a:rPr>
                <a:t>Handlungsempfehlungen</a:t>
              </a:r>
              <a:endParaRPr lang="en-US" sz="1300">
                <a:solidFill>
                  <a:schemeClr val="tx1"/>
                </a:solidFill>
                <a:latin typeface="+mj-lt"/>
                <a:cs typeface="Helvetica" panose="020B0604020202020204" pitchFamily="34" charset="0"/>
              </a:endParaRPr>
            </a:p>
            <a:p>
              <a:pPr>
                <a:lnSpc>
                  <a:spcPct val="125000"/>
                </a:lnSpc>
                <a:spcAft>
                  <a:spcPts val="400"/>
                </a:spcAft>
                <a:buClr>
                  <a:schemeClr val="accent1"/>
                </a:buClr>
              </a:pPr>
              <a:endParaRPr lang="de-DE" sz="1300"/>
            </a:p>
          </p:txBody>
        </p:sp>
        <p:sp>
          <p:nvSpPr>
            <p:cNvPr id="423" name="Ellipse 422">
              <a:extLst>
                <a:ext uri="{FF2B5EF4-FFF2-40B4-BE49-F238E27FC236}">
                  <a16:creationId xmlns:a16="http://schemas.microsoft.com/office/drawing/2014/main" id="{7D01BA23-8181-4C85-8E02-9F087089F30D}"/>
                </a:ext>
              </a:extLst>
            </p:cNvPr>
            <p:cNvSpPr/>
            <p:nvPr/>
          </p:nvSpPr>
          <p:spPr>
            <a:xfrm>
              <a:off x="7296033" y="1702041"/>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4" name="Ellipse 423">
              <a:extLst>
                <a:ext uri="{FF2B5EF4-FFF2-40B4-BE49-F238E27FC236}">
                  <a16:creationId xmlns:a16="http://schemas.microsoft.com/office/drawing/2014/main" id="{7EA9C3DD-7015-4DD4-85B5-08F3BE54C431}"/>
                </a:ext>
              </a:extLst>
            </p:cNvPr>
            <p:cNvSpPr/>
            <p:nvPr/>
          </p:nvSpPr>
          <p:spPr>
            <a:xfrm>
              <a:off x="7296033" y="1995504"/>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5" name="Ellipse 424">
              <a:extLst>
                <a:ext uri="{FF2B5EF4-FFF2-40B4-BE49-F238E27FC236}">
                  <a16:creationId xmlns:a16="http://schemas.microsoft.com/office/drawing/2014/main" id="{4B46C7FB-C457-4283-AAAA-55989C9AECA2}"/>
                </a:ext>
              </a:extLst>
            </p:cNvPr>
            <p:cNvSpPr/>
            <p:nvPr/>
          </p:nvSpPr>
          <p:spPr>
            <a:xfrm>
              <a:off x="7296033" y="2548772"/>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26" name="Ellipse 425">
              <a:extLst>
                <a:ext uri="{FF2B5EF4-FFF2-40B4-BE49-F238E27FC236}">
                  <a16:creationId xmlns:a16="http://schemas.microsoft.com/office/drawing/2014/main" id="{8F999E43-F19E-4C41-98C1-A4EA345C703B}"/>
                </a:ext>
              </a:extLst>
            </p:cNvPr>
            <p:cNvSpPr/>
            <p:nvPr/>
          </p:nvSpPr>
          <p:spPr>
            <a:xfrm>
              <a:off x="7296033" y="3115611"/>
              <a:ext cx="144997" cy="144000"/>
            </a:xfrm>
            <a:prstGeom prst="ellipse">
              <a:avLst/>
            </a:prstGeom>
            <a:noFill/>
            <a:ln cap="rnd">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cxnSp>
          <p:nvCxnSpPr>
            <p:cNvPr id="428" name="Gerader Verbinder 427">
              <a:extLst>
                <a:ext uri="{FF2B5EF4-FFF2-40B4-BE49-F238E27FC236}">
                  <a16:creationId xmlns:a16="http://schemas.microsoft.com/office/drawing/2014/main" id="{2468F2A5-7B3E-465C-9746-F702B163A913}"/>
                </a:ext>
              </a:extLst>
            </p:cNvPr>
            <p:cNvCxnSpPr>
              <a:cxnSpLocks/>
              <a:stCxn id="257" idx="0"/>
            </p:cNvCxnSpPr>
            <p:nvPr/>
          </p:nvCxnSpPr>
          <p:spPr>
            <a:xfrm flipV="1">
              <a:off x="7507450" y="1408045"/>
              <a:ext cx="0" cy="3434529"/>
            </a:xfrm>
            <a:prstGeom prst="line">
              <a:avLst/>
            </a:prstGeom>
            <a:ln w="6350">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pic>
          <p:nvPicPr>
            <p:cNvPr id="438" name="Grafik 437">
              <a:extLst>
                <a:ext uri="{FF2B5EF4-FFF2-40B4-BE49-F238E27FC236}">
                  <a16:creationId xmlns:a16="http://schemas.microsoft.com/office/drawing/2014/main" id="{FD5FB8F8-E680-4851-B745-4179684E3073}"/>
                </a:ext>
              </a:extLst>
            </p:cNvPr>
            <p:cNvPicPr>
              <a:picLocks noChangeAspect="1"/>
            </p:cNvPicPr>
            <p:nvPr/>
          </p:nvPicPr>
          <p:blipFill>
            <a:blip r:embed="rId3">
              <a:duotone>
                <a:schemeClr val="accent4">
                  <a:shade val="45000"/>
                  <a:satMod val="135000"/>
                </a:schemeClr>
                <a:prstClr val="white"/>
              </a:duotone>
            </a:blip>
            <a:stretch>
              <a:fillRect/>
            </a:stretch>
          </p:blipFill>
          <p:spPr>
            <a:xfrm>
              <a:off x="8044426" y="3744785"/>
              <a:ext cx="2605519" cy="1361252"/>
            </a:xfrm>
            <a:prstGeom prst="rect">
              <a:avLst/>
            </a:prstGeom>
          </p:spPr>
        </p:pic>
        <p:sp>
          <p:nvSpPr>
            <p:cNvPr id="441" name="Rechteck 440">
              <a:extLst>
                <a:ext uri="{FF2B5EF4-FFF2-40B4-BE49-F238E27FC236}">
                  <a16:creationId xmlns:a16="http://schemas.microsoft.com/office/drawing/2014/main" id="{C787DFBE-0A84-4E7F-A19E-E41ED0EAFFCF}"/>
                </a:ext>
              </a:extLst>
            </p:cNvPr>
            <p:cNvSpPr/>
            <p:nvPr/>
          </p:nvSpPr>
          <p:spPr>
            <a:xfrm rot="5400000">
              <a:off x="10006977" y="4160902"/>
              <a:ext cx="1530229" cy="360040"/>
            </a:xfrm>
            <a:prstGeom prst="rect">
              <a:avLst/>
            </a:prstGeom>
            <a:solidFill>
              <a:srgbClr val="FFFFFF"/>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446" name="Pfeil: nach rechts 445">
              <a:extLst>
                <a:ext uri="{FF2B5EF4-FFF2-40B4-BE49-F238E27FC236}">
                  <a16:creationId xmlns:a16="http://schemas.microsoft.com/office/drawing/2014/main" id="{28B3A670-0C43-4FE9-9DFC-725284B45969}"/>
                </a:ext>
              </a:extLst>
            </p:cNvPr>
            <p:cNvSpPr/>
            <p:nvPr/>
          </p:nvSpPr>
          <p:spPr>
            <a:xfrm>
              <a:off x="4916140" y="4832826"/>
              <a:ext cx="2068829" cy="764054"/>
            </a:xfrm>
            <a:prstGeom prst="rightArrow">
              <a:avLst>
                <a:gd name="adj1" fmla="val 50000"/>
                <a:gd name="adj2" fmla="val 55954"/>
              </a:avLst>
            </a:prstGeom>
            <a:solidFill>
              <a:srgbClr val="E0E0E0"/>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grpSp>
      <p:sp>
        <p:nvSpPr>
          <p:cNvPr id="105" name="Rechteck: abgerundete Ecken 104">
            <a:extLst>
              <a:ext uri="{FF2B5EF4-FFF2-40B4-BE49-F238E27FC236}">
                <a16:creationId xmlns:a16="http://schemas.microsoft.com/office/drawing/2014/main" id="{AC8D5219-781A-4CE5-B8A4-41DD5AA1FD47}"/>
              </a:ext>
            </a:extLst>
          </p:cNvPr>
          <p:cNvSpPr/>
          <p:nvPr/>
        </p:nvSpPr>
        <p:spPr>
          <a:xfrm>
            <a:off x="1484716" y="5012959"/>
            <a:ext cx="3522576" cy="360040"/>
          </a:xfrm>
          <a:prstGeom prst="roundRect">
            <a:avLst/>
          </a:prstGeom>
          <a:solidFill>
            <a:schemeClr val="accent3"/>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
        <p:nvSpPr>
          <p:cNvPr id="109" name="Textfeld 108">
            <a:extLst>
              <a:ext uri="{FF2B5EF4-FFF2-40B4-BE49-F238E27FC236}">
                <a16:creationId xmlns:a16="http://schemas.microsoft.com/office/drawing/2014/main" id="{D6EBC81B-729A-4297-99EE-AEA3DD667BB8}"/>
              </a:ext>
            </a:extLst>
          </p:cNvPr>
          <p:cNvSpPr txBox="1"/>
          <p:nvPr/>
        </p:nvSpPr>
        <p:spPr bwMode="auto">
          <a:xfrm>
            <a:off x="1650591" y="4989298"/>
            <a:ext cx="3075217" cy="360040"/>
          </a:xfrm>
          <a:prstGeom prst="rect">
            <a:avLst/>
          </a:prstGeom>
          <a:noFill/>
          <a:ln w="6350">
            <a:noFill/>
            <a:prstDash val="solid"/>
            <a:miter lim="800000"/>
            <a:headEnd/>
            <a:tailEnd/>
          </a:ln>
        </p:spPr>
        <p:txBody>
          <a:bodyPr wrap="square" lIns="72000" rIns="72000" rtlCol="0" anchor="ctr">
            <a:noAutofit/>
          </a:bodyPr>
          <a:lstStyle/>
          <a:p>
            <a:pPr algn="ctr">
              <a:lnSpc>
                <a:spcPct val="125000"/>
              </a:lnSpc>
              <a:spcAft>
                <a:spcPts val="400"/>
              </a:spcAft>
              <a:buClr>
                <a:schemeClr val="accent1"/>
              </a:buClr>
            </a:pPr>
            <a:r>
              <a:rPr lang="en-US" sz="1300" b="0" err="1">
                <a:solidFill>
                  <a:srgbClr val="F2F2F2"/>
                </a:solidFill>
                <a:latin typeface="+mj-lt"/>
                <a:cs typeface="Helvetica" panose="020B0604020202020204" pitchFamily="34" charset="0"/>
              </a:rPr>
              <a:t>Ergebniskommunikation</a:t>
            </a:r>
            <a:r>
              <a:rPr lang="en-US" sz="1300" b="0">
                <a:solidFill>
                  <a:srgbClr val="F2F2F2"/>
                </a:solidFill>
                <a:latin typeface="+mj-lt"/>
                <a:cs typeface="Helvetica" panose="020B0604020202020204" pitchFamily="34" charset="0"/>
              </a:rPr>
              <a:t> &amp; </a:t>
            </a:r>
            <a:r>
              <a:rPr lang="en-US" sz="1300" b="0" err="1">
                <a:solidFill>
                  <a:srgbClr val="F2F2F2"/>
                </a:solidFill>
                <a:latin typeface="+mj-lt"/>
                <a:cs typeface="Helvetica" panose="020B0604020202020204" pitchFamily="34" charset="0"/>
              </a:rPr>
              <a:t>Bereitstellung</a:t>
            </a:r>
            <a:endParaRPr lang="en-US" sz="1300">
              <a:solidFill>
                <a:srgbClr val="F2F2F2"/>
              </a:solidFill>
              <a:latin typeface="+mj-lt"/>
              <a:cs typeface="Helvetica" panose="020B0604020202020204" pitchFamily="34" charset="0"/>
            </a:endParaRPr>
          </a:p>
        </p:txBody>
      </p:sp>
    </p:spTree>
    <p:extLst>
      <p:ext uri="{BB962C8B-B14F-4D97-AF65-F5344CB8AC3E}">
        <p14:creationId xmlns:p14="http://schemas.microsoft.com/office/powerpoint/2010/main" val="3882295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8"/>
                                        </p:tgtEl>
                                        <p:attrNameLst>
                                          <p:attrName>style.visibility</p:attrName>
                                        </p:attrNameLst>
                                      </p:cBhvr>
                                      <p:to>
                                        <p:strVal val="visible"/>
                                      </p:to>
                                    </p:set>
                                    <p:animEffect transition="in" filter="wipe(left)">
                                      <p:cBhvr>
                                        <p:cTn id="7" dur="1500"/>
                                        <p:tgtEl>
                                          <p:spTgt spid="4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38">
            <a:extLst>
              <a:ext uri="{FF2B5EF4-FFF2-40B4-BE49-F238E27FC236}">
                <a16:creationId xmlns:a16="http://schemas.microsoft.com/office/drawing/2014/main" id="{454588FE-B1FC-45F4-8BE3-F4A0BC5B3A51}"/>
              </a:ext>
            </a:extLst>
          </p:cNvPr>
          <p:cNvSpPr/>
          <p:nvPr/>
        </p:nvSpPr>
        <p:spPr>
          <a:xfrm>
            <a:off x="1764754" y="3806146"/>
            <a:ext cx="9678275" cy="358018"/>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lumMod val="20000"/>
              <a:lumOff val="8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endParaRPr lang="en-US" sz="2400">
              <a:solidFill>
                <a:schemeClr val="bg1"/>
              </a:solidFill>
            </a:endParaRPr>
          </a:p>
        </p:txBody>
      </p:sp>
      <p:sp>
        <p:nvSpPr>
          <p:cNvPr id="19" name="Freihandform 38">
            <a:extLst>
              <a:ext uri="{FF2B5EF4-FFF2-40B4-BE49-F238E27FC236}">
                <a16:creationId xmlns:a16="http://schemas.microsoft.com/office/drawing/2014/main" id="{9C87ED88-3318-421A-B810-7753579F3485}"/>
              </a:ext>
            </a:extLst>
          </p:cNvPr>
          <p:cNvSpPr/>
          <p:nvPr/>
        </p:nvSpPr>
        <p:spPr>
          <a:xfrm>
            <a:off x="1764754" y="4209346"/>
            <a:ext cx="9678275" cy="358018"/>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lumMod val="20000"/>
              <a:lumOff val="8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endParaRPr lang="en-US" sz="2400">
              <a:solidFill>
                <a:schemeClr val="bg1"/>
              </a:solidFill>
            </a:endParaRPr>
          </a:p>
        </p:txBody>
      </p:sp>
      <p:sp>
        <p:nvSpPr>
          <p:cNvPr id="20" name="Freihandform 38">
            <a:extLst>
              <a:ext uri="{FF2B5EF4-FFF2-40B4-BE49-F238E27FC236}">
                <a16:creationId xmlns:a16="http://schemas.microsoft.com/office/drawing/2014/main" id="{0B1A84A5-BEB2-4FB6-826E-F3808549F4FF}"/>
              </a:ext>
            </a:extLst>
          </p:cNvPr>
          <p:cNvSpPr/>
          <p:nvPr/>
        </p:nvSpPr>
        <p:spPr>
          <a:xfrm>
            <a:off x="1764754" y="4612546"/>
            <a:ext cx="9678275" cy="358018"/>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lumMod val="20000"/>
              <a:lumOff val="8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endParaRPr lang="en-US" sz="2400">
              <a:solidFill>
                <a:schemeClr val="bg1"/>
              </a:solidFill>
            </a:endParaRPr>
          </a:p>
        </p:txBody>
      </p:sp>
      <p:sp>
        <p:nvSpPr>
          <p:cNvPr id="21" name="Freihandform 38">
            <a:extLst>
              <a:ext uri="{FF2B5EF4-FFF2-40B4-BE49-F238E27FC236}">
                <a16:creationId xmlns:a16="http://schemas.microsoft.com/office/drawing/2014/main" id="{208D2232-62D7-447B-950D-85F18B5E1CD6}"/>
              </a:ext>
            </a:extLst>
          </p:cNvPr>
          <p:cNvSpPr/>
          <p:nvPr/>
        </p:nvSpPr>
        <p:spPr>
          <a:xfrm>
            <a:off x="1764754" y="5015746"/>
            <a:ext cx="9678275" cy="358018"/>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lumMod val="20000"/>
              <a:lumOff val="8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endParaRPr lang="en-US" sz="2400">
              <a:solidFill>
                <a:schemeClr val="bg1"/>
              </a:solidFill>
            </a:endParaRPr>
          </a:p>
        </p:txBody>
      </p:sp>
      <p:sp>
        <p:nvSpPr>
          <p:cNvPr id="22" name="Freihandform 38">
            <a:extLst>
              <a:ext uri="{FF2B5EF4-FFF2-40B4-BE49-F238E27FC236}">
                <a16:creationId xmlns:a16="http://schemas.microsoft.com/office/drawing/2014/main" id="{4AC4C913-B8B2-45B2-9BA9-CD5707195429}"/>
              </a:ext>
            </a:extLst>
          </p:cNvPr>
          <p:cNvSpPr/>
          <p:nvPr/>
        </p:nvSpPr>
        <p:spPr>
          <a:xfrm>
            <a:off x="1764754" y="5418945"/>
            <a:ext cx="9678275" cy="358018"/>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chemeClr val="accent3">
              <a:lumMod val="20000"/>
              <a:lumOff val="8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endParaRPr lang="en-US" sz="2400">
              <a:solidFill>
                <a:schemeClr val="bg1"/>
              </a:solidFill>
            </a:endParaRPr>
          </a:p>
        </p:txBody>
      </p:sp>
      <p:sp>
        <p:nvSpPr>
          <p:cNvPr id="2" name="Titel 1">
            <a:extLst>
              <a:ext uri="{FF2B5EF4-FFF2-40B4-BE49-F238E27FC236}">
                <a16:creationId xmlns:a16="http://schemas.microsoft.com/office/drawing/2014/main" id="{7F9F3ADC-30F1-4B13-812C-A77EF816AB3D}"/>
              </a:ext>
            </a:extLst>
          </p:cNvPr>
          <p:cNvSpPr>
            <a:spLocks noGrp="1"/>
          </p:cNvSpPr>
          <p:nvPr>
            <p:ph type="title"/>
          </p:nvPr>
        </p:nvSpPr>
        <p:spPr/>
        <p:txBody>
          <a:bodyPr/>
          <a:lstStyle/>
          <a:p>
            <a:r>
              <a:rPr lang="de-DE"/>
              <a:t>Agenda</a:t>
            </a:r>
          </a:p>
        </p:txBody>
      </p:sp>
      <p:grpSp>
        <p:nvGrpSpPr>
          <p:cNvPr id="7" name="Gruppieren 6">
            <a:extLst>
              <a:ext uri="{FF2B5EF4-FFF2-40B4-BE49-F238E27FC236}">
                <a16:creationId xmlns:a16="http://schemas.microsoft.com/office/drawing/2014/main" id="{49E39CA1-6732-4B87-8407-0E76949A0A44}"/>
              </a:ext>
            </a:extLst>
          </p:cNvPr>
          <p:cNvGrpSpPr/>
          <p:nvPr/>
        </p:nvGrpSpPr>
        <p:grpSpPr>
          <a:xfrm>
            <a:off x="705494" y="1633157"/>
            <a:ext cx="10738602" cy="963043"/>
            <a:chOff x="695325" y="1376363"/>
            <a:chExt cx="4907462" cy="360000"/>
          </a:xfrm>
        </p:grpSpPr>
        <p:sp>
          <p:nvSpPr>
            <p:cNvPr id="8" name="Freihandform 40">
              <a:extLst>
                <a:ext uri="{FF2B5EF4-FFF2-40B4-BE49-F238E27FC236}">
                  <a16:creationId xmlns:a16="http://schemas.microsoft.com/office/drawing/2014/main" id="{FE9BD1F8-CB05-449C-945F-29A295717892}"/>
                </a:ext>
              </a:extLst>
            </p:cNvPr>
            <p:cNvSpPr/>
            <p:nvPr/>
          </p:nvSpPr>
          <p:spPr>
            <a:xfrm>
              <a:off x="1179887" y="1376363"/>
              <a:ext cx="4422900" cy="360000"/>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E0E0E0"/>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de-DE" sz="2400">
                  <a:solidFill>
                    <a:schemeClr val="bg1"/>
                  </a:solidFill>
                </a:rPr>
                <a:t>Zielsetzung</a:t>
              </a:r>
            </a:p>
          </p:txBody>
        </p:sp>
        <p:sp>
          <p:nvSpPr>
            <p:cNvPr id="9" name="Abgerundetes Rechteck 11">
              <a:extLst>
                <a:ext uri="{FF2B5EF4-FFF2-40B4-BE49-F238E27FC236}">
                  <a16:creationId xmlns:a16="http://schemas.microsoft.com/office/drawing/2014/main" id="{577836FD-EC08-4590-87B4-2116C9E24635}"/>
                </a:ext>
              </a:extLst>
            </p:cNvPr>
            <p:cNvSpPr/>
            <p:nvPr/>
          </p:nvSpPr>
          <p:spPr>
            <a:xfrm>
              <a:off x="695325" y="1376363"/>
              <a:ext cx="432000" cy="360000"/>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A5A5A5"/>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bIns="36000" rtlCol="0" anchor="ctr" anchorCtr="0">
              <a:noAutofit/>
            </a:bodyPr>
            <a:lstStyle/>
            <a:p>
              <a:pPr algn="ctr"/>
              <a:r>
                <a:rPr lang="de-DE" sz="2400">
                  <a:solidFill>
                    <a:schemeClr val="bg1"/>
                  </a:solidFill>
                </a:rPr>
                <a:t>1.</a:t>
              </a:r>
            </a:p>
          </p:txBody>
        </p:sp>
      </p:grpSp>
      <p:sp>
        <p:nvSpPr>
          <p:cNvPr id="10" name="Freihandform 38">
            <a:extLst>
              <a:ext uri="{FF2B5EF4-FFF2-40B4-BE49-F238E27FC236}">
                <a16:creationId xmlns:a16="http://schemas.microsoft.com/office/drawing/2014/main" id="{7D7306D9-054E-49D2-B00C-2C7EA4A525D7}"/>
              </a:ext>
            </a:extLst>
          </p:cNvPr>
          <p:cNvSpPr/>
          <p:nvPr/>
        </p:nvSpPr>
        <p:spPr>
          <a:xfrm>
            <a:off x="1764754" y="2748318"/>
            <a:ext cx="9678275" cy="963043"/>
          </a:xfrm>
          <a:custGeom>
            <a:avLst/>
            <a:gdLst>
              <a:gd name="connsiteX0" fmla="*/ 60001 w 4464496"/>
              <a:gd name="connsiteY0" fmla="*/ 0 h 360000"/>
              <a:gd name="connsiteX1" fmla="*/ 60002 w 4464496"/>
              <a:gd name="connsiteY1" fmla="*/ 0 h 360000"/>
              <a:gd name="connsiteX2" fmla="*/ 300040 w 4464496"/>
              <a:gd name="connsiteY2" fmla="*/ 0 h 360000"/>
              <a:gd name="connsiteX3" fmla="*/ 4404495 w 4464496"/>
              <a:gd name="connsiteY3" fmla="*/ 0 h 360000"/>
              <a:gd name="connsiteX4" fmla="*/ 4464496 w 4464496"/>
              <a:gd name="connsiteY4" fmla="*/ 60001 h 360000"/>
              <a:gd name="connsiteX5" fmla="*/ 4464496 w 4464496"/>
              <a:gd name="connsiteY5" fmla="*/ 299999 h 360000"/>
              <a:gd name="connsiteX6" fmla="*/ 4404495 w 4464496"/>
              <a:gd name="connsiteY6" fmla="*/ 360000 h 360000"/>
              <a:gd name="connsiteX7" fmla="*/ 300040 w 4464496"/>
              <a:gd name="connsiteY7" fmla="*/ 360000 h 360000"/>
              <a:gd name="connsiteX8" fmla="*/ 60002 w 4464496"/>
              <a:gd name="connsiteY8" fmla="*/ 360000 h 360000"/>
              <a:gd name="connsiteX9" fmla="*/ 60001 w 4464496"/>
              <a:gd name="connsiteY9" fmla="*/ 360000 h 360000"/>
              <a:gd name="connsiteX10" fmla="*/ 60001 w 4464496"/>
              <a:gd name="connsiteY10" fmla="*/ 360000 h 360000"/>
              <a:gd name="connsiteX11" fmla="*/ 0 w 4464496"/>
              <a:gd name="connsiteY11" fmla="*/ 359841 h 360000"/>
              <a:gd name="connsiteX12" fmla="*/ 0 w 4464496"/>
              <a:gd name="connsiteY12" fmla="*/ 324895 h 360000"/>
              <a:gd name="connsiteX13" fmla="*/ 0 w 4464496"/>
              <a:gd name="connsiteY13" fmla="*/ 299999 h 360000"/>
              <a:gd name="connsiteX14" fmla="*/ 0 w 4464496"/>
              <a:gd name="connsiteY14" fmla="*/ 299999 h 360000"/>
              <a:gd name="connsiteX15" fmla="*/ 0 w 4464496"/>
              <a:gd name="connsiteY15" fmla="*/ 60001 h 360000"/>
              <a:gd name="connsiteX16" fmla="*/ 1 w 4464496"/>
              <a:gd name="connsiteY16" fmla="*/ 59999 h 360000"/>
              <a:gd name="connsiteX17" fmla="*/ 1 w 4464496"/>
              <a:gd name="connsiteY17" fmla="*/ 36674 h 360000"/>
              <a:gd name="connsiteX18" fmla="*/ 1 w 4464496"/>
              <a:gd name="connsiteY18" fmla="*/ 157 h 360000"/>
              <a:gd name="connsiteX19" fmla="*/ 57220 w 4464496"/>
              <a:gd name="connsiteY19" fmla="*/ 562 h 360000"/>
              <a:gd name="connsiteX20" fmla="*/ 58625 w 4464496"/>
              <a:gd name="connsiteY20" fmla="*/ 278 h 360000"/>
              <a:gd name="connsiteX21" fmla="*/ 56171 w 4464496"/>
              <a:gd name="connsiteY21" fmla="*/ 245 h 360000"/>
              <a:gd name="connsiteX22" fmla="*/ 60001 w 4464496"/>
              <a:gd name="connsiteY22"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64496" h="360000">
                <a:moveTo>
                  <a:pt x="60001" y="0"/>
                </a:moveTo>
                <a:lnTo>
                  <a:pt x="60002" y="0"/>
                </a:lnTo>
                <a:lnTo>
                  <a:pt x="300040" y="0"/>
                </a:lnTo>
                <a:lnTo>
                  <a:pt x="4404495" y="0"/>
                </a:lnTo>
                <a:cubicBezTo>
                  <a:pt x="4437633" y="0"/>
                  <a:pt x="4464496" y="26863"/>
                  <a:pt x="4464496" y="60001"/>
                </a:cubicBezTo>
                <a:lnTo>
                  <a:pt x="4464496" y="299999"/>
                </a:lnTo>
                <a:cubicBezTo>
                  <a:pt x="4464496" y="333137"/>
                  <a:pt x="4437633" y="360000"/>
                  <a:pt x="4404495" y="360000"/>
                </a:cubicBezTo>
                <a:lnTo>
                  <a:pt x="300040" y="360000"/>
                </a:lnTo>
                <a:lnTo>
                  <a:pt x="60002" y="360000"/>
                </a:lnTo>
                <a:lnTo>
                  <a:pt x="60001" y="360000"/>
                </a:lnTo>
                <a:lnTo>
                  <a:pt x="60001" y="360000"/>
                </a:lnTo>
                <a:lnTo>
                  <a:pt x="0" y="359841"/>
                </a:lnTo>
                <a:cubicBezTo>
                  <a:pt x="0" y="349841"/>
                  <a:pt x="0" y="338046"/>
                  <a:pt x="0" y="324895"/>
                </a:cubicBezTo>
                <a:lnTo>
                  <a:pt x="0" y="299999"/>
                </a:lnTo>
                <a:lnTo>
                  <a:pt x="0" y="299999"/>
                </a:lnTo>
                <a:lnTo>
                  <a:pt x="0" y="60001"/>
                </a:lnTo>
                <a:lnTo>
                  <a:pt x="1" y="59999"/>
                </a:lnTo>
                <a:lnTo>
                  <a:pt x="1" y="36674"/>
                </a:lnTo>
                <a:cubicBezTo>
                  <a:pt x="1" y="23074"/>
                  <a:pt x="1" y="10755"/>
                  <a:pt x="1" y="157"/>
                </a:cubicBezTo>
                <a:lnTo>
                  <a:pt x="57220" y="562"/>
                </a:lnTo>
                <a:lnTo>
                  <a:pt x="58625" y="278"/>
                </a:lnTo>
                <a:lnTo>
                  <a:pt x="56171" y="245"/>
                </a:lnTo>
                <a:lnTo>
                  <a:pt x="60001" y="0"/>
                </a:lnTo>
                <a:close/>
              </a:path>
            </a:pathLst>
          </a:custGeom>
          <a:solidFill>
            <a:srgbClr val="3E8A83"/>
          </a:solidFill>
          <a:ln cap="rnd">
            <a:noFill/>
          </a:ln>
          <a:effectLst/>
        </p:spPr>
        <p:style>
          <a:lnRef idx="1">
            <a:schemeClr val="accent1"/>
          </a:lnRef>
          <a:fillRef idx="3">
            <a:schemeClr val="accent1"/>
          </a:fillRef>
          <a:effectRef idx="2">
            <a:schemeClr val="accent1"/>
          </a:effectRef>
          <a:fontRef idx="minor">
            <a:schemeClr val="lt1"/>
          </a:fontRef>
        </p:style>
        <p:txBody>
          <a:bodyPr wrap="square" lIns="108000" tIns="36000" rIns="91440" bIns="36000" rtlCol="0" anchor="ctr" anchorCtr="0">
            <a:noAutofit/>
          </a:bodyPr>
          <a:lstStyle/>
          <a:p>
            <a:r>
              <a:rPr lang="en-US" sz="2400" err="1">
                <a:solidFill>
                  <a:schemeClr val="bg1"/>
                </a:solidFill>
              </a:rPr>
              <a:t>Vorstellung</a:t>
            </a:r>
            <a:r>
              <a:rPr lang="en-US" sz="2400">
                <a:solidFill>
                  <a:schemeClr val="bg1"/>
                </a:solidFill>
              </a:rPr>
              <a:t> der </a:t>
            </a:r>
            <a:r>
              <a:rPr lang="en-US" sz="2400" err="1">
                <a:solidFill>
                  <a:schemeClr val="bg1"/>
                </a:solidFill>
              </a:rPr>
              <a:t>Projektergebnisse</a:t>
            </a:r>
            <a:endParaRPr lang="en-US" sz="2400">
              <a:solidFill>
                <a:schemeClr val="bg1"/>
              </a:solidFill>
            </a:endParaRPr>
          </a:p>
        </p:txBody>
      </p:sp>
      <p:sp>
        <p:nvSpPr>
          <p:cNvPr id="11" name="Abgerundetes Rechteck 11">
            <a:extLst>
              <a:ext uri="{FF2B5EF4-FFF2-40B4-BE49-F238E27FC236}">
                <a16:creationId xmlns:a16="http://schemas.microsoft.com/office/drawing/2014/main" id="{63713944-2916-451F-AD4E-9CA399694C6B}"/>
              </a:ext>
            </a:extLst>
          </p:cNvPr>
          <p:cNvSpPr/>
          <p:nvPr/>
        </p:nvSpPr>
        <p:spPr>
          <a:xfrm>
            <a:off x="704426" y="2748318"/>
            <a:ext cx="945311" cy="963043"/>
          </a:xfrm>
          <a:custGeom>
            <a:avLst/>
            <a:gdLst>
              <a:gd name="connsiteX0" fmla="*/ 0 w 360040"/>
              <a:gd name="connsiteY0" fmla="*/ 60001 h 360000"/>
              <a:gd name="connsiteX1" fmla="*/ 60001 w 360040"/>
              <a:gd name="connsiteY1" fmla="*/ 0 h 360000"/>
              <a:gd name="connsiteX2" fmla="*/ 300039 w 360040"/>
              <a:gd name="connsiteY2" fmla="*/ 0 h 360000"/>
              <a:gd name="connsiteX3" fmla="*/ 360040 w 360040"/>
              <a:gd name="connsiteY3" fmla="*/ 60001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74611 h 374610"/>
              <a:gd name="connsiteX1" fmla="*/ 60001 w 360040"/>
              <a:gd name="connsiteY1" fmla="*/ 14610 h 374610"/>
              <a:gd name="connsiteX2" fmla="*/ 300039 w 360040"/>
              <a:gd name="connsiteY2" fmla="*/ 14610 h 374610"/>
              <a:gd name="connsiteX3" fmla="*/ 357647 w 360040"/>
              <a:gd name="connsiteY3" fmla="*/ 14769 h 374610"/>
              <a:gd name="connsiteX4" fmla="*/ 360040 w 360040"/>
              <a:gd name="connsiteY4" fmla="*/ 314609 h 374610"/>
              <a:gd name="connsiteX5" fmla="*/ 300039 w 360040"/>
              <a:gd name="connsiteY5" fmla="*/ 374610 h 374610"/>
              <a:gd name="connsiteX6" fmla="*/ 60001 w 360040"/>
              <a:gd name="connsiteY6" fmla="*/ 374610 h 374610"/>
              <a:gd name="connsiteX7" fmla="*/ 0 w 360040"/>
              <a:gd name="connsiteY7" fmla="*/ 314609 h 374610"/>
              <a:gd name="connsiteX8" fmla="*/ 0 w 360040"/>
              <a:gd name="connsiteY8" fmla="*/ 74611 h 374610"/>
              <a:gd name="connsiteX0" fmla="*/ 0 w 360041"/>
              <a:gd name="connsiteY0" fmla="*/ 72019 h 372018"/>
              <a:gd name="connsiteX1" fmla="*/ 60001 w 360041"/>
              <a:gd name="connsiteY1" fmla="*/ 12018 h 372018"/>
              <a:gd name="connsiteX2" fmla="*/ 300039 w 360041"/>
              <a:gd name="connsiteY2" fmla="*/ 12018 h 372018"/>
              <a:gd name="connsiteX3" fmla="*/ 360041 w 360041"/>
              <a:gd name="connsiteY3" fmla="*/ 15767 h 372018"/>
              <a:gd name="connsiteX4" fmla="*/ 360040 w 360041"/>
              <a:gd name="connsiteY4" fmla="*/ 312017 h 372018"/>
              <a:gd name="connsiteX5" fmla="*/ 300039 w 360041"/>
              <a:gd name="connsiteY5" fmla="*/ 372018 h 372018"/>
              <a:gd name="connsiteX6" fmla="*/ 60001 w 360041"/>
              <a:gd name="connsiteY6" fmla="*/ 372018 h 372018"/>
              <a:gd name="connsiteX7" fmla="*/ 0 w 360041"/>
              <a:gd name="connsiteY7" fmla="*/ 312017 h 372018"/>
              <a:gd name="connsiteX8" fmla="*/ 0 w 360041"/>
              <a:gd name="connsiteY8" fmla="*/ 72019 h 372018"/>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374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6143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0"/>
              <a:gd name="connsiteY0" fmla="*/ 60105 h 360104"/>
              <a:gd name="connsiteX1" fmla="*/ 60001 w 360040"/>
              <a:gd name="connsiteY1" fmla="*/ 104 h 360104"/>
              <a:gd name="connsiteX2" fmla="*/ 300039 w 360040"/>
              <a:gd name="connsiteY2" fmla="*/ 104 h 360104"/>
              <a:gd name="connsiteX3" fmla="*/ 357647 w 360040"/>
              <a:gd name="connsiteY3" fmla="*/ 1460 h 360104"/>
              <a:gd name="connsiteX4" fmla="*/ 360040 w 360040"/>
              <a:gd name="connsiteY4" fmla="*/ 300103 h 360104"/>
              <a:gd name="connsiteX5" fmla="*/ 300039 w 360040"/>
              <a:gd name="connsiteY5" fmla="*/ 360104 h 360104"/>
              <a:gd name="connsiteX6" fmla="*/ 60001 w 360040"/>
              <a:gd name="connsiteY6" fmla="*/ 360104 h 360104"/>
              <a:gd name="connsiteX7" fmla="*/ 0 w 360040"/>
              <a:gd name="connsiteY7" fmla="*/ 300103 h 360104"/>
              <a:gd name="connsiteX8" fmla="*/ 0 w 360040"/>
              <a:gd name="connsiteY8" fmla="*/ 60105 h 360104"/>
              <a:gd name="connsiteX0" fmla="*/ 0 w 360040"/>
              <a:gd name="connsiteY0" fmla="*/ 60001 h 360000"/>
              <a:gd name="connsiteX1" fmla="*/ 60001 w 360040"/>
              <a:gd name="connsiteY1" fmla="*/ 0 h 360000"/>
              <a:gd name="connsiteX2" fmla="*/ 300039 w 360040"/>
              <a:gd name="connsiteY2" fmla="*/ 0 h 360000"/>
              <a:gd name="connsiteX3" fmla="*/ 357647 w 360040"/>
              <a:gd name="connsiteY3" fmla="*/ 4946 h 360000"/>
              <a:gd name="connsiteX4" fmla="*/ 360040 w 360040"/>
              <a:gd name="connsiteY4" fmla="*/ 299999 h 360000"/>
              <a:gd name="connsiteX5" fmla="*/ 300039 w 360040"/>
              <a:gd name="connsiteY5" fmla="*/ 360000 h 360000"/>
              <a:gd name="connsiteX6" fmla="*/ 60001 w 360040"/>
              <a:gd name="connsiteY6" fmla="*/ 360000 h 360000"/>
              <a:gd name="connsiteX7" fmla="*/ 0 w 360040"/>
              <a:gd name="connsiteY7" fmla="*/ 299999 h 360000"/>
              <a:gd name="connsiteX8" fmla="*/ 0 w 360040"/>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2552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299999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70366"/>
              <a:gd name="connsiteX1" fmla="*/ 60001 w 360041"/>
              <a:gd name="connsiteY1" fmla="*/ 0 h 370366"/>
              <a:gd name="connsiteX2" fmla="*/ 300039 w 360041"/>
              <a:gd name="connsiteY2" fmla="*/ 0 h 370366"/>
              <a:gd name="connsiteX3" fmla="*/ 360041 w 360041"/>
              <a:gd name="connsiteY3" fmla="*/ 159 h 370366"/>
              <a:gd name="connsiteX4" fmla="*/ 360040 w 360041"/>
              <a:gd name="connsiteY4" fmla="*/ 353858 h 370366"/>
              <a:gd name="connsiteX5" fmla="*/ 300039 w 360041"/>
              <a:gd name="connsiteY5" fmla="*/ 360000 h 370366"/>
              <a:gd name="connsiteX6" fmla="*/ 60001 w 360041"/>
              <a:gd name="connsiteY6" fmla="*/ 360000 h 370366"/>
              <a:gd name="connsiteX7" fmla="*/ 0 w 360041"/>
              <a:gd name="connsiteY7" fmla="*/ 299999 h 370366"/>
              <a:gd name="connsiteX8" fmla="*/ 0 w 360041"/>
              <a:gd name="connsiteY8" fmla="*/ 60001 h 3703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385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1038"/>
              <a:gd name="connsiteX1" fmla="*/ 60001 w 361237"/>
              <a:gd name="connsiteY1" fmla="*/ 0 h 361038"/>
              <a:gd name="connsiteX2" fmla="*/ 300039 w 361237"/>
              <a:gd name="connsiteY2" fmla="*/ 0 h 361038"/>
              <a:gd name="connsiteX3" fmla="*/ 360041 w 361237"/>
              <a:gd name="connsiteY3" fmla="*/ 159 h 361038"/>
              <a:gd name="connsiteX4" fmla="*/ 361237 w 361237"/>
              <a:gd name="connsiteY4" fmla="*/ 361038 h 361038"/>
              <a:gd name="connsiteX5" fmla="*/ 300039 w 361237"/>
              <a:gd name="connsiteY5" fmla="*/ 360000 h 361038"/>
              <a:gd name="connsiteX6" fmla="*/ 60001 w 361237"/>
              <a:gd name="connsiteY6" fmla="*/ 360000 h 361038"/>
              <a:gd name="connsiteX7" fmla="*/ 0 w 361237"/>
              <a:gd name="connsiteY7" fmla="*/ 299999 h 361038"/>
              <a:gd name="connsiteX8" fmla="*/ 0 w 361237"/>
              <a:gd name="connsiteY8" fmla="*/ 60001 h 36103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4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8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248"/>
              <a:gd name="connsiteX1" fmla="*/ 60001 w 361237"/>
              <a:gd name="connsiteY1" fmla="*/ 0 h 361248"/>
              <a:gd name="connsiteX2" fmla="*/ 300039 w 361237"/>
              <a:gd name="connsiteY2" fmla="*/ 0 h 361248"/>
              <a:gd name="connsiteX3" fmla="*/ 360041 w 361237"/>
              <a:gd name="connsiteY3" fmla="*/ 159 h 361248"/>
              <a:gd name="connsiteX4" fmla="*/ 361237 w 361237"/>
              <a:gd name="connsiteY4" fmla="*/ 361039 h 361248"/>
              <a:gd name="connsiteX5" fmla="*/ 300039 w 361237"/>
              <a:gd name="connsiteY5" fmla="*/ 360000 h 361248"/>
              <a:gd name="connsiteX6" fmla="*/ 60001 w 361237"/>
              <a:gd name="connsiteY6" fmla="*/ 360000 h 361248"/>
              <a:gd name="connsiteX7" fmla="*/ 0 w 361237"/>
              <a:gd name="connsiteY7" fmla="*/ 299999 h 361248"/>
              <a:gd name="connsiteX8" fmla="*/ 0 w 361237"/>
              <a:gd name="connsiteY8" fmla="*/ 60001 h 361248"/>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1039"/>
              <a:gd name="connsiteX1" fmla="*/ 60001 w 361237"/>
              <a:gd name="connsiteY1" fmla="*/ 0 h 361039"/>
              <a:gd name="connsiteX2" fmla="*/ 300039 w 361237"/>
              <a:gd name="connsiteY2" fmla="*/ 0 h 361039"/>
              <a:gd name="connsiteX3" fmla="*/ 360041 w 361237"/>
              <a:gd name="connsiteY3" fmla="*/ 159 h 361039"/>
              <a:gd name="connsiteX4" fmla="*/ 361237 w 361237"/>
              <a:gd name="connsiteY4" fmla="*/ 361039 h 361039"/>
              <a:gd name="connsiteX5" fmla="*/ 300039 w 361237"/>
              <a:gd name="connsiteY5" fmla="*/ 360000 h 361039"/>
              <a:gd name="connsiteX6" fmla="*/ 60001 w 361237"/>
              <a:gd name="connsiteY6" fmla="*/ 360000 h 361039"/>
              <a:gd name="connsiteX7" fmla="*/ 0 w 361237"/>
              <a:gd name="connsiteY7" fmla="*/ 299999 h 361039"/>
              <a:gd name="connsiteX8" fmla="*/ 0 w 361237"/>
              <a:gd name="connsiteY8" fmla="*/ 60001 h 361039"/>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8645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58843 w 360041"/>
              <a:gd name="connsiteY4" fmla="*/ 356251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1237"/>
              <a:gd name="connsiteY0" fmla="*/ 60001 h 360000"/>
              <a:gd name="connsiteX1" fmla="*/ 60001 w 361237"/>
              <a:gd name="connsiteY1" fmla="*/ 0 h 360000"/>
              <a:gd name="connsiteX2" fmla="*/ 300039 w 361237"/>
              <a:gd name="connsiteY2" fmla="*/ 0 h 360000"/>
              <a:gd name="connsiteX3" fmla="*/ 360041 w 361237"/>
              <a:gd name="connsiteY3" fmla="*/ 159 h 360000"/>
              <a:gd name="connsiteX4" fmla="*/ 361237 w 361237"/>
              <a:gd name="connsiteY4" fmla="*/ 356251 h 360000"/>
              <a:gd name="connsiteX5" fmla="*/ 300039 w 361237"/>
              <a:gd name="connsiteY5" fmla="*/ 360000 h 360000"/>
              <a:gd name="connsiteX6" fmla="*/ 60001 w 361237"/>
              <a:gd name="connsiteY6" fmla="*/ 360000 h 360000"/>
              <a:gd name="connsiteX7" fmla="*/ 0 w 361237"/>
              <a:gd name="connsiteY7" fmla="*/ 299999 h 360000"/>
              <a:gd name="connsiteX8" fmla="*/ 0 w 361237"/>
              <a:gd name="connsiteY8" fmla="*/ 60001 h 360000"/>
              <a:gd name="connsiteX0" fmla="*/ 0 w 411505"/>
              <a:gd name="connsiteY0" fmla="*/ 60001 h 360000"/>
              <a:gd name="connsiteX1" fmla="*/ 60001 w 411505"/>
              <a:gd name="connsiteY1" fmla="*/ 0 h 360000"/>
              <a:gd name="connsiteX2" fmla="*/ 300039 w 411505"/>
              <a:gd name="connsiteY2" fmla="*/ 0 h 360000"/>
              <a:gd name="connsiteX3" fmla="*/ 360041 w 411505"/>
              <a:gd name="connsiteY3" fmla="*/ 159 h 360000"/>
              <a:gd name="connsiteX4" fmla="*/ 411505 w 411505"/>
              <a:gd name="connsiteY4" fmla="*/ 353858 h 360000"/>
              <a:gd name="connsiteX5" fmla="*/ 300039 w 411505"/>
              <a:gd name="connsiteY5" fmla="*/ 360000 h 360000"/>
              <a:gd name="connsiteX6" fmla="*/ 60001 w 411505"/>
              <a:gd name="connsiteY6" fmla="*/ 360000 h 360000"/>
              <a:gd name="connsiteX7" fmla="*/ 0 w 411505"/>
              <a:gd name="connsiteY7" fmla="*/ 299999 h 360000"/>
              <a:gd name="connsiteX8" fmla="*/ 0 w 411505"/>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8"/>
              <a:gd name="connsiteX1" fmla="*/ 60001 w 360041"/>
              <a:gd name="connsiteY1" fmla="*/ 0 h 361038"/>
              <a:gd name="connsiteX2" fmla="*/ 300039 w 360041"/>
              <a:gd name="connsiteY2" fmla="*/ 0 h 361038"/>
              <a:gd name="connsiteX3" fmla="*/ 360041 w 360041"/>
              <a:gd name="connsiteY3" fmla="*/ 159 h 361038"/>
              <a:gd name="connsiteX4" fmla="*/ 360040 w 360041"/>
              <a:gd name="connsiteY4" fmla="*/ 361038 h 361038"/>
              <a:gd name="connsiteX5" fmla="*/ 300039 w 360041"/>
              <a:gd name="connsiteY5" fmla="*/ 360000 h 361038"/>
              <a:gd name="connsiteX6" fmla="*/ 60001 w 360041"/>
              <a:gd name="connsiteY6" fmla="*/ 360000 h 361038"/>
              <a:gd name="connsiteX7" fmla="*/ 0 w 360041"/>
              <a:gd name="connsiteY7" fmla="*/ 299999 h 361038"/>
              <a:gd name="connsiteX8" fmla="*/ 0 w 360041"/>
              <a:gd name="connsiteY8" fmla="*/ 60001 h 361038"/>
              <a:gd name="connsiteX0" fmla="*/ 0 w 360041"/>
              <a:gd name="connsiteY0" fmla="*/ 60001 h 388566"/>
              <a:gd name="connsiteX1" fmla="*/ 60001 w 360041"/>
              <a:gd name="connsiteY1" fmla="*/ 0 h 388566"/>
              <a:gd name="connsiteX2" fmla="*/ 300039 w 360041"/>
              <a:gd name="connsiteY2" fmla="*/ 0 h 388566"/>
              <a:gd name="connsiteX3" fmla="*/ 360041 w 360041"/>
              <a:gd name="connsiteY3" fmla="*/ 159 h 388566"/>
              <a:gd name="connsiteX4" fmla="*/ 360040 w 360041"/>
              <a:gd name="connsiteY4" fmla="*/ 388566 h 388566"/>
              <a:gd name="connsiteX5" fmla="*/ 300039 w 360041"/>
              <a:gd name="connsiteY5" fmla="*/ 360000 h 388566"/>
              <a:gd name="connsiteX6" fmla="*/ 60001 w 360041"/>
              <a:gd name="connsiteY6" fmla="*/ 360000 h 388566"/>
              <a:gd name="connsiteX7" fmla="*/ 0 w 360041"/>
              <a:gd name="connsiteY7" fmla="*/ 299999 h 388566"/>
              <a:gd name="connsiteX8" fmla="*/ 0 w 360041"/>
              <a:gd name="connsiteY8" fmla="*/ 60001 h 388566"/>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48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8645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1039"/>
              <a:gd name="connsiteX1" fmla="*/ 60001 w 360041"/>
              <a:gd name="connsiteY1" fmla="*/ 0 h 361039"/>
              <a:gd name="connsiteX2" fmla="*/ 300039 w 360041"/>
              <a:gd name="connsiteY2" fmla="*/ 0 h 361039"/>
              <a:gd name="connsiteX3" fmla="*/ 360041 w 360041"/>
              <a:gd name="connsiteY3" fmla="*/ 159 h 361039"/>
              <a:gd name="connsiteX4" fmla="*/ 360040 w 360041"/>
              <a:gd name="connsiteY4" fmla="*/ 361039 h 361039"/>
              <a:gd name="connsiteX5" fmla="*/ 300039 w 360041"/>
              <a:gd name="connsiteY5" fmla="*/ 360000 h 361039"/>
              <a:gd name="connsiteX6" fmla="*/ 60001 w 360041"/>
              <a:gd name="connsiteY6" fmla="*/ 360000 h 361039"/>
              <a:gd name="connsiteX7" fmla="*/ 0 w 360041"/>
              <a:gd name="connsiteY7" fmla="*/ 299999 h 361039"/>
              <a:gd name="connsiteX8" fmla="*/ 0 w 360041"/>
              <a:gd name="connsiteY8" fmla="*/ 60001 h 361039"/>
              <a:gd name="connsiteX0" fmla="*/ 0 w 360041"/>
              <a:gd name="connsiteY0" fmla="*/ 60001 h 410111"/>
              <a:gd name="connsiteX1" fmla="*/ 60001 w 360041"/>
              <a:gd name="connsiteY1" fmla="*/ 0 h 410111"/>
              <a:gd name="connsiteX2" fmla="*/ 300039 w 360041"/>
              <a:gd name="connsiteY2" fmla="*/ 0 h 410111"/>
              <a:gd name="connsiteX3" fmla="*/ 360041 w 360041"/>
              <a:gd name="connsiteY3" fmla="*/ 159 h 410111"/>
              <a:gd name="connsiteX4" fmla="*/ 360040 w 360041"/>
              <a:gd name="connsiteY4" fmla="*/ 410111 h 410111"/>
              <a:gd name="connsiteX5" fmla="*/ 300039 w 360041"/>
              <a:gd name="connsiteY5" fmla="*/ 360000 h 410111"/>
              <a:gd name="connsiteX6" fmla="*/ 60001 w 360041"/>
              <a:gd name="connsiteY6" fmla="*/ 360000 h 410111"/>
              <a:gd name="connsiteX7" fmla="*/ 0 w 360041"/>
              <a:gd name="connsiteY7" fmla="*/ 299999 h 410111"/>
              <a:gd name="connsiteX8" fmla="*/ 0 w 360041"/>
              <a:gd name="connsiteY8" fmla="*/ 60001 h 410111"/>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7450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 name="connsiteX0" fmla="*/ 0 w 360041"/>
              <a:gd name="connsiteY0" fmla="*/ 60001 h 360000"/>
              <a:gd name="connsiteX1" fmla="*/ 60001 w 360041"/>
              <a:gd name="connsiteY1" fmla="*/ 0 h 360000"/>
              <a:gd name="connsiteX2" fmla="*/ 300039 w 360041"/>
              <a:gd name="connsiteY2" fmla="*/ 0 h 360000"/>
              <a:gd name="connsiteX3" fmla="*/ 360041 w 360041"/>
              <a:gd name="connsiteY3" fmla="*/ 159 h 360000"/>
              <a:gd name="connsiteX4" fmla="*/ 360040 w 360041"/>
              <a:gd name="connsiteY4" fmla="*/ 359843 h 360000"/>
              <a:gd name="connsiteX5" fmla="*/ 300039 w 360041"/>
              <a:gd name="connsiteY5" fmla="*/ 360000 h 360000"/>
              <a:gd name="connsiteX6" fmla="*/ 60001 w 360041"/>
              <a:gd name="connsiteY6" fmla="*/ 360000 h 360000"/>
              <a:gd name="connsiteX7" fmla="*/ 0 w 360041"/>
              <a:gd name="connsiteY7" fmla="*/ 299999 h 360000"/>
              <a:gd name="connsiteX8" fmla="*/ 0 w 360041"/>
              <a:gd name="connsiteY8" fmla="*/ 60001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1" h="360000">
                <a:moveTo>
                  <a:pt x="0" y="60001"/>
                </a:moveTo>
                <a:cubicBezTo>
                  <a:pt x="0" y="26863"/>
                  <a:pt x="26863" y="0"/>
                  <a:pt x="60001" y="0"/>
                </a:cubicBezTo>
                <a:lnTo>
                  <a:pt x="300039" y="0"/>
                </a:lnTo>
                <a:lnTo>
                  <a:pt x="360041" y="159"/>
                </a:lnTo>
                <a:cubicBezTo>
                  <a:pt x="360041" y="80158"/>
                  <a:pt x="360040" y="275056"/>
                  <a:pt x="360040" y="359843"/>
                </a:cubicBezTo>
                <a:cubicBezTo>
                  <a:pt x="149394" y="358273"/>
                  <a:pt x="357114" y="360001"/>
                  <a:pt x="300039" y="360000"/>
                </a:cubicBezTo>
                <a:lnTo>
                  <a:pt x="60001" y="360000"/>
                </a:lnTo>
                <a:cubicBezTo>
                  <a:pt x="26863" y="360000"/>
                  <a:pt x="0" y="333137"/>
                  <a:pt x="0" y="299999"/>
                </a:cubicBezTo>
                <a:lnTo>
                  <a:pt x="0" y="60001"/>
                </a:lnTo>
                <a:close/>
              </a:path>
            </a:pathLst>
          </a:custGeom>
          <a:solidFill>
            <a:srgbClr val="1F4542"/>
          </a:solidFill>
          <a:ln cap="rnd">
            <a:noFill/>
          </a:ln>
          <a:effectLst/>
        </p:spPr>
        <p:style>
          <a:lnRef idx="1">
            <a:schemeClr val="accent1"/>
          </a:lnRef>
          <a:fillRef idx="3">
            <a:schemeClr val="accent1"/>
          </a:fillRef>
          <a:effectRef idx="2">
            <a:schemeClr val="accent1"/>
          </a:effectRef>
          <a:fontRef idx="minor">
            <a:schemeClr val="lt1"/>
          </a:fontRef>
        </p:style>
        <p:txBody>
          <a:bodyPr wrap="square" lIns="36000" tIns="0" rIns="0" bIns="0" rtlCol="0" anchor="ctr" anchorCtr="0"/>
          <a:lstStyle/>
          <a:p>
            <a:pPr algn="ctr"/>
            <a:r>
              <a:rPr lang="de-DE" sz="2400">
                <a:solidFill>
                  <a:schemeClr val="bg1"/>
                </a:solidFill>
              </a:rPr>
              <a:t>2.</a:t>
            </a:r>
          </a:p>
        </p:txBody>
      </p:sp>
      <p:sp>
        <p:nvSpPr>
          <p:cNvPr id="18" name="Fußzeilenplatzhalter 4">
            <a:extLst>
              <a:ext uri="{FF2B5EF4-FFF2-40B4-BE49-F238E27FC236}">
                <a16:creationId xmlns:a16="http://schemas.microsoft.com/office/drawing/2014/main" id="{DA8CAD28-5AB9-4353-ACCF-C6C5F61828BA}"/>
              </a:ext>
            </a:extLst>
          </p:cNvPr>
          <p:cNvSpPr>
            <a:spLocks noGrp="1"/>
          </p:cNvSpPr>
          <p:nvPr>
            <p:ph type="ftr" sz="quarter" idx="11"/>
          </p:nvPr>
        </p:nvSpPr>
        <p:spPr>
          <a:xfrm>
            <a:off x="3648000" y="6439737"/>
            <a:ext cx="4896000" cy="255600"/>
          </a:xfrm>
          <a:prstGeom prst="rect">
            <a:avLst/>
          </a:prstGeom>
        </p:spPr>
        <p:txBody>
          <a:bodyPr tIns="46800" bIns="46800" anchor="b" anchorCtr="0"/>
          <a:lstStyle>
            <a:lvl1pPr algn="ctr">
              <a:defRPr lang="de-DE" sz="1000" baseline="0" dirty="0">
                <a:solidFill>
                  <a:schemeClr val="tx1"/>
                </a:solidFill>
                <a:latin typeface="Helvetica Light" pitchFamily="2" charset="0"/>
              </a:defRPr>
            </a:lvl1pPr>
          </a:lstStyle>
          <a:p>
            <a:pPr>
              <a:spcBef>
                <a:spcPct val="20000"/>
              </a:spcBef>
            </a:pPr>
            <a:r>
              <a:rPr lang="de-DE"/>
              <a:t>SCA Case Study – 28.07.2021</a:t>
            </a:r>
          </a:p>
        </p:txBody>
      </p:sp>
      <p:sp>
        <p:nvSpPr>
          <p:cNvPr id="16" name="Textfeld 15">
            <a:extLst>
              <a:ext uri="{FF2B5EF4-FFF2-40B4-BE49-F238E27FC236}">
                <a16:creationId xmlns:a16="http://schemas.microsoft.com/office/drawing/2014/main" id="{0BE7118D-5179-4119-B84B-9C9042EF7353}"/>
              </a:ext>
            </a:extLst>
          </p:cNvPr>
          <p:cNvSpPr txBox="1"/>
          <p:nvPr/>
        </p:nvSpPr>
        <p:spPr bwMode="auto">
          <a:xfrm>
            <a:off x="1764754" y="3776758"/>
            <a:ext cx="5612439" cy="2180788"/>
          </a:xfrm>
          <a:prstGeom prst="rect">
            <a:avLst/>
          </a:prstGeom>
          <a:noFill/>
          <a:ln w="6350">
            <a:noFill/>
            <a:prstDash val="solid"/>
            <a:miter lim="800000"/>
            <a:headEnd/>
            <a:tailEnd/>
          </a:ln>
        </p:spPr>
        <p:txBody>
          <a:bodyPr wrap="square" lIns="72000" rIns="72000" rtlCol="0">
            <a:noAutofit/>
          </a:bodyPr>
          <a:lstStyle/>
          <a:p>
            <a:pPr>
              <a:lnSpc>
                <a:spcPct val="125000"/>
              </a:lnSpc>
              <a:spcAft>
                <a:spcPts val="400"/>
              </a:spcAft>
              <a:buClr>
                <a:schemeClr val="accent1"/>
              </a:buClr>
            </a:pPr>
            <a:r>
              <a:rPr lang="en-US" err="1">
                <a:latin typeface="+mj-lt"/>
                <a:cs typeface="Helvetica" panose="020B0604020202020204" pitchFamily="34" charset="0"/>
              </a:rPr>
              <a:t>Datenbeschaffung</a:t>
            </a:r>
            <a:r>
              <a:rPr lang="en-US">
                <a:latin typeface="+mj-lt"/>
                <a:cs typeface="Helvetica" panose="020B0604020202020204" pitchFamily="34" charset="0"/>
              </a:rPr>
              <a:t>, -exploration &amp; -</a:t>
            </a:r>
            <a:r>
              <a:rPr lang="en-US" err="1">
                <a:latin typeface="+mj-lt"/>
                <a:cs typeface="Helvetica" panose="020B0604020202020204" pitchFamily="34" charset="0"/>
              </a:rPr>
              <a:t>aufbereitung</a:t>
            </a:r>
            <a:endParaRPr lang="en-US">
              <a:latin typeface="+mj-lt"/>
              <a:cs typeface="Helvetica" panose="020B0604020202020204" pitchFamily="34" charset="0"/>
            </a:endParaRPr>
          </a:p>
          <a:p>
            <a:pPr>
              <a:lnSpc>
                <a:spcPct val="125000"/>
              </a:lnSpc>
              <a:spcAft>
                <a:spcPts val="400"/>
              </a:spcAft>
              <a:buClr>
                <a:schemeClr val="accent1"/>
              </a:buClr>
            </a:pPr>
            <a:r>
              <a:rPr lang="en-US" b="0">
                <a:solidFill>
                  <a:schemeClr val="tx1"/>
                </a:solidFill>
                <a:latin typeface="+mj-lt"/>
                <a:cs typeface="Helvetica" panose="020B0604020202020204" pitchFamily="34" charset="0"/>
              </a:rPr>
              <a:t>Feature Engineering</a:t>
            </a:r>
          </a:p>
          <a:p>
            <a:pPr>
              <a:lnSpc>
                <a:spcPct val="125000"/>
              </a:lnSpc>
              <a:spcAft>
                <a:spcPts val="400"/>
              </a:spcAft>
              <a:buClr>
                <a:schemeClr val="accent1"/>
              </a:buClr>
            </a:pPr>
            <a:r>
              <a:rPr lang="en-US" b="0" err="1">
                <a:solidFill>
                  <a:schemeClr val="tx1"/>
                </a:solidFill>
                <a:latin typeface="+mj-lt"/>
                <a:cs typeface="Helvetica" panose="020B0604020202020204" pitchFamily="34" charset="0"/>
              </a:rPr>
              <a:t>Modellierung</a:t>
            </a:r>
            <a:r>
              <a:rPr lang="en-US" b="0">
                <a:solidFill>
                  <a:schemeClr val="tx1"/>
                </a:solidFill>
                <a:latin typeface="+mj-lt"/>
                <a:cs typeface="Helvetica" panose="020B0604020202020204" pitchFamily="34" charset="0"/>
              </a:rPr>
              <a:t> der </a:t>
            </a:r>
            <a:r>
              <a:rPr lang="en-US" b="0" err="1">
                <a:solidFill>
                  <a:schemeClr val="tx1"/>
                </a:solidFill>
                <a:latin typeface="+mj-lt"/>
                <a:cs typeface="Helvetica" panose="020B0604020202020204" pitchFamily="34" charset="0"/>
              </a:rPr>
              <a:t>Prognosen</a:t>
            </a:r>
            <a:endParaRPr lang="en-US" b="0">
              <a:solidFill>
                <a:schemeClr val="tx1"/>
              </a:solidFill>
              <a:latin typeface="+mj-lt"/>
              <a:cs typeface="Helvetica" panose="020B0604020202020204" pitchFamily="34" charset="0"/>
            </a:endParaRPr>
          </a:p>
          <a:p>
            <a:pPr>
              <a:lnSpc>
                <a:spcPct val="125000"/>
              </a:lnSpc>
              <a:spcAft>
                <a:spcPts val="400"/>
              </a:spcAft>
              <a:buClr>
                <a:schemeClr val="accent1"/>
              </a:buClr>
            </a:pPr>
            <a:r>
              <a:rPr lang="en-US" err="1">
                <a:latin typeface="+mj-lt"/>
                <a:cs typeface="Helvetica" panose="020B0604020202020204" pitchFamily="34" charset="0"/>
              </a:rPr>
              <a:t>Ergebnisbewertung</a:t>
            </a:r>
            <a:endParaRPr lang="en-US">
              <a:latin typeface="+mj-lt"/>
              <a:cs typeface="Helvetica" panose="020B0604020202020204" pitchFamily="34" charset="0"/>
            </a:endParaRPr>
          </a:p>
          <a:p>
            <a:pPr>
              <a:lnSpc>
                <a:spcPct val="125000"/>
              </a:lnSpc>
              <a:spcAft>
                <a:spcPts val="400"/>
              </a:spcAft>
              <a:buClr>
                <a:schemeClr val="accent1"/>
              </a:buClr>
            </a:pPr>
            <a:r>
              <a:rPr lang="de-DE"/>
              <a:t>Dashboard</a:t>
            </a:r>
            <a:endParaRPr lang="de-DE" sz="2000"/>
          </a:p>
        </p:txBody>
      </p:sp>
    </p:spTree>
    <p:extLst>
      <p:ext uri="{BB962C8B-B14F-4D97-AF65-F5344CB8AC3E}">
        <p14:creationId xmlns:p14="http://schemas.microsoft.com/office/powerpoint/2010/main" val="2294414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feld 66">
            <a:extLst>
              <a:ext uri="{FF2B5EF4-FFF2-40B4-BE49-F238E27FC236}">
                <a16:creationId xmlns:a16="http://schemas.microsoft.com/office/drawing/2014/main" id="{8FE3060A-B2E4-4169-9A68-A55D5F74D74D}"/>
              </a:ext>
            </a:extLst>
          </p:cNvPr>
          <p:cNvSpPr txBox="1"/>
          <p:nvPr/>
        </p:nvSpPr>
        <p:spPr bwMode="auto">
          <a:xfrm>
            <a:off x="1351122" y="1612209"/>
            <a:ext cx="9717911" cy="2087379"/>
          </a:xfrm>
          <a:prstGeom prst="round2SameRect">
            <a:avLst>
              <a:gd name="adj1" fmla="val 5658"/>
              <a:gd name="adj2" fmla="val 5658"/>
            </a:avLst>
          </a:prstGeom>
          <a:solidFill>
            <a:schemeClr val="bg1"/>
          </a:solidFill>
          <a:ln w="6350">
            <a:solidFill>
              <a:schemeClr val="accent4"/>
            </a:solidFill>
            <a:prstDash val="solid"/>
            <a:miter lim="800000"/>
            <a:headEnd/>
            <a:tailEnd/>
          </a:ln>
        </p:spPr>
        <p:txBody>
          <a:bodyPr wrap="square" lIns="50800" tIns="36286" rIns="50800" bIns="36286" rtlCol="0" anchor="ctr">
            <a:noAutofit/>
          </a:bodyPr>
          <a:lstStyle>
            <a:defPPr>
              <a:defRPr lang="de-DE"/>
            </a:defPPr>
            <a:lvl1pPr marL="144000" indent="-144000">
              <a:lnSpc>
                <a:spcPct val="125000"/>
              </a:lnSpc>
              <a:spcAft>
                <a:spcPts val="1800"/>
              </a:spcAft>
              <a:buClr>
                <a:srgbClr val="002276"/>
              </a:buClr>
              <a:buSzPct val="80000"/>
              <a:buFontTx/>
              <a:buNone/>
              <a:defRPr sz="1400">
                <a:solidFill>
                  <a:srgbClr val="1E467D"/>
                </a:solidFill>
                <a:latin typeface="Helvetica" pitchFamily="2" charset="0"/>
                <a:ea typeface="Arial"/>
                <a:cs typeface="Arial" pitchFamily="34" charset="0"/>
              </a:defRPr>
            </a:lvl1pPr>
            <a:lvl2pPr marL="180975" marR="0" lvl="1" indent="-180975" fontAlgn="auto">
              <a:lnSpc>
                <a:spcPct val="114000"/>
              </a:lnSpc>
              <a:spcBef>
                <a:spcPts val="0"/>
              </a:spcBef>
              <a:spcAft>
                <a:spcPts val="400"/>
              </a:spcAft>
              <a:buClr>
                <a:srgbClr val="1D467D"/>
              </a:buClr>
              <a:buSzPct val="80000"/>
              <a:buFont typeface="Wingdings" charset="2"/>
              <a:buChar char="§"/>
              <a:tabLst/>
              <a:defRPr sz="1400">
                <a:latin typeface="+mj-lt"/>
                <a:cs typeface="Arial" pitchFamily="34" charset="0"/>
              </a:defRPr>
            </a:lvl2pPr>
          </a:lstStyle>
          <a:p>
            <a:pPr marL="144000" lvl="1" indent="-144000">
              <a:lnSpc>
                <a:spcPct val="125000"/>
              </a:lnSpc>
            </a:pPr>
            <a:endParaRPr lang="en-US">
              <a:solidFill>
                <a:srgbClr val="000000"/>
              </a:solidFill>
              <a:latin typeface="Helvetica Light"/>
              <a:cs typeface="Helvetica Light"/>
            </a:endParaRPr>
          </a:p>
          <a:p>
            <a:pPr marL="144000" lvl="1" indent="-144000">
              <a:lnSpc>
                <a:spcPct val="125000"/>
              </a:lnSpc>
            </a:pPr>
            <a:endParaRPr lang="en-US">
              <a:solidFill>
                <a:srgbClr val="000000"/>
              </a:solidFill>
              <a:latin typeface="Helvetica Light"/>
              <a:cs typeface="Helvetica Light"/>
            </a:endParaRPr>
          </a:p>
        </p:txBody>
      </p:sp>
      <p:sp>
        <p:nvSpPr>
          <p:cNvPr id="34" name="Oval 7">
            <a:extLst>
              <a:ext uri="{FF2B5EF4-FFF2-40B4-BE49-F238E27FC236}">
                <a16:creationId xmlns:a16="http://schemas.microsoft.com/office/drawing/2014/main" id="{E67B0219-E4D3-4DC7-9756-C29B3DE873F1}"/>
              </a:ext>
            </a:extLst>
          </p:cNvPr>
          <p:cNvSpPr/>
          <p:nvPr/>
        </p:nvSpPr>
        <p:spPr>
          <a:xfrm>
            <a:off x="2485446" y="2061167"/>
            <a:ext cx="1734827" cy="301457"/>
          </a:xfrm>
          <a:prstGeom prst="roundRect">
            <a:avLst/>
          </a:prstGeom>
          <a:solidFill>
            <a:schemeClr val="accent5">
              <a:lumMod val="60000"/>
              <a:lumOff val="40000"/>
            </a:schemeClr>
          </a:solidFill>
          <a:ln cap="rnd">
            <a:no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400">
                <a:solidFill>
                  <a:schemeClr val="bg1"/>
                </a:solidFill>
              </a:rPr>
              <a:t>Erkenntnisse</a:t>
            </a:r>
          </a:p>
        </p:txBody>
      </p:sp>
      <p:sp>
        <p:nvSpPr>
          <p:cNvPr id="20" name="Oval 7">
            <a:extLst>
              <a:ext uri="{FF2B5EF4-FFF2-40B4-BE49-F238E27FC236}">
                <a16:creationId xmlns:a16="http://schemas.microsoft.com/office/drawing/2014/main" id="{116C980F-A0C4-4634-9775-637E7DF1F1B0}"/>
              </a:ext>
            </a:extLst>
          </p:cNvPr>
          <p:cNvSpPr/>
          <p:nvPr/>
        </p:nvSpPr>
        <p:spPr>
          <a:xfrm>
            <a:off x="1327850" y="3788774"/>
            <a:ext cx="9717911" cy="1528286"/>
          </a:xfrm>
          <a:prstGeom prst="roundRect">
            <a:avLst/>
          </a:prstGeom>
          <a:solidFill>
            <a:srgbClr val="3E8A83"/>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t" anchorCtr="0"/>
          <a:lstStyle/>
          <a:p>
            <a:pPr algn="ctr"/>
            <a:r>
              <a:rPr lang="de-DE" sz="1600">
                <a:solidFill>
                  <a:srgbClr val="FFFFFF"/>
                </a:solidFill>
                <a:ea typeface="Arial"/>
                <a:cs typeface="Arial" pitchFamily="34" charset="0"/>
              </a:rPr>
              <a:t>Datenaufbereitung</a:t>
            </a:r>
            <a:endParaRPr lang="de-DE" sz="1400">
              <a:solidFill>
                <a:schemeClr val="bg1"/>
              </a:solidFill>
            </a:endParaRPr>
          </a:p>
        </p:txBody>
      </p:sp>
      <p:sp>
        <p:nvSpPr>
          <p:cNvPr id="18" name="Textfeld 17">
            <a:extLst>
              <a:ext uri="{FF2B5EF4-FFF2-40B4-BE49-F238E27FC236}">
                <a16:creationId xmlns:a16="http://schemas.microsoft.com/office/drawing/2014/main" id="{1B92BB1E-53E9-4C23-A63B-44F66BE8BDF8}"/>
              </a:ext>
            </a:extLst>
          </p:cNvPr>
          <p:cNvSpPr txBox="1"/>
          <p:nvPr/>
        </p:nvSpPr>
        <p:spPr bwMode="auto">
          <a:xfrm>
            <a:off x="6302479" y="2403800"/>
            <a:ext cx="4766554" cy="1169551"/>
          </a:xfrm>
          <a:prstGeom prst="rect">
            <a:avLst/>
          </a:prstGeom>
          <a:noFill/>
          <a:ln w="6350">
            <a:noFill/>
            <a:prstDash val="solid"/>
            <a:miter lim="800000"/>
            <a:headEnd/>
            <a:tailEnd/>
          </a:ln>
        </p:spPr>
        <p:txBody>
          <a:bodyPr wrap="square">
            <a:spAutoFit/>
          </a:bodyPr>
          <a:lstStyle/>
          <a:p>
            <a:pPr marL="285750" lvl="1" indent="-285750">
              <a:lnSpc>
                <a:spcPct val="100000"/>
              </a:lnSpc>
              <a:buFont typeface="Wingdings" panose="05000000000000000000" pitchFamily="2" charset="2"/>
              <a:buChar char="§"/>
            </a:pPr>
            <a:r>
              <a:rPr lang="en-US" sz="1400" err="1">
                <a:solidFill>
                  <a:srgbClr val="000000"/>
                </a:solidFill>
                <a:latin typeface="Helvetica Light"/>
                <a:cs typeface="Helvetica Light"/>
              </a:rPr>
              <a:t>Weiterführende</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Datenbeschaffung</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für</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Information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zu</a:t>
            </a:r>
            <a:r>
              <a:rPr lang="en-US" sz="1400">
                <a:solidFill>
                  <a:srgbClr val="000000"/>
                </a:solidFill>
                <a:latin typeface="Helvetica Light"/>
                <a:cs typeface="Helvetica Light"/>
              </a:rPr>
              <a:t>:</a:t>
            </a:r>
          </a:p>
          <a:p>
            <a:pPr marL="1019175" lvl="2" indent="-285750">
              <a:buFont typeface="Courier New" panose="02070309020205020404" pitchFamily="49" charset="0"/>
              <a:buChar char="o"/>
            </a:pPr>
            <a:r>
              <a:rPr lang="en-US" sz="1400" err="1">
                <a:solidFill>
                  <a:srgbClr val="000000"/>
                </a:solidFill>
                <a:latin typeface="Helvetica Light"/>
                <a:cs typeface="Helvetica Light"/>
              </a:rPr>
              <a:t>Feriendaten</a:t>
            </a:r>
            <a:endParaRPr lang="en-US" sz="1400">
              <a:solidFill>
                <a:srgbClr val="000000"/>
              </a:solidFill>
              <a:latin typeface="Helvetica Light"/>
              <a:cs typeface="Helvetica Light"/>
            </a:endParaRPr>
          </a:p>
          <a:p>
            <a:pPr marL="1019175" lvl="2" indent="-285750">
              <a:buFont typeface="Courier New" panose="02070309020205020404" pitchFamily="49" charset="0"/>
              <a:buChar char="o"/>
            </a:pPr>
            <a:r>
              <a:rPr lang="en-US" sz="1400">
                <a:solidFill>
                  <a:srgbClr val="000000"/>
                </a:solidFill>
                <a:latin typeface="Helvetica Light"/>
                <a:cs typeface="Helvetica Light"/>
              </a:rPr>
              <a:t>Art </a:t>
            </a:r>
            <a:r>
              <a:rPr lang="en-US" sz="1400" err="1">
                <a:solidFill>
                  <a:srgbClr val="000000"/>
                </a:solidFill>
                <a:latin typeface="Helvetica Light"/>
                <a:cs typeface="Helvetica Light"/>
              </a:rPr>
              <a:t>Schifftyp</a:t>
            </a:r>
            <a:endParaRPr lang="en-US" sz="1400">
              <a:solidFill>
                <a:srgbClr val="000000"/>
              </a:solidFill>
              <a:latin typeface="Helvetica Light"/>
              <a:cs typeface="Helvetica Light"/>
            </a:endParaRPr>
          </a:p>
          <a:p>
            <a:pPr marL="1019175" lvl="2" indent="-285750">
              <a:buFont typeface="Courier New" panose="02070309020205020404" pitchFamily="49" charset="0"/>
              <a:buChar char="o"/>
            </a:pPr>
            <a:r>
              <a:rPr lang="en-US" sz="1400" err="1">
                <a:solidFill>
                  <a:srgbClr val="000000"/>
                </a:solidFill>
                <a:latin typeface="Helvetica Light"/>
                <a:cs typeface="Helvetica Light"/>
              </a:rPr>
              <a:t>Geoinformation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Standort</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Distanzen</a:t>
            </a:r>
            <a:r>
              <a:rPr lang="en-US" sz="1400">
                <a:solidFill>
                  <a:srgbClr val="000000"/>
                </a:solidFill>
                <a:latin typeface="Helvetica Light"/>
                <a:cs typeface="Helvetica Light"/>
              </a:rPr>
              <a:t>)</a:t>
            </a:r>
          </a:p>
          <a:p>
            <a:pPr marL="1019175" lvl="2" indent="-285750">
              <a:buFont typeface="Courier New" panose="02070309020205020404" pitchFamily="49" charset="0"/>
              <a:buChar char="o"/>
            </a:pPr>
            <a:r>
              <a:rPr lang="en-US" sz="1400" err="1">
                <a:solidFill>
                  <a:srgbClr val="000000"/>
                </a:solidFill>
                <a:latin typeface="Helvetica Light"/>
                <a:cs typeface="Helvetica Light"/>
              </a:rPr>
              <a:t>Wasserstand</a:t>
            </a:r>
            <a:endParaRPr lang="en-US" sz="1400">
              <a:solidFill>
                <a:srgbClr val="000000"/>
              </a:solidFill>
              <a:latin typeface="Helvetica Light"/>
              <a:cs typeface="Helvetica Light"/>
            </a:endParaRPr>
          </a:p>
        </p:txBody>
      </p:sp>
      <p:graphicFrame>
        <p:nvGraphicFramePr>
          <p:cNvPr id="10" name="Objek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Folie" r:id="rId5" imgW="270" imgH="270" progId="TCLayout.ActiveDocument.1">
                  <p:embed/>
                </p:oleObj>
              </mc:Choice>
              <mc:Fallback>
                <p:oleObj name="think-cell Folie" r:id="rId5" imgW="270" imgH="270" progId="TCLayout.ActiveDocument.1">
                  <p:embed/>
                  <p:pic>
                    <p:nvPicPr>
                      <p:cNvPr id="10" name="Objek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3A8EB13B-5B60-4969-8E2D-ED0169CB1CE6}"/>
              </a:ext>
            </a:extLst>
          </p:cNvPr>
          <p:cNvSpPr>
            <a:spLocks noGrp="1"/>
          </p:cNvSpPr>
          <p:nvPr>
            <p:ph type="title"/>
          </p:nvPr>
        </p:nvSpPr>
        <p:spPr/>
        <p:txBody>
          <a:bodyPr/>
          <a:lstStyle/>
          <a:p>
            <a:r>
              <a:rPr lang="de-DE"/>
              <a:t>Datenbeschaffung, -exploration und -aufbereitung</a:t>
            </a:r>
          </a:p>
        </p:txBody>
      </p:sp>
      <p:sp>
        <p:nvSpPr>
          <p:cNvPr id="68" name="Fußzeilenplatzhalter 1">
            <a:extLst>
              <a:ext uri="{FF2B5EF4-FFF2-40B4-BE49-F238E27FC236}">
                <a16:creationId xmlns:a16="http://schemas.microsoft.com/office/drawing/2014/main" id="{FB265409-6207-4108-A021-874FD80AAF99}"/>
              </a:ext>
            </a:extLst>
          </p:cNvPr>
          <p:cNvSpPr>
            <a:spLocks noGrp="1"/>
          </p:cNvSpPr>
          <p:nvPr>
            <p:ph type="ftr" sz="quarter" idx="11"/>
          </p:nvPr>
        </p:nvSpPr>
        <p:spPr>
          <a:xfrm>
            <a:off x="3648000" y="6439737"/>
            <a:ext cx="4896000" cy="255600"/>
          </a:xfrm>
        </p:spPr>
        <p:txBody>
          <a:bodyPr/>
          <a:lstStyle/>
          <a:p>
            <a:pPr>
              <a:spcBef>
                <a:spcPct val="20000"/>
              </a:spcBef>
            </a:pPr>
            <a:r>
              <a:rPr lang="de-DE"/>
              <a:t>SCA Case Study – 28.07.2021</a:t>
            </a:r>
          </a:p>
        </p:txBody>
      </p:sp>
      <p:sp>
        <p:nvSpPr>
          <p:cNvPr id="30" name="Textfeld 29">
            <a:extLst>
              <a:ext uri="{FF2B5EF4-FFF2-40B4-BE49-F238E27FC236}">
                <a16:creationId xmlns:a16="http://schemas.microsoft.com/office/drawing/2014/main" id="{5AABA8D8-AC94-4C7D-A38C-AACBB15D47D3}"/>
              </a:ext>
            </a:extLst>
          </p:cNvPr>
          <p:cNvSpPr txBox="1"/>
          <p:nvPr/>
        </p:nvSpPr>
        <p:spPr bwMode="auto">
          <a:xfrm>
            <a:off x="2636137" y="2405951"/>
            <a:ext cx="3647931" cy="954107"/>
          </a:xfrm>
          <a:prstGeom prst="rect">
            <a:avLst/>
          </a:prstGeom>
          <a:noFill/>
          <a:ln w="6350">
            <a:noFill/>
            <a:prstDash val="solid"/>
            <a:miter lim="800000"/>
            <a:headEnd/>
            <a:tailEnd/>
          </a:ln>
        </p:spPr>
        <p:txBody>
          <a:bodyPr wrap="square">
            <a:spAutoFit/>
          </a:bodyPr>
          <a:lstStyle/>
          <a:p>
            <a:pPr marL="285750" lvl="1" indent="-285750">
              <a:lnSpc>
                <a:spcPct val="100000"/>
              </a:lnSpc>
              <a:buFont typeface="Wingdings" panose="05000000000000000000" pitchFamily="2" charset="2"/>
              <a:buChar char="§"/>
            </a:pPr>
            <a:r>
              <a:rPr lang="en-US" sz="1400" err="1">
                <a:solidFill>
                  <a:srgbClr val="000000"/>
                </a:solidFill>
                <a:latin typeface="Helvetica Light"/>
                <a:cs typeface="Helvetica Light"/>
              </a:rPr>
              <a:t>Keine</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weitere</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Bereinigung</a:t>
            </a:r>
            <a:endParaRPr lang="en-US" sz="1400">
              <a:solidFill>
                <a:srgbClr val="000000"/>
              </a:solidFill>
              <a:latin typeface="Helvetica Light"/>
              <a:cs typeface="Helvetica Light"/>
            </a:endParaRPr>
          </a:p>
          <a:p>
            <a:pPr marL="285750" lvl="1" indent="-285750">
              <a:lnSpc>
                <a:spcPct val="100000"/>
              </a:lnSpc>
              <a:buFont typeface="Wingdings" panose="05000000000000000000" pitchFamily="2" charset="2"/>
              <a:buChar char="§"/>
            </a:pPr>
            <a:r>
              <a:rPr lang="en-US" sz="1400" err="1">
                <a:solidFill>
                  <a:srgbClr val="000000"/>
                </a:solidFill>
                <a:latin typeface="Helvetica Light"/>
                <a:cs typeface="Helvetica Light"/>
              </a:rPr>
              <a:t>Zusammenführ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Water_levels-Dateien</a:t>
            </a:r>
            <a:r>
              <a:rPr lang="en-US" sz="1400">
                <a:solidFill>
                  <a:srgbClr val="000000"/>
                </a:solidFill>
                <a:latin typeface="Helvetica Light"/>
                <a:cs typeface="Helvetica Light"/>
              </a:rPr>
              <a:t> und  trips-</a:t>
            </a:r>
            <a:r>
              <a:rPr lang="en-US" sz="1400" err="1">
                <a:solidFill>
                  <a:srgbClr val="000000"/>
                </a:solidFill>
                <a:latin typeface="Helvetica Light"/>
                <a:cs typeface="Helvetica Light"/>
              </a:rPr>
              <a:t>Datei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sinnvoll</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für</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Informationen</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zum</a:t>
            </a:r>
            <a:r>
              <a:rPr lang="en-US" sz="1400">
                <a:solidFill>
                  <a:srgbClr val="000000"/>
                </a:solidFill>
                <a:latin typeface="Helvetica Light"/>
                <a:cs typeface="Helvetica Light"/>
              </a:rPr>
              <a:t> </a:t>
            </a:r>
            <a:r>
              <a:rPr lang="en-US" sz="1400" err="1">
                <a:solidFill>
                  <a:srgbClr val="000000"/>
                </a:solidFill>
                <a:latin typeface="Helvetica Light"/>
                <a:cs typeface="Helvetica Light"/>
              </a:rPr>
              <a:t>Wasserstand</a:t>
            </a:r>
            <a:r>
              <a:rPr lang="en-US" sz="1400">
                <a:solidFill>
                  <a:srgbClr val="000000"/>
                </a:solidFill>
                <a:latin typeface="Helvetica Light"/>
                <a:cs typeface="Helvetica Light"/>
              </a:rPr>
              <a:t>  </a:t>
            </a:r>
          </a:p>
        </p:txBody>
      </p:sp>
      <p:sp>
        <p:nvSpPr>
          <p:cNvPr id="35" name="Pfeil: nach rechts 34">
            <a:extLst>
              <a:ext uri="{FF2B5EF4-FFF2-40B4-BE49-F238E27FC236}">
                <a16:creationId xmlns:a16="http://schemas.microsoft.com/office/drawing/2014/main" id="{262BCCD9-6004-4B86-AD06-FDB09C7A3CE3}"/>
              </a:ext>
            </a:extLst>
          </p:cNvPr>
          <p:cNvSpPr/>
          <p:nvPr/>
        </p:nvSpPr>
        <p:spPr>
          <a:xfrm rot="5400000">
            <a:off x="1081521" y="2252624"/>
            <a:ext cx="1796159" cy="1293779"/>
          </a:xfrm>
          <a:prstGeom prst="rightArrow">
            <a:avLst>
              <a:gd name="adj1" fmla="val 50000"/>
              <a:gd name="adj2" fmla="val 30689"/>
            </a:avLst>
          </a:prstGeom>
          <a:solidFill>
            <a:schemeClr val="accent6">
              <a:lumMod val="75000"/>
            </a:schemeClr>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pic>
        <p:nvPicPr>
          <p:cNvPr id="14" name="Grafik 13" descr="Glühlampe mit einfarbiger Füllung">
            <a:extLst>
              <a:ext uri="{FF2B5EF4-FFF2-40B4-BE49-F238E27FC236}">
                <a16:creationId xmlns:a16="http://schemas.microsoft.com/office/drawing/2014/main" id="{753FFA0F-2D60-4708-B2D1-382DF21AA1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88075" y="2090264"/>
            <a:ext cx="232199" cy="232199"/>
          </a:xfrm>
          <a:prstGeom prst="rect">
            <a:avLst/>
          </a:prstGeom>
        </p:spPr>
      </p:pic>
      <p:sp>
        <p:nvSpPr>
          <p:cNvPr id="21" name="Textfeld 20">
            <a:extLst>
              <a:ext uri="{FF2B5EF4-FFF2-40B4-BE49-F238E27FC236}">
                <a16:creationId xmlns:a16="http://schemas.microsoft.com/office/drawing/2014/main" id="{B69D58FE-EBBE-4CB7-8A2F-1FDC3A6409AD}"/>
              </a:ext>
            </a:extLst>
          </p:cNvPr>
          <p:cNvSpPr txBox="1"/>
          <p:nvPr/>
        </p:nvSpPr>
        <p:spPr bwMode="auto">
          <a:xfrm>
            <a:off x="4782063" y="4253049"/>
            <a:ext cx="2648055" cy="307777"/>
          </a:xfrm>
          <a:prstGeom prst="rect">
            <a:avLst/>
          </a:prstGeom>
          <a:noFill/>
          <a:ln w="6350">
            <a:noFill/>
            <a:prstDash val="solid"/>
            <a:miter lim="800000"/>
            <a:headEnd/>
            <a:tailEnd/>
          </a:ln>
        </p:spPr>
        <p:txBody>
          <a:bodyPr wrap="square">
            <a:spAutoFit/>
          </a:bodyPr>
          <a:lstStyle/>
          <a:p>
            <a:pPr marL="285750" indent="-285750">
              <a:buFont typeface="Arial" panose="020B0604020202020204" pitchFamily="34" charset="0"/>
              <a:buChar char="•"/>
            </a:pPr>
            <a:r>
              <a:rPr lang="de-DE" sz="1400">
                <a:solidFill>
                  <a:schemeClr val="bg1"/>
                </a:solidFill>
              </a:rPr>
              <a:t>Zusammenführung Dateien</a:t>
            </a:r>
          </a:p>
        </p:txBody>
      </p:sp>
      <p:sp>
        <p:nvSpPr>
          <p:cNvPr id="22" name="Textfeld 21">
            <a:extLst>
              <a:ext uri="{FF2B5EF4-FFF2-40B4-BE49-F238E27FC236}">
                <a16:creationId xmlns:a16="http://schemas.microsoft.com/office/drawing/2014/main" id="{14624CE2-C1C9-4C36-9D8F-FEB346F21750}"/>
              </a:ext>
            </a:extLst>
          </p:cNvPr>
          <p:cNvSpPr txBox="1"/>
          <p:nvPr/>
        </p:nvSpPr>
        <p:spPr bwMode="auto">
          <a:xfrm>
            <a:off x="4782063" y="4603662"/>
            <a:ext cx="3800847" cy="523220"/>
          </a:xfrm>
          <a:prstGeom prst="rect">
            <a:avLst/>
          </a:prstGeom>
          <a:noFill/>
          <a:ln w="6350">
            <a:noFill/>
            <a:prstDash val="solid"/>
            <a:miter lim="800000"/>
            <a:headEnd/>
            <a:tailEnd/>
          </a:ln>
        </p:spPr>
        <p:txBody>
          <a:bodyPr wrap="square">
            <a:spAutoFit/>
          </a:bodyPr>
          <a:lstStyle/>
          <a:p>
            <a:pPr marL="285750" indent="-285750">
              <a:buFont typeface="Arial" panose="020B0604020202020204" pitchFamily="34" charset="0"/>
              <a:buChar char="•"/>
            </a:pPr>
            <a:r>
              <a:rPr lang="de-DE" sz="1400">
                <a:solidFill>
                  <a:schemeClr val="bg1"/>
                </a:solidFill>
              </a:rPr>
              <a:t>Auswertung zur Überprüfung der Plausibilität der Daten</a:t>
            </a:r>
          </a:p>
        </p:txBody>
      </p:sp>
      <p:sp>
        <p:nvSpPr>
          <p:cNvPr id="32" name="Oval 7">
            <a:extLst>
              <a:ext uri="{FF2B5EF4-FFF2-40B4-BE49-F238E27FC236}">
                <a16:creationId xmlns:a16="http://schemas.microsoft.com/office/drawing/2014/main" id="{C80C79FD-C966-4BC5-A5A7-D348903E433C}"/>
              </a:ext>
            </a:extLst>
          </p:cNvPr>
          <p:cNvSpPr/>
          <p:nvPr/>
        </p:nvSpPr>
        <p:spPr>
          <a:xfrm>
            <a:off x="1351123" y="1586478"/>
            <a:ext cx="9717911" cy="430606"/>
          </a:xfrm>
          <a:prstGeom prst="roundRect">
            <a:avLst/>
          </a:prstGeom>
          <a:solidFill>
            <a:srgbClr val="3E8A83"/>
          </a:solidFill>
          <a:ln cap="rnd">
            <a:solidFill>
              <a:schemeClr val="accent4"/>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r>
              <a:rPr lang="de-DE" sz="1600">
                <a:solidFill>
                  <a:srgbClr val="FFFFFF"/>
                </a:solidFill>
                <a:ea typeface="Arial"/>
                <a:cs typeface="Arial" pitchFamily="34" charset="0"/>
              </a:rPr>
              <a:t>(Visuelle) Exploration </a:t>
            </a:r>
            <a:r>
              <a:rPr lang="de-DE" sz="1600">
                <a:solidFill>
                  <a:schemeClr val="bg1"/>
                </a:solidFill>
              </a:rPr>
              <a:t>bereitgestellter Daten</a:t>
            </a:r>
          </a:p>
        </p:txBody>
      </p:sp>
      <p:sp>
        <p:nvSpPr>
          <p:cNvPr id="69" name="Pfeil: nach rechts 68">
            <a:extLst>
              <a:ext uri="{FF2B5EF4-FFF2-40B4-BE49-F238E27FC236}">
                <a16:creationId xmlns:a16="http://schemas.microsoft.com/office/drawing/2014/main" id="{D11D8D54-DD3F-4D78-8C7F-9C23B7BF12EC}"/>
              </a:ext>
            </a:extLst>
          </p:cNvPr>
          <p:cNvSpPr/>
          <p:nvPr/>
        </p:nvSpPr>
        <p:spPr>
          <a:xfrm>
            <a:off x="9716440" y="4631272"/>
            <a:ext cx="1796159" cy="1293779"/>
          </a:xfrm>
          <a:prstGeom prst="rightArrow">
            <a:avLst>
              <a:gd name="adj1" fmla="val 50000"/>
              <a:gd name="adj2" fmla="val 30689"/>
            </a:avLst>
          </a:prstGeom>
          <a:solidFill>
            <a:schemeClr val="accent6">
              <a:lumMod val="75000"/>
            </a:schemeClr>
          </a:solidFill>
          <a:ln w="76200" cap="rnd">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0000" tIns="36000" bIns="36000" rtlCol="0" anchor="ctr" anchorCtr="0"/>
          <a:lstStyle/>
          <a:p>
            <a:pPr algn="ctr"/>
            <a:endParaRPr lang="de-DE" sz="1400">
              <a:solidFill>
                <a:schemeClr val="bg1"/>
              </a:solidFill>
            </a:endParaRPr>
          </a:p>
        </p:txBody>
      </p:sp>
    </p:spTree>
    <p:extLst>
      <p:ext uri="{BB962C8B-B14F-4D97-AF65-F5344CB8AC3E}">
        <p14:creationId xmlns:p14="http://schemas.microsoft.com/office/powerpoint/2010/main" val="3589578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ASYMASTER" val="DB 16_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17.FEq2l0mKhcKOq770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CT-Folienmaster">
  <a:themeElements>
    <a:clrScheme name="Benutzerdefiniert 8">
      <a:dk1>
        <a:sysClr val="windowText" lastClr="000000"/>
      </a:dk1>
      <a:lt1>
        <a:sysClr val="window" lastClr="FFFFFF"/>
      </a:lt1>
      <a:dk2>
        <a:srgbClr val="1E467D"/>
      </a:dk2>
      <a:lt2>
        <a:srgbClr val="EEECE1"/>
      </a:lt2>
      <a:accent1>
        <a:srgbClr val="1E467D"/>
      </a:accent1>
      <a:accent2>
        <a:srgbClr val="FF6400"/>
      </a:accent2>
      <a:accent3>
        <a:srgbClr val="3E8A83"/>
      </a:accent3>
      <a:accent4>
        <a:srgbClr val="A5A5A5"/>
      </a:accent4>
      <a:accent5>
        <a:srgbClr val="646464"/>
      </a:accent5>
      <a:accent6>
        <a:srgbClr val="FFFFFF"/>
      </a:accent6>
      <a:hlink>
        <a:srgbClr val="000000"/>
      </a:hlink>
      <a:folHlink>
        <a:srgbClr val="000000"/>
      </a:folHlink>
    </a:clrScheme>
    <a:fontScheme name="CCT">
      <a:majorFont>
        <a:latin typeface="Helvetica Light"/>
        <a:ea typeface=""/>
        <a:cs typeface=""/>
      </a:majorFont>
      <a:minorFont>
        <a:latin typeface="Helvetica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cap="rnd">
          <a:noFill/>
        </a:ln>
        <a:effectLst/>
      </a:spPr>
      <a:bodyPr wrap="square" lIns="90000" tIns="36000" bIns="36000" rtlCol="0" anchor="ctr" anchorCtr="0"/>
      <a:lstStyle>
        <a:defPPr algn="ctr">
          <a:defRPr sz="14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5875"/>
        <a:effectLst/>
      </a:spPr>
      <a:bodyPr/>
      <a:lstStyle/>
      <a:style>
        <a:lnRef idx="2">
          <a:schemeClr val="accent1"/>
        </a:lnRef>
        <a:fillRef idx="0">
          <a:schemeClr val="accent1"/>
        </a:fillRef>
        <a:effectRef idx="1">
          <a:schemeClr val="accent1"/>
        </a:effectRef>
        <a:fontRef idx="minor">
          <a:schemeClr val="tx1"/>
        </a:fontRef>
      </a:style>
    </a:lnDef>
    <a:txDef>
      <a:spPr bwMode="auto">
        <a:noFill/>
        <a:ln w="6350">
          <a:solidFill>
            <a:schemeClr val="accent4"/>
          </a:solidFill>
          <a:prstDash val="solid"/>
          <a:miter lim="800000"/>
          <a:headEnd/>
          <a:tailEnd/>
        </a:ln>
      </a:spPr>
      <a:bodyPr wrap="square" lIns="72000" rIns="72000" rtlCol="0">
        <a:noAutofit/>
      </a:bodyPr>
      <a:lstStyle>
        <a:defPPr marL="144000" indent="-144000">
          <a:lnSpc>
            <a:spcPct val="125000"/>
          </a:lnSpc>
          <a:spcAft>
            <a:spcPts val="400"/>
          </a:spcAft>
          <a:buClr>
            <a:schemeClr val="accent1"/>
          </a:buClr>
          <a:buFont typeface="Wingdings" panose="05000000000000000000" pitchFamily="2" charset="2"/>
          <a:buChar char="§"/>
          <a:defRPr sz="1400" dirty="0" smtClean="0"/>
        </a:defPPr>
      </a:lstStyle>
    </a:txDef>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406</Words>
  <Application>Microsoft Office PowerPoint</Application>
  <PresentationFormat>Widescreen</PresentationFormat>
  <Paragraphs>1300</Paragraphs>
  <Slides>51</Slides>
  <Notes>2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1" baseType="lpstr">
      <vt:lpstr>Arial</vt:lpstr>
      <vt:lpstr>Calibri</vt:lpstr>
      <vt:lpstr>Courier New</vt:lpstr>
      <vt:lpstr>Helvetica</vt:lpstr>
      <vt:lpstr>Helvetica Light</vt:lpstr>
      <vt:lpstr>Helvetica Light (Textkörper)</vt:lpstr>
      <vt:lpstr>Liberation Sans</vt:lpstr>
      <vt:lpstr>Wingdings</vt:lpstr>
      <vt:lpstr>CCT-Folienmaster</vt:lpstr>
      <vt:lpstr>think-cell Folie</vt:lpstr>
      <vt:lpstr>PowerPoint Presentation</vt:lpstr>
      <vt:lpstr>Team</vt:lpstr>
      <vt:lpstr>Agenda</vt:lpstr>
      <vt:lpstr>Agenda</vt:lpstr>
      <vt:lpstr>Problemidentifikation</vt:lpstr>
      <vt:lpstr>Problemidentifikation</vt:lpstr>
      <vt:lpstr>Zielsetzung</vt:lpstr>
      <vt:lpstr>Agenda</vt:lpstr>
      <vt:lpstr>Datenbeschaffung, -exploration und -aufbereitung</vt:lpstr>
      <vt:lpstr>Datenaufbereitung</vt:lpstr>
      <vt:lpstr>Feature Engineering</vt:lpstr>
      <vt:lpstr>Feature Engineering -  Deep Dive Verbleibende Strecke</vt:lpstr>
      <vt:lpstr>Feature Engineering -  Deep Dive Verbleibende Strecke</vt:lpstr>
      <vt:lpstr>Feature Engineering -  Deep Dive Verbleibende Strecke</vt:lpstr>
      <vt:lpstr>Feature Engineering -  Deep Dive Stopps</vt:lpstr>
      <vt:lpstr>Feature Engineering -  Deep Dive Stopps</vt:lpstr>
      <vt:lpstr>Feature Engineering -  Deep Dive Stopps</vt:lpstr>
      <vt:lpstr>Modellierung</vt:lpstr>
      <vt:lpstr>Modellierung</vt:lpstr>
      <vt:lpstr>Modellierung</vt:lpstr>
      <vt:lpstr>Modellierung</vt:lpstr>
      <vt:lpstr>Ergebniskommunikation &amp; Bereitstellu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Bewertung der Projektergebnisse </vt:lpstr>
      <vt:lpstr>Agenda</vt:lpstr>
      <vt:lpstr>Fazit &amp; Ausblick</vt:lpstr>
      <vt:lpstr>Quellen</vt:lpstr>
      <vt:lpstr>PowerPoint Presentation</vt:lpstr>
      <vt:lpstr>PowerPoint Presentation</vt:lpstr>
      <vt:lpstr>PowerPoint Presentation</vt:lpstr>
      <vt:lpstr>Back-Up: Navigation</vt:lpstr>
      <vt:lpstr>Datenbeschaffung, -exploration und -aufbereitung</vt:lpstr>
      <vt:lpstr>Datenbeschaffung, -exploration und -aufbereitung</vt:lpstr>
      <vt:lpstr>Feature Engineering – Transformation </vt:lpstr>
      <vt:lpstr>Feature Engineering – Herleitung der Variablen</vt:lpstr>
      <vt:lpstr>Feature Engineering – Erklärung Schiffstypen</vt:lpstr>
      <vt:lpstr>Feature Engineering – Erklärung Schiffstypen</vt:lpstr>
      <vt:lpstr>Modellierung</vt:lpstr>
      <vt:lpstr>Modellierung</vt:lpstr>
      <vt:lpstr>Modellierung</vt:lpstr>
      <vt:lpstr>Modellierung</vt:lpstr>
    </vt:vector>
  </TitlesOfParts>
  <Manager/>
  <Company>Company Consulting Team e. V.</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CCT Folienmaster 2020</dc:subject>
  <dc:creator>daria.seita@web.de</dc:creator>
  <cp:keywords/>
  <dc:description/>
  <cp:lastModifiedBy>Ronny Georgi</cp:lastModifiedBy>
  <cp:revision>2</cp:revision>
  <cp:lastPrinted>2021-05-28T11:59:26Z</cp:lastPrinted>
  <dcterms:created xsi:type="dcterms:W3CDTF">2019-12-10T23:27:55Z</dcterms:created>
  <dcterms:modified xsi:type="dcterms:W3CDTF">2022-03-09T00:15:32Z</dcterms:modified>
  <cp:category/>
</cp:coreProperties>
</file>